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Override3.xml" ContentType="application/vnd.openxmlformats-officedocument.themeOverr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256" r:id="rId2"/>
    <p:sldId id="379" r:id="rId3"/>
    <p:sldId id="258" r:id="rId4"/>
    <p:sldId id="1848" r:id="rId5"/>
    <p:sldId id="1824" r:id="rId6"/>
    <p:sldId id="1830" r:id="rId7"/>
    <p:sldId id="1870" r:id="rId8"/>
    <p:sldId id="1903" r:id="rId9"/>
    <p:sldId id="1825" r:id="rId10"/>
    <p:sldId id="1871" r:id="rId11"/>
    <p:sldId id="1872" r:id="rId12"/>
    <p:sldId id="1826" r:id="rId13"/>
    <p:sldId id="1873" r:id="rId14"/>
    <p:sldId id="1850" r:id="rId15"/>
    <p:sldId id="1874" r:id="rId16"/>
    <p:sldId id="352" r:id="rId17"/>
    <p:sldId id="1827" r:id="rId18"/>
    <p:sldId id="1875" r:id="rId19"/>
    <p:sldId id="1831" r:id="rId20"/>
    <p:sldId id="1876" r:id="rId21"/>
    <p:sldId id="1877" r:id="rId22"/>
    <p:sldId id="1878" r:id="rId23"/>
    <p:sldId id="1898" r:id="rId24"/>
    <p:sldId id="1901" r:id="rId25"/>
    <p:sldId id="1902" r:id="rId26"/>
    <p:sldId id="1923" r:id="rId27"/>
    <p:sldId id="261" r:id="rId28"/>
  </p:sldIdLst>
  <p:sldSz cx="12192000" cy="6858000"/>
  <p:notesSz cx="6858000" cy="9144000"/>
  <p:embeddedFontLst>
    <p:embeddedFont>
      <p:font typeface="等线" panose="02010600030101010101" pitchFamily="2" charset="-122"/>
      <p:regular r:id="rId31"/>
      <p:bold r:id="rId32"/>
    </p:embeddedFont>
    <p:embeddedFont>
      <p:font typeface="微软雅黑" panose="020B0503020204020204" pitchFamily="34" charset="-122"/>
      <p:regular r:id="rId33"/>
      <p:bold r:id="rId34"/>
    </p:embeddedFont>
    <p:embeddedFont>
      <p:font typeface="Calibri" panose="020F0502020204030204" pitchFamily="34" charset="0"/>
      <p:regular r:id="rId35"/>
      <p:bold r:id="rId36"/>
      <p:italic r:id="rId37"/>
      <p:boldItalic r:id="rId38"/>
    </p:embeddedFont>
    <p:embeddedFont>
      <p:font typeface="Impact" panose="020B0806030902050204" pitchFamily="34" charset="0"/>
      <p:regular r:id="rId39"/>
    </p:embeddedFont>
  </p:embeddedFontLst>
  <p:custDataLst>
    <p:tags r:id="rId4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B121"/>
    <a:srgbClr val="F5A926"/>
    <a:srgbClr val="F1992A"/>
    <a:srgbClr val="F29D29"/>
    <a:srgbClr val="F4A229"/>
    <a:srgbClr val="603812"/>
    <a:srgbClr val="A20000"/>
    <a:srgbClr val="A40000"/>
    <a:srgbClr val="9E0000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827" autoAdjust="0"/>
    <p:restoredTop sz="91078" autoAdjust="0"/>
  </p:normalViewPr>
  <p:slideViewPr>
    <p:cSldViewPr snapToGrid="0">
      <p:cViewPr varScale="1">
        <p:scale>
          <a:sx n="102" d="100"/>
          <a:sy n="102" d="100"/>
        </p:scale>
        <p:origin x="208" y="74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9.fntdata"/><Relationship Id="rId21" Type="http://schemas.openxmlformats.org/officeDocument/2006/relationships/slide" Target="slides/slide20.xml"/><Relationship Id="rId34" Type="http://schemas.openxmlformats.org/officeDocument/2006/relationships/font" Target="fonts/font4.fntdata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6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.fntdata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font" Target="fonts/font5.fntdata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3.fntdata"/><Relationship Id="rId38" Type="http://schemas.openxmlformats.org/officeDocument/2006/relationships/font" Target="fonts/font8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11/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2066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11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08201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" name="cc47b233-5d22-45c3-93b3-14c33b99385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0436058">
            <a:off x="109350" y="550582"/>
            <a:ext cx="3205278" cy="4424639"/>
            <a:chOff x="4414315" y="1367533"/>
            <a:chExt cx="3357022" cy="4634110"/>
          </a:xfrm>
        </p:grpSpPr>
        <p:sp>
          <p:nvSpPr>
            <p:cNvPr id="10" name="íšḻîḍê"/>
            <p:cNvSpPr/>
            <p:nvPr/>
          </p:nvSpPr>
          <p:spPr bwMode="auto">
            <a:xfrm>
              <a:off x="4414315" y="1367533"/>
              <a:ext cx="3357022" cy="4634110"/>
            </a:xfrm>
            <a:custGeom>
              <a:avLst/>
              <a:gdLst>
                <a:gd name="T0" fmla="*/ 39 w 477"/>
                <a:gd name="T1" fmla="*/ 374 h 659"/>
                <a:gd name="T2" fmla="*/ 79 w 477"/>
                <a:gd name="T3" fmla="*/ 378 h 659"/>
                <a:gd name="T4" fmla="*/ 109 w 477"/>
                <a:gd name="T5" fmla="*/ 376 h 659"/>
                <a:gd name="T6" fmla="*/ 152 w 477"/>
                <a:gd name="T7" fmla="*/ 335 h 659"/>
                <a:gd name="T8" fmla="*/ 219 w 477"/>
                <a:gd name="T9" fmla="*/ 260 h 659"/>
                <a:gd name="T10" fmla="*/ 250 w 477"/>
                <a:gd name="T11" fmla="*/ 251 h 659"/>
                <a:gd name="T12" fmla="*/ 186 w 477"/>
                <a:gd name="T13" fmla="*/ 245 h 659"/>
                <a:gd name="T14" fmla="*/ 172 w 477"/>
                <a:gd name="T15" fmla="*/ 244 h 659"/>
                <a:gd name="T16" fmla="*/ 157 w 477"/>
                <a:gd name="T17" fmla="*/ 228 h 659"/>
                <a:gd name="T18" fmla="*/ 151 w 477"/>
                <a:gd name="T19" fmla="*/ 148 h 659"/>
                <a:gd name="T20" fmla="*/ 113 w 477"/>
                <a:gd name="T21" fmla="*/ 122 h 659"/>
                <a:gd name="T22" fmla="*/ 142 w 477"/>
                <a:gd name="T23" fmla="*/ 133 h 659"/>
                <a:gd name="T24" fmla="*/ 231 w 477"/>
                <a:gd name="T25" fmla="*/ 14 h 659"/>
                <a:gd name="T26" fmla="*/ 399 w 477"/>
                <a:gd name="T27" fmla="*/ 133 h 659"/>
                <a:gd name="T28" fmla="*/ 441 w 477"/>
                <a:gd name="T29" fmla="*/ 119 h 659"/>
                <a:gd name="T30" fmla="*/ 460 w 477"/>
                <a:gd name="T31" fmla="*/ 162 h 659"/>
                <a:gd name="T32" fmla="*/ 400 w 477"/>
                <a:gd name="T33" fmla="*/ 148 h 659"/>
                <a:gd name="T34" fmla="*/ 401 w 477"/>
                <a:gd name="T35" fmla="*/ 230 h 659"/>
                <a:gd name="T36" fmla="*/ 334 w 477"/>
                <a:gd name="T37" fmla="*/ 247 h 659"/>
                <a:gd name="T38" fmla="*/ 314 w 477"/>
                <a:gd name="T39" fmla="*/ 259 h 659"/>
                <a:gd name="T40" fmla="*/ 351 w 477"/>
                <a:gd name="T41" fmla="*/ 270 h 659"/>
                <a:gd name="T42" fmla="*/ 447 w 477"/>
                <a:gd name="T43" fmla="*/ 404 h 659"/>
                <a:gd name="T44" fmla="*/ 449 w 477"/>
                <a:gd name="T45" fmla="*/ 493 h 659"/>
                <a:gd name="T46" fmla="*/ 441 w 477"/>
                <a:gd name="T47" fmla="*/ 532 h 659"/>
                <a:gd name="T48" fmla="*/ 425 w 477"/>
                <a:gd name="T49" fmla="*/ 581 h 659"/>
                <a:gd name="T50" fmla="*/ 419 w 477"/>
                <a:gd name="T51" fmla="*/ 567 h 659"/>
                <a:gd name="T52" fmla="*/ 399 w 477"/>
                <a:gd name="T53" fmla="*/ 577 h 659"/>
                <a:gd name="T54" fmla="*/ 400 w 477"/>
                <a:gd name="T55" fmla="*/ 559 h 659"/>
                <a:gd name="T56" fmla="*/ 377 w 477"/>
                <a:gd name="T57" fmla="*/ 569 h 659"/>
                <a:gd name="T58" fmla="*/ 369 w 477"/>
                <a:gd name="T59" fmla="*/ 572 h 659"/>
                <a:gd name="T60" fmla="*/ 368 w 477"/>
                <a:gd name="T61" fmla="*/ 560 h 659"/>
                <a:gd name="T62" fmla="*/ 373 w 477"/>
                <a:gd name="T63" fmla="*/ 547 h 659"/>
                <a:gd name="T64" fmla="*/ 350 w 477"/>
                <a:gd name="T65" fmla="*/ 551 h 659"/>
                <a:gd name="T66" fmla="*/ 355 w 477"/>
                <a:gd name="T67" fmla="*/ 532 h 659"/>
                <a:gd name="T68" fmla="*/ 349 w 477"/>
                <a:gd name="T69" fmla="*/ 519 h 659"/>
                <a:gd name="T70" fmla="*/ 378 w 477"/>
                <a:gd name="T71" fmla="*/ 469 h 659"/>
                <a:gd name="T72" fmla="*/ 390 w 477"/>
                <a:gd name="T73" fmla="*/ 430 h 659"/>
                <a:gd name="T74" fmla="*/ 344 w 477"/>
                <a:gd name="T75" fmla="*/ 335 h 659"/>
                <a:gd name="T76" fmla="*/ 341 w 477"/>
                <a:gd name="T77" fmla="*/ 430 h 659"/>
                <a:gd name="T78" fmla="*/ 296 w 477"/>
                <a:gd name="T79" fmla="*/ 462 h 659"/>
                <a:gd name="T80" fmla="*/ 299 w 477"/>
                <a:gd name="T81" fmla="*/ 557 h 659"/>
                <a:gd name="T82" fmla="*/ 303 w 477"/>
                <a:gd name="T83" fmla="*/ 619 h 659"/>
                <a:gd name="T84" fmla="*/ 240 w 477"/>
                <a:gd name="T85" fmla="*/ 616 h 659"/>
                <a:gd name="T86" fmla="*/ 254 w 477"/>
                <a:gd name="T87" fmla="*/ 556 h 659"/>
                <a:gd name="T88" fmla="*/ 251 w 477"/>
                <a:gd name="T89" fmla="*/ 482 h 659"/>
                <a:gd name="T90" fmla="*/ 213 w 477"/>
                <a:gd name="T91" fmla="*/ 454 h 659"/>
                <a:gd name="T92" fmla="*/ 210 w 477"/>
                <a:gd name="T93" fmla="*/ 378 h 659"/>
                <a:gd name="T94" fmla="*/ 201 w 477"/>
                <a:gd name="T95" fmla="*/ 377 h 659"/>
                <a:gd name="T96" fmla="*/ 130 w 477"/>
                <a:gd name="T97" fmla="*/ 426 h 659"/>
                <a:gd name="T98" fmla="*/ 97 w 477"/>
                <a:gd name="T99" fmla="*/ 441 h 659"/>
                <a:gd name="T100" fmla="*/ 48 w 477"/>
                <a:gd name="T101" fmla="*/ 458 h 659"/>
                <a:gd name="T102" fmla="*/ 35 w 477"/>
                <a:gd name="T103" fmla="*/ 449 h 659"/>
                <a:gd name="T104" fmla="*/ 21 w 477"/>
                <a:gd name="T105" fmla="*/ 435 h 659"/>
                <a:gd name="T106" fmla="*/ 32 w 477"/>
                <a:gd name="T107" fmla="*/ 425 h 659"/>
                <a:gd name="T108" fmla="*/ 26 w 477"/>
                <a:gd name="T109" fmla="*/ 414 h 659"/>
                <a:gd name="T110" fmla="*/ 28 w 477"/>
                <a:gd name="T111" fmla="*/ 407 h 659"/>
                <a:gd name="T112" fmla="*/ 18 w 477"/>
                <a:gd name="T113" fmla="*/ 394 h 659"/>
                <a:gd name="T114" fmla="*/ 25 w 477"/>
                <a:gd name="T115" fmla="*/ 395 h 659"/>
                <a:gd name="T116" fmla="*/ 7 w 477"/>
                <a:gd name="T117" fmla="*/ 378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77" h="659">
                  <a:moveTo>
                    <a:pt x="7" y="378"/>
                  </a:moveTo>
                  <a:cubicBezTo>
                    <a:pt x="10" y="377"/>
                    <a:pt x="13" y="377"/>
                    <a:pt x="17" y="376"/>
                  </a:cubicBezTo>
                  <a:cubicBezTo>
                    <a:pt x="20" y="376"/>
                    <a:pt x="24" y="375"/>
                    <a:pt x="28" y="375"/>
                  </a:cubicBezTo>
                  <a:cubicBezTo>
                    <a:pt x="31" y="375"/>
                    <a:pt x="35" y="374"/>
                    <a:pt x="39" y="374"/>
                  </a:cubicBezTo>
                  <a:cubicBezTo>
                    <a:pt x="41" y="373"/>
                    <a:pt x="43" y="373"/>
                    <a:pt x="45" y="372"/>
                  </a:cubicBezTo>
                  <a:cubicBezTo>
                    <a:pt x="51" y="371"/>
                    <a:pt x="56" y="371"/>
                    <a:pt x="62" y="372"/>
                  </a:cubicBezTo>
                  <a:cubicBezTo>
                    <a:pt x="67" y="373"/>
                    <a:pt x="71" y="373"/>
                    <a:pt x="75" y="375"/>
                  </a:cubicBezTo>
                  <a:cubicBezTo>
                    <a:pt x="77" y="376"/>
                    <a:pt x="78" y="377"/>
                    <a:pt x="79" y="378"/>
                  </a:cubicBezTo>
                  <a:cubicBezTo>
                    <a:pt x="79" y="377"/>
                    <a:pt x="79" y="377"/>
                    <a:pt x="79" y="376"/>
                  </a:cubicBezTo>
                  <a:cubicBezTo>
                    <a:pt x="81" y="369"/>
                    <a:pt x="87" y="363"/>
                    <a:pt x="95" y="363"/>
                  </a:cubicBezTo>
                  <a:cubicBezTo>
                    <a:pt x="101" y="363"/>
                    <a:pt x="104" y="366"/>
                    <a:pt x="105" y="371"/>
                  </a:cubicBezTo>
                  <a:cubicBezTo>
                    <a:pt x="107" y="372"/>
                    <a:pt x="108" y="374"/>
                    <a:pt x="109" y="376"/>
                  </a:cubicBezTo>
                  <a:cubicBezTo>
                    <a:pt x="111" y="375"/>
                    <a:pt x="114" y="375"/>
                    <a:pt x="117" y="374"/>
                  </a:cubicBezTo>
                  <a:cubicBezTo>
                    <a:pt x="121" y="373"/>
                    <a:pt x="125" y="372"/>
                    <a:pt x="129" y="371"/>
                  </a:cubicBezTo>
                  <a:cubicBezTo>
                    <a:pt x="135" y="369"/>
                    <a:pt x="142" y="365"/>
                    <a:pt x="146" y="359"/>
                  </a:cubicBezTo>
                  <a:cubicBezTo>
                    <a:pt x="150" y="352"/>
                    <a:pt x="151" y="343"/>
                    <a:pt x="152" y="335"/>
                  </a:cubicBezTo>
                  <a:cubicBezTo>
                    <a:pt x="153" y="326"/>
                    <a:pt x="155" y="318"/>
                    <a:pt x="159" y="310"/>
                  </a:cubicBezTo>
                  <a:cubicBezTo>
                    <a:pt x="162" y="302"/>
                    <a:pt x="167" y="295"/>
                    <a:pt x="172" y="288"/>
                  </a:cubicBezTo>
                  <a:cubicBezTo>
                    <a:pt x="178" y="282"/>
                    <a:pt x="185" y="277"/>
                    <a:pt x="193" y="272"/>
                  </a:cubicBezTo>
                  <a:cubicBezTo>
                    <a:pt x="201" y="267"/>
                    <a:pt x="210" y="262"/>
                    <a:pt x="219" y="260"/>
                  </a:cubicBezTo>
                  <a:cubicBezTo>
                    <a:pt x="222" y="260"/>
                    <a:pt x="224" y="260"/>
                    <a:pt x="227" y="259"/>
                  </a:cubicBezTo>
                  <a:cubicBezTo>
                    <a:pt x="231" y="257"/>
                    <a:pt x="236" y="256"/>
                    <a:pt x="240" y="256"/>
                  </a:cubicBezTo>
                  <a:cubicBezTo>
                    <a:pt x="243" y="256"/>
                    <a:pt x="246" y="256"/>
                    <a:pt x="249" y="257"/>
                  </a:cubicBezTo>
                  <a:cubicBezTo>
                    <a:pt x="250" y="255"/>
                    <a:pt x="250" y="253"/>
                    <a:pt x="250" y="251"/>
                  </a:cubicBezTo>
                  <a:cubicBezTo>
                    <a:pt x="251" y="250"/>
                    <a:pt x="251" y="248"/>
                    <a:pt x="251" y="247"/>
                  </a:cubicBezTo>
                  <a:cubicBezTo>
                    <a:pt x="246" y="247"/>
                    <a:pt x="240" y="247"/>
                    <a:pt x="235" y="247"/>
                  </a:cubicBezTo>
                  <a:cubicBezTo>
                    <a:pt x="224" y="247"/>
                    <a:pt x="213" y="248"/>
                    <a:pt x="202" y="247"/>
                  </a:cubicBezTo>
                  <a:cubicBezTo>
                    <a:pt x="196" y="247"/>
                    <a:pt x="191" y="246"/>
                    <a:pt x="186" y="245"/>
                  </a:cubicBezTo>
                  <a:cubicBezTo>
                    <a:pt x="183" y="245"/>
                    <a:pt x="181" y="245"/>
                    <a:pt x="179" y="244"/>
                  </a:cubicBezTo>
                  <a:cubicBezTo>
                    <a:pt x="177" y="244"/>
                    <a:pt x="176" y="244"/>
                    <a:pt x="174" y="244"/>
                  </a:cubicBezTo>
                  <a:cubicBezTo>
                    <a:pt x="174" y="244"/>
                    <a:pt x="170" y="243"/>
                    <a:pt x="171" y="243"/>
                  </a:cubicBezTo>
                  <a:cubicBezTo>
                    <a:pt x="171" y="243"/>
                    <a:pt x="171" y="243"/>
                    <a:pt x="172" y="244"/>
                  </a:cubicBezTo>
                  <a:cubicBezTo>
                    <a:pt x="171" y="243"/>
                    <a:pt x="171" y="243"/>
                    <a:pt x="171" y="243"/>
                  </a:cubicBezTo>
                  <a:cubicBezTo>
                    <a:pt x="168" y="243"/>
                    <a:pt x="164" y="243"/>
                    <a:pt x="161" y="241"/>
                  </a:cubicBezTo>
                  <a:cubicBezTo>
                    <a:pt x="157" y="239"/>
                    <a:pt x="156" y="233"/>
                    <a:pt x="157" y="229"/>
                  </a:cubicBezTo>
                  <a:cubicBezTo>
                    <a:pt x="157" y="229"/>
                    <a:pt x="157" y="229"/>
                    <a:pt x="157" y="228"/>
                  </a:cubicBezTo>
                  <a:cubicBezTo>
                    <a:pt x="155" y="217"/>
                    <a:pt x="156" y="206"/>
                    <a:pt x="155" y="194"/>
                  </a:cubicBezTo>
                  <a:cubicBezTo>
                    <a:pt x="155" y="183"/>
                    <a:pt x="154" y="171"/>
                    <a:pt x="154" y="160"/>
                  </a:cubicBezTo>
                  <a:cubicBezTo>
                    <a:pt x="154" y="156"/>
                    <a:pt x="154" y="152"/>
                    <a:pt x="154" y="147"/>
                  </a:cubicBezTo>
                  <a:cubicBezTo>
                    <a:pt x="153" y="148"/>
                    <a:pt x="152" y="148"/>
                    <a:pt x="151" y="148"/>
                  </a:cubicBezTo>
                  <a:cubicBezTo>
                    <a:pt x="148" y="148"/>
                    <a:pt x="145" y="148"/>
                    <a:pt x="142" y="148"/>
                  </a:cubicBezTo>
                  <a:cubicBezTo>
                    <a:pt x="140" y="155"/>
                    <a:pt x="134" y="160"/>
                    <a:pt x="128" y="162"/>
                  </a:cubicBezTo>
                  <a:cubicBezTo>
                    <a:pt x="107" y="170"/>
                    <a:pt x="87" y="145"/>
                    <a:pt x="102" y="128"/>
                  </a:cubicBezTo>
                  <a:cubicBezTo>
                    <a:pt x="105" y="125"/>
                    <a:pt x="109" y="123"/>
                    <a:pt x="113" y="122"/>
                  </a:cubicBezTo>
                  <a:cubicBezTo>
                    <a:pt x="117" y="121"/>
                    <a:pt x="124" y="120"/>
                    <a:pt x="128" y="122"/>
                  </a:cubicBezTo>
                  <a:cubicBezTo>
                    <a:pt x="128" y="122"/>
                    <a:pt x="128" y="122"/>
                    <a:pt x="128" y="122"/>
                  </a:cubicBezTo>
                  <a:cubicBezTo>
                    <a:pt x="134" y="122"/>
                    <a:pt x="138" y="127"/>
                    <a:pt x="141" y="133"/>
                  </a:cubicBezTo>
                  <a:cubicBezTo>
                    <a:pt x="141" y="133"/>
                    <a:pt x="142" y="133"/>
                    <a:pt x="142" y="133"/>
                  </a:cubicBezTo>
                  <a:cubicBezTo>
                    <a:pt x="145" y="133"/>
                    <a:pt x="147" y="133"/>
                    <a:pt x="150" y="133"/>
                  </a:cubicBezTo>
                  <a:cubicBezTo>
                    <a:pt x="152" y="133"/>
                    <a:pt x="154" y="133"/>
                    <a:pt x="155" y="133"/>
                  </a:cubicBezTo>
                  <a:cubicBezTo>
                    <a:pt x="156" y="119"/>
                    <a:pt x="158" y="105"/>
                    <a:pt x="162" y="91"/>
                  </a:cubicBezTo>
                  <a:cubicBezTo>
                    <a:pt x="172" y="56"/>
                    <a:pt x="197" y="28"/>
                    <a:pt x="231" y="14"/>
                  </a:cubicBezTo>
                  <a:cubicBezTo>
                    <a:pt x="256" y="3"/>
                    <a:pt x="283" y="0"/>
                    <a:pt x="309" y="6"/>
                  </a:cubicBezTo>
                  <a:cubicBezTo>
                    <a:pt x="333" y="11"/>
                    <a:pt x="355" y="26"/>
                    <a:pt x="368" y="47"/>
                  </a:cubicBezTo>
                  <a:cubicBezTo>
                    <a:pt x="380" y="54"/>
                    <a:pt x="387" y="69"/>
                    <a:pt x="392" y="81"/>
                  </a:cubicBezTo>
                  <a:cubicBezTo>
                    <a:pt x="398" y="97"/>
                    <a:pt x="397" y="115"/>
                    <a:pt x="399" y="133"/>
                  </a:cubicBezTo>
                  <a:cubicBezTo>
                    <a:pt x="399" y="133"/>
                    <a:pt x="399" y="133"/>
                    <a:pt x="399" y="133"/>
                  </a:cubicBezTo>
                  <a:cubicBezTo>
                    <a:pt x="404" y="133"/>
                    <a:pt x="409" y="133"/>
                    <a:pt x="414" y="133"/>
                  </a:cubicBezTo>
                  <a:cubicBezTo>
                    <a:pt x="417" y="133"/>
                    <a:pt x="421" y="133"/>
                    <a:pt x="424" y="133"/>
                  </a:cubicBezTo>
                  <a:cubicBezTo>
                    <a:pt x="428" y="127"/>
                    <a:pt x="434" y="122"/>
                    <a:pt x="441" y="119"/>
                  </a:cubicBezTo>
                  <a:cubicBezTo>
                    <a:pt x="449" y="116"/>
                    <a:pt x="463" y="117"/>
                    <a:pt x="466" y="125"/>
                  </a:cubicBezTo>
                  <a:cubicBezTo>
                    <a:pt x="467" y="126"/>
                    <a:pt x="467" y="127"/>
                    <a:pt x="467" y="127"/>
                  </a:cubicBezTo>
                  <a:cubicBezTo>
                    <a:pt x="473" y="133"/>
                    <a:pt x="477" y="140"/>
                    <a:pt x="475" y="148"/>
                  </a:cubicBezTo>
                  <a:cubicBezTo>
                    <a:pt x="473" y="155"/>
                    <a:pt x="467" y="160"/>
                    <a:pt x="460" y="162"/>
                  </a:cubicBezTo>
                  <a:cubicBezTo>
                    <a:pt x="454" y="165"/>
                    <a:pt x="447" y="164"/>
                    <a:pt x="441" y="162"/>
                  </a:cubicBezTo>
                  <a:cubicBezTo>
                    <a:pt x="434" y="160"/>
                    <a:pt x="427" y="155"/>
                    <a:pt x="424" y="149"/>
                  </a:cubicBezTo>
                  <a:cubicBezTo>
                    <a:pt x="421" y="149"/>
                    <a:pt x="418" y="149"/>
                    <a:pt x="415" y="149"/>
                  </a:cubicBezTo>
                  <a:cubicBezTo>
                    <a:pt x="410" y="148"/>
                    <a:pt x="405" y="148"/>
                    <a:pt x="400" y="148"/>
                  </a:cubicBezTo>
                  <a:cubicBezTo>
                    <a:pt x="401" y="161"/>
                    <a:pt x="402" y="173"/>
                    <a:pt x="402" y="186"/>
                  </a:cubicBezTo>
                  <a:cubicBezTo>
                    <a:pt x="403" y="194"/>
                    <a:pt x="403" y="203"/>
                    <a:pt x="402" y="211"/>
                  </a:cubicBezTo>
                  <a:cubicBezTo>
                    <a:pt x="402" y="215"/>
                    <a:pt x="401" y="219"/>
                    <a:pt x="401" y="223"/>
                  </a:cubicBezTo>
                  <a:cubicBezTo>
                    <a:pt x="401" y="225"/>
                    <a:pt x="401" y="228"/>
                    <a:pt x="401" y="230"/>
                  </a:cubicBezTo>
                  <a:cubicBezTo>
                    <a:pt x="402" y="232"/>
                    <a:pt x="402" y="235"/>
                    <a:pt x="401" y="237"/>
                  </a:cubicBezTo>
                  <a:cubicBezTo>
                    <a:pt x="401" y="240"/>
                    <a:pt x="400" y="241"/>
                    <a:pt x="398" y="242"/>
                  </a:cubicBezTo>
                  <a:cubicBezTo>
                    <a:pt x="388" y="246"/>
                    <a:pt x="377" y="246"/>
                    <a:pt x="367" y="247"/>
                  </a:cubicBezTo>
                  <a:cubicBezTo>
                    <a:pt x="356" y="247"/>
                    <a:pt x="345" y="247"/>
                    <a:pt x="334" y="247"/>
                  </a:cubicBezTo>
                  <a:cubicBezTo>
                    <a:pt x="326" y="247"/>
                    <a:pt x="318" y="246"/>
                    <a:pt x="310" y="246"/>
                  </a:cubicBezTo>
                  <a:cubicBezTo>
                    <a:pt x="310" y="248"/>
                    <a:pt x="310" y="250"/>
                    <a:pt x="310" y="252"/>
                  </a:cubicBezTo>
                  <a:cubicBezTo>
                    <a:pt x="311" y="254"/>
                    <a:pt x="311" y="257"/>
                    <a:pt x="312" y="259"/>
                  </a:cubicBezTo>
                  <a:cubicBezTo>
                    <a:pt x="312" y="259"/>
                    <a:pt x="313" y="259"/>
                    <a:pt x="314" y="259"/>
                  </a:cubicBezTo>
                  <a:cubicBezTo>
                    <a:pt x="315" y="259"/>
                    <a:pt x="316" y="260"/>
                    <a:pt x="318" y="260"/>
                  </a:cubicBezTo>
                  <a:cubicBezTo>
                    <a:pt x="318" y="260"/>
                    <a:pt x="318" y="260"/>
                    <a:pt x="318" y="260"/>
                  </a:cubicBezTo>
                  <a:cubicBezTo>
                    <a:pt x="324" y="259"/>
                    <a:pt x="329" y="260"/>
                    <a:pt x="334" y="262"/>
                  </a:cubicBezTo>
                  <a:cubicBezTo>
                    <a:pt x="340" y="264"/>
                    <a:pt x="346" y="267"/>
                    <a:pt x="351" y="270"/>
                  </a:cubicBezTo>
                  <a:cubicBezTo>
                    <a:pt x="361" y="275"/>
                    <a:pt x="370" y="281"/>
                    <a:pt x="379" y="288"/>
                  </a:cubicBezTo>
                  <a:cubicBezTo>
                    <a:pt x="397" y="301"/>
                    <a:pt x="412" y="318"/>
                    <a:pt x="422" y="338"/>
                  </a:cubicBezTo>
                  <a:cubicBezTo>
                    <a:pt x="427" y="349"/>
                    <a:pt x="431" y="359"/>
                    <a:pt x="434" y="370"/>
                  </a:cubicBezTo>
                  <a:cubicBezTo>
                    <a:pt x="438" y="381"/>
                    <a:pt x="443" y="392"/>
                    <a:pt x="447" y="404"/>
                  </a:cubicBezTo>
                  <a:cubicBezTo>
                    <a:pt x="450" y="415"/>
                    <a:pt x="453" y="427"/>
                    <a:pt x="453" y="439"/>
                  </a:cubicBezTo>
                  <a:cubicBezTo>
                    <a:pt x="454" y="452"/>
                    <a:pt x="452" y="464"/>
                    <a:pt x="449" y="476"/>
                  </a:cubicBezTo>
                  <a:cubicBezTo>
                    <a:pt x="448" y="480"/>
                    <a:pt x="447" y="485"/>
                    <a:pt x="445" y="488"/>
                  </a:cubicBezTo>
                  <a:cubicBezTo>
                    <a:pt x="446" y="490"/>
                    <a:pt x="448" y="491"/>
                    <a:pt x="449" y="493"/>
                  </a:cubicBezTo>
                  <a:cubicBezTo>
                    <a:pt x="450" y="494"/>
                    <a:pt x="452" y="495"/>
                    <a:pt x="453" y="497"/>
                  </a:cubicBezTo>
                  <a:cubicBezTo>
                    <a:pt x="455" y="501"/>
                    <a:pt x="455" y="506"/>
                    <a:pt x="454" y="511"/>
                  </a:cubicBezTo>
                  <a:cubicBezTo>
                    <a:pt x="453" y="517"/>
                    <a:pt x="446" y="522"/>
                    <a:pt x="439" y="523"/>
                  </a:cubicBezTo>
                  <a:cubicBezTo>
                    <a:pt x="440" y="526"/>
                    <a:pt x="441" y="528"/>
                    <a:pt x="441" y="532"/>
                  </a:cubicBezTo>
                  <a:cubicBezTo>
                    <a:pt x="442" y="538"/>
                    <a:pt x="442" y="544"/>
                    <a:pt x="440" y="550"/>
                  </a:cubicBezTo>
                  <a:cubicBezTo>
                    <a:pt x="439" y="555"/>
                    <a:pt x="437" y="563"/>
                    <a:pt x="432" y="565"/>
                  </a:cubicBezTo>
                  <a:cubicBezTo>
                    <a:pt x="432" y="568"/>
                    <a:pt x="431" y="571"/>
                    <a:pt x="430" y="573"/>
                  </a:cubicBezTo>
                  <a:cubicBezTo>
                    <a:pt x="428" y="576"/>
                    <a:pt x="426" y="578"/>
                    <a:pt x="425" y="581"/>
                  </a:cubicBezTo>
                  <a:cubicBezTo>
                    <a:pt x="423" y="584"/>
                    <a:pt x="421" y="587"/>
                    <a:pt x="419" y="590"/>
                  </a:cubicBezTo>
                  <a:cubicBezTo>
                    <a:pt x="416" y="594"/>
                    <a:pt x="408" y="590"/>
                    <a:pt x="409" y="585"/>
                  </a:cubicBezTo>
                  <a:cubicBezTo>
                    <a:pt x="409" y="579"/>
                    <a:pt x="414" y="573"/>
                    <a:pt x="418" y="569"/>
                  </a:cubicBezTo>
                  <a:cubicBezTo>
                    <a:pt x="419" y="568"/>
                    <a:pt x="419" y="567"/>
                    <a:pt x="419" y="567"/>
                  </a:cubicBezTo>
                  <a:cubicBezTo>
                    <a:pt x="417" y="566"/>
                    <a:pt x="415" y="565"/>
                    <a:pt x="413" y="564"/>
                  </a:cubicBezTo>
                  <a:cubicBezTo>
                    <a:pt x="411" y="564"/>
                    <a:pt x="410" y="563"/>
                    <a:pt x="408" y="562"/>
                  </a:cubicBezTo>
                  <a:cubicBezTo>
                    <a:pt x="408" y="564"/>
                    <a:pt x="407" y="566"/>
                    <a:pt x="406" y="567"/>
                  </a:cubicBezTo>
                  <a:cubicBezTo>
                    <a:pt x="405" y="571"/>
                    <a:pt x="402" y="574"/>
                    <a:pt x="399" y="577"/>
                  </a:cubicBezTo>
                  <a:cubicBezTo>
                    <a:pt x="395" y="579"/>
                    <a:pt x="391" y="575"/>
                    <a:pt x="392" y="571"/>
                  </a:cubicBezTo>
                  <a:cubicBezTo>
                    <a:pt x="393" y="567"/>
                    <a:pt x="397" y="564"/>
                    <a:pt x="399" y="561"/>
                  </a:cubicBezTo>
                  <a:cubicBezTo>
                    <a:pt x="400" y="560"/>
                    <a:pt x="400" y="560"/>
                    <a:pt x="400" y="559"/>
                  </a:cubicBezTo>
                  <a:cubicBezTo>
                    <a:pt x="400" y="559"/>
                    <a:pt x="400" y="559"/>
                    <a:pt x="400" y="559"/>
                  </a:cubicBezTo>
                  <a:cubicBezTo>
                    <a:pt x="396" y="558"/>
                    <a:pt x="392" y="556"/>
                    <a:pt x="389" y="555"/>
                  </a:cubicBezTo>
                  <a:cubicBezTo>
                    <a:pt x="388" y="555"/>
                    <a:pt x="388" y="555"/>
                    <a:pt x="388" y="555"/>
                  </a:cubicBezTo>
                  <a:cubicBezTo>
                    <a:pt x="386" y="558"/>
                    <a:pt x="385" y="560"/>
                    <a:pt x="383" y="562"/>
                  </a:cubicBezTo>
                  <a:cubicBezTo>
                    <a:pt x="381" y="564"/>
                    <a:pt x="379" y="567"/>
                    <a:pt x="377" y="569"/>
                  </a:cubicBezTo>
                  <a:cubicBezTo>
                    <a:pt x="376" y="570"/>
                    <a:pt x="375" y="570"/>
                    <a:pt x="374" y="571"/>
                  </a:cubicBezTo>
                  <a:cubicBezTo>
                    <a:pt x="373" y="572"/>
                    <a:pt x="372" y="572"/>
                    <a:pt x="371" y="572"/>
                  </a:cubicBezTo>
                  <a:cubicBezTo>
                    <a:pt x="371" y="572"/>
                    <a:pt x="369" y="572"/>
                    <a:pt x="368" y="572"/>
                  </a:cubicBezTo>
                  <a:cubicBezTo>
                    <a:pt x="369" y="572"/>
                    <a:pt x="369" y="572"/>
                    <a:pt x="369" y="572"/>
                  </a:cubicBezTo>
                  <a:cubicBezTo>
                    <a:pt x="368" y="572"/>
                    <a:pt x="368" y="572"/>
                    <a:pt x="368" y="572"/>
                  </a:cubicBezTo>
                  <a:cubicBezTo>
                    <a:pt x="364" y="571"/>
                    <a:pt x="362" y="567"/>
                    <a:pt x="365" y="563"/>
                  </a:cubicBezTo>
                  <a:cubicBezTo>
                    <a:pt x="364" y="564"/>
                    <a:pt x="365" y="562"/>
                    <a:pt x="366" y="562"/>
                  </a:cubicBezTo>
                  <a:cubicBezTo>
                    <a:pt x="366" y="561"/>
                    <a:pt x="367" y="561"/>
                    <a:pt x="368" y="560"/>
                  </a:cubicBezTo>
                  <a:cubicBezTo>
                    <a:pt x="369" y="560"/>
                    <a:pt x="369" y="559"/>
                    <a:pt x="370" y="558"/>
                  </a:cubicBezTo>
                  <a:cubicBezTo>
                    <a:pt x="373" y="555"/>
                    <a:pt x="375" y="553"/>
                    <a:pt x="378" y="550"/>
                  </a:cubicBezTo>
                  <a:cubicBezTo>
                    <a:pt x="378" y="550"/>
                    <a:pt x="378" y="550"/>
                    <a:pt x="378" y="550"/>
                  </a:cubicBezTo>
                  <a:cubicBezTo>
                    <a:pt x="376" y="549"/>
                    <a:pt x="375" y="548"/>
                    <a:pt x="373" y="547"/>
                  </a:cubicBezTo>
                  <a:cubicBezTo>
                    <a:pt x="372" y="546"/>
                    <a:pt x="371" y="545"/>
                    <a:pt x="370" y="544"/>
                  </a:cubicBezTo>
                  <a:cubicBezTo>
                    <a:pt x="369" y="546"/>
                    <a:pt x="368" y="547"/>
                    <a:pt x="368" y="548"/>
                  </a:cubicBezTo>
                  <a:cubicBezTo>
                    <a:pt x="365" y="553"/>
                    <a:pt x="361" y="557"/>
                    <a:pt x="356" y="560"/>
                  </a:cubicBezTo>
                  <a:cubicBezTo>
                    <a:pt x="351" y="562"/>
                    <a:pt x="347" y="555"/>
                    <a:pt x="350" y="551"/>
                  </a:cubicBezTo>
                  <a:cubicBezTo>
                    <a:pt x="352" y="548"/>
                    <a:pt x="355" y="545"/>
                    <a:pt x="358" y="542"/>
                  </a:cubicBezTo>
                  <a:cubicBezTo>
                    <a:pt x="359" y="541"/>
                    <a:pt x="360" y="539"/>
                    <a:pt x="361" y="538"/>
                  </a:cubicBezTo>
                  <a:cubicBezTo>
                    <a:pt x="360" y="537"/>
                    <a:pt x="358" y="536"/>
                    <a:pt x="357" y="535"/>
                  </a:cubicBezTo>
                  <a:cubicBezTo>
                    <a:pt x="356" y="534"/>
                    <a:pt x="356" y="533"/>
                    <a:pt x="355" y="532"/>
                  </a:cubicBezTo>
                  <a:cubicBezTo>
                    <a:pt x="352" y="536"/>
                    <a:pt x="348" y="541"/>
                    <a:pt x="344" y="544"/>
                  </a:cubicBezTo>
                  <a:cubicBezTo>
                    <a:pt x="337" y="548"/>
                    <a:pt x="329" y="538"/>
                    <a:pt x="335" y="533"/>
                  </a:cubicBezTo>
                  <a:cubicBezTo>
                    <a:pt x="340" y="529"/>
                    <a:pt x="344" y="525"/>
                    <a:pt x="349" y="520"/>
                  </a:cubicBezTo>
                  <a:cubicBezTo>
                    <a:pt x="349" y="520"/>
                    <a:pt x="349" y="520"/>
                    <a:pt x="349" y="519"/>
                  </a:cubicBezTo>
                  <a:cubicBezTo>
                    <a:pt x="351" y="511"/>
                    <a:pt x="356" y="502"/>
                    <a:pt x="363" y="496"/>
                  </a:cubicBezTo>
                  <a:cubicBezTo>
                    <a:pt x="366" y="493"/>
                    <a:pt x="370" y="492"/>
                    <a:pt x="374" y="491"/>
                  </a:cubicBezTo>
                  <a:cubicBezTo>
                    <a:pt x="374" y="489"/>
                    <a:pt x="373" y="488"/>
                    <a:pt x="374" y="487"/>
                  </a:cubicBezTo>
                  <a:cubicBezTo>
                    <a:pt x="371" y="481"/>
                    <a:pt x="373" y="474"/>
                    <a:pt x="378" y="469"/>
                  </a:cubicBezTo>
                  <a:cubicBezTo>
                    <a:pt x="381" y="465"/>
                    <a:pt x="386" y="464"/>
                    <a:pt x="390" y="464"/>
                  </a:cubicBezTo>
                  <a:cubicBezTo>
                    <a:pt x="390" y="463"/>
                    <a:pt x="390" y="463"/>
                    <a:pt x="390" y="462"/>
                  </a:cubicBezTo>
                  <a:cubicBezTo>
                    <a:pt x="391" y="459"/>
                    <a:pt x="391" y="455"/>
                    <a:pt x="391" y="452"/>
                  </a:cubicBezTo>
                  <a:cubicBezTo>
                    <a:pt x="392" y="444"/>
                    <a:pt x="391" y="437"/>
                    <a:pt x="390" y="430"/>
                  </a:cubicBezTo>
                  <a:cubicBezTo>
                    <a:pt x="388" y="415"/>
                    <a:pt x="384" y="401"/>
                    <a:pt x="379" y="387"/>
                  </a:cubicBezTo>
                  <a:cubicBezTo>
                    <a:pt x="374" y="375"/>
                    <a:pt x="368" y="363"/>
                    <a:pt x="360" y="352"/>
                  </a:cubicBezTo>
                  <a:cubicBezTo>
                    <a:pt x="357" y="347"/>
                    <a:pt x="353" y="342"/>
                    <a:pt x="348" y="338"/>
                  </a:cubicBezTo>
                  <a:cubicBezTo>
                    <a:pt x="347" y="337"/>
                    <a:pt x="346" y="336"/>
                    <a:pt x="344" y="335"/>
                  </a:cubicBezTo>
                  <a:cubicBezTo>
                    <a:pt x="344" y="339"/>
                    <a:pt x="344" y="343"/>
                    <a:pt x="343" y="347"/>
                  </a:cubicBezTo>
                  <a:cubicBezTo>
                    <a:pt x="343" y="363"/>
                    <a:pt x="342" y="379"/>
                    <a:pt x="341" y="395"/>
                  </a:cubicBezTo>
                  <a:cubicBezTo>
                    <a:pt x="341" y="403"/>
                    <a:pt x="341" y="411"/>
                    <a:pt x="341" y="418"/>
                  </a:cubicBezTo>
                  <a:cubicBezTo>
                    <a:pt x="341" y="422"/>
                    <a:pt x="341" y="426"/>
                    <a:pt x="341" y="430"/>
                  </a:cubicBezTo>
                  <a:cubicBezTo>
                    <a:pt x="341" y="434"/>
                    <a:pt x="342" y="438"/>
                    <a:pt x="341" y="441"/>
                  </a:cubicBezTo>
                  <a:cubicBezTo>
                    <a:pt x="343" y="447"/>
                    <a:pt x="342" y="453"/>
                    <a:pt x="338" y="457"/>
                  </a:cubicBezTo>
                  <a:cubicBezTo>
                    <a:pt x="331" y="465"/>
                    <a:pt x="319" y="463"/>
                    <a:pt x="309" y="462"/>
                  </a:cubicBezTo>
                  <a:cubicBezTo>
                    <a:pt x="305" y="462"/>
                    <a:pt x="300" y="462"/>
                    <a:pt x="296" y="462"/>
                  </a:cubicBezTo>
                  <a:cubicBezTo>
                    <a:pt x="297" y="468"/>
                    <a:pt x="296" y="475"/>
                    <a:pt x="296" y="481"/>
                  </a:cubicBezTo>
                  <a:cubicBezTo>
                    <a:pt x="296" y="490"/>
                    <a:pt x="296" y="499"/>
                    <a:pt x="296" y="509"/>
                  </a:cubicBezTo>
                  <a:cubicBezTo>
                    <a:pt x="296" y="518"/>
                    <a:pt x="297" y="527"/>
                    <a:pt x="297" y="536"/>
                  </a:cubicBezTo>
                  <a:cubicBezTo>
                    <a:pt x="298" y="543"/>
                    <a:pt x="300" y="550"/>
                    <a:pt x="299" y="557"/>
                  </a:cubicBezTo>
                  <a:cubicBezTo>
                    <a:pt x="301" y="558"/>
                    <a:pt x="304" y="559"/>
                    <a:pt x="305" y="561"/>
                  </a:cubicBezTo>
                  <a:cubicBezTo>
                    <a:pt x="310" y="564"/>
                    <a:pt x="315" y="569"/>
                    <a:pt x="319" y="574"/>
                  </a:cubicBezTo>
                  <a:cubicBezTo>
                    <a:pt x="325" y="583"/>
                    <a:pt x="333" y="600"/>
                    <a:pt x="326" y="611"/>
                  </a:cubicBezTo>
                  <a:cubicBezTo>
                    <a:pt x="321" y="617"/>
                    <a:pt x="312" y="619"/>
                    <a:pt x="303" y="619"/>
                  </a:cubicBezTo>
                  <a:cubicBezTo>
                    <a:pt x="303" y="619"/>
                    <a:pt x="303" y="619"/>
                    <a:pt x="303" y="619"/>
                  </a:cubicBezTo>
                  <a:cubicBezTo>
                    <a:pt x="304" y="623"/>
                    <a:pt x="303" y="628"/>
                    <a:pt x="301" y="632"/>
                  </a:cubicBezTo>
                  <a:cubicBezTo>
                    <a:pt x="298" y="642"/>
                    <a:pt x="290" y="650"/>
                    <a:pt x="280" y="652"/>
                  </a:cubicBezTo>
                  <a:cubicBezTo>
                    <a:pt x="258" y="659"/>
                    <a:pt x="244" y="634"/>
                    <a:pt x="240" y="616"/>
                  </a:cubicBezTo>
                  <a:cubicBezTo>
                    <a:pt x="235" y="617"/>
                    <a:pt x="229" y="613"/>
                    <a:pt x="226" y="609"/>
                  </a:cubicBezTo>
                  <a:cubicBezTo>
                    <a:pt x="222" y="603"/>
                    <a:pt x="224" y="593"/>
                    <a:pt x="225" y="586"/>
                  </a:cubicBezTo>
                  <a:cubicBezTo>
                    <a:pt x="227" y="579"/>
                    <a:pt x="231" y="572"/>
                    <a:pt x="237" y="567"/>
                  </a:cubicBezTo>
                  <a:cubicBezTo>
                    <a:pt x="242" y="562"/>
                    <a:pt x="248" y="559"/>
                    <a:pt x="254" y="556"/>
                  </a:cubicBezTo>
                  <a:cubicBezTo>
                    <a:pt x="253" y="554"/>
                    <a:pt x="253" y="551"/>
                    <a:pt x="253" y="549"/>
                  </a:cubicBezTo>
                  <a:cubicBezTo>
                    <a:pt x="253" y="544"/>
                    <a:pt x="253" y="540"/>
                    <a:pt x="253" y="536"/>
                  </a:cubicBezTo>
                  <a:cubicBezTo>
                    <a:pt x="253" y="527"/>
                    <a:pt x="253" y="518"/>
                    <a:pt x="252" y="509"/>
                  </a:cubicBezTo>
                  <a:cubicBezTo>
                    <a:pt x="252" y="500"/>
                    <a:pt x="251" y="491"/>
                    <a:pt x="251" y="482"/>
                  </a:cubicBezTo>
                  <a:cubicBezTo>
                    <a:pt x="251" y="475"/>
                    <a:pt x="250" y="468"/>
                    <a:pt x="251" y="461"/>
                  </a:cubicBezTo>
                  <a:cubicBezTo>
                    <a:pt x="249" y="461"/>
                    <a:pt x="247" y="461"/>
                    <a:pt x="245" y="461"/>
                  </a:cubicBezTo>
                  <a:cubicBezTo>
                    <a:pt x="240" y="461"/>
                    <a:pt x="234" y="461"/>
                    <a:pt x="229" y="461"/>
                  </a:cubicBezTo>
                  <a:cubicBezTo>
                    <a:pt x="223" y="460"/>
                    <a:pt x="216" y="459"/>
                    <a:pt x="213" y="454"/>
                  </a:cubicBezTo>
                  <a:cubicBezTo>
                    <a:pt x="210" y="451"/>
                    <a:pt x="209" y="448"/>
                    <a:pt x="210" y="445"/>
                  </a:cubicBezTo>
                  <a:cubicBezTo>
                    <a:pt x="209" y="444"/>
                    <a:pt x="209" y="443"/>
                    <a:pt x="210" y="441"/>
                  </a:cubicBezTo>
                  <a:cubicBezTo>
                    <a:pt x="212" y="431"/>
                    <a:pt x="211" y="421"/>
                    <a:pt x="210" y="411"/>
                  </a:cubicBezTo>
                  <a:cubicBezTo>
                    <a:pt x="210" y="400"/>
                    <a:pt x="210" y="389"/>
                    <a:pt x="210" y="378"/>
                  </a:cubicBezTo>
                  <a:cubicBezTo>
                    <a:pt x="210" y="364"/>
                    <a:pt x="210" y="350"/>
                    <a:pt x="210" y="336"/>
                  </a:cubicBezTo>
                  <a:cubicBezTo>
                    <a:pt x="210" y="337"/>
                    <a:pt x="210" y="337"/>
                    <a:pt x="209" y="338"/>
                  </a:cubicBezTo>
                  <a:cubicBezTo>
                    <a:pt x="207" y="344"/>
                    <a:pt x="206" y="351"/>
                    <a:pt x="205" y="358"/>
                  </a:cubicBezTo>
                  <a:cubicBezTo>
                    <a:pt x="204" y="364"/>
                    <a:pt x="203" y="370"/>
                    <a:pt x="201" y="377"/>
                  </a:cubicBezTo>
                  <a:cubicBezTo>
                    <a:pt x="199" y="383"/>
                    <a:pt x="195" y="388"/>
                    <a:pt x="191" y="393"/>
                  </a:cubicBezTo>
                  <a:cubicBezTo>
                    <a:pt x="183" y="404"/>
                    <a:pt x="172" y="411"/>
                    <a:pt x="161" y="417"/>
                  </a:cubicBezTo>
                  <a:cubicBezTo>
                    <a:pt x="154" y="419"/>
                    <a:pt x="148" y="422"/>
                    <a:pt x="141" y="423"/>
                  </a:cubicBezTo>
                  <a:cubicBezTo>
                    <a:pt x="137" y="425"/>
                    <a:pt x="134" y="425"/>
                    <a:pt x="130" y="426"/>
                  </a:cubicBezTo>
                  <a:cubicBezTo>
                    <a:pt x="126" y="427"/>
                    <a:pt x="122" y="428"/>
                    <a:pt x="118" y="427"/>
                  </a:cubicBezTo>
                  <a:cubicBezTo>
                    <a:pt x="118" y="428"/>
                    <a:pt x="118" y="430"/>
                    <a:pt x="117" y="432"/>
                  </a:cubicBezTo>
                  <a:cubicBezTo>
                    <a:pt x="114" y="439"/>
                    <a:pt x="106" y="445"/>
                    <a:pt x="98" y="442"/>
                  </a:cubicBezTo>
                  <a:cubicBezTo>
                    <a:pt x="98" y="442"/>
                    <a:pt x="97" y="441"/>
                    <a:pt x="97" y="441"/>
                  </a:cubicBezTo>
                  <a:cubicBezTo>
                    <a:pt x="95" y="445"/>
                    <a:pt x="92" y="448"/>
                    <a:pt x="89" y="451"/>
                  </a:cubicBezTo>
                  <a:cubicBezTo>
                    <a:pt x="84" y="455"/>
                    <a:pt x="78" y="455"/>
                    <a:pt x="72" y="456"/>
                  </a:cubicBezTo>
                  <a:cubicBezTo>
                    <a:pt x="66" y="457"/>
                    <a:pt x="59" y="459"/>
                    <a:pt x="53" y="459"/>
                  </a:cubicBezTo>
                  <a:cubicBezTo>
                    <a:pt x="51" y="460"/>
                    <a:pt x="49" y="459"/>
                    <a:pt x="48" y="458"/>
                  </a:cubicBezTo>
                  <a:cubicBezTo>
                    <a:pt x="47" y="459"/>
                    <a:pt x="46" y="459"/>
                    <a:pt x="46" y="459"/>
                  </a:cubicBezTo>
                  <a:cubicBezTo>
                    <a:pt x="39" y="461"/>
                    <a:pt x="31" y="465"/>
                    <a:pt x="25" y="463"/>
                  </a:cubicBezTo>
                  <a:cubicBezTo>
                    <a:pt x="18" y="461"/>
                    <a:pt x="19" y="453"/>
                    <a:pt x="25" y="451"/>
                  </a:cubicBezTo>
                  <a:cubicBezTo>
                    <a:pt x="28" y="449"/>
                    <a:pt x="31" y="450"/>
                    <a:pt x="35" y="449"/>
                  </a:cubicBezTo>
                  <a:cubicBezTo>
                    <a:pt x="36" y="449"/>
                    <a:pt x="38" y="448"/>
                    <a:pt x="39" y="448"/>
                  </a:cubicBezTo>
                  <a:cubicBezTo>
                    <a:pt x="39" y="447"/>
                    <a:pt x="38" y="445"/>
                    <a:pt x="38" y="444"/>
                  </a:cubicBezTo>
                  <a:cubicBezTo>
                    <a:pt x="34" y="445"/>
                    <a:pt x="30" y="445"/>
                    <a:pt x="26" y="446"/>
                  </a:cubicBezTo>
                  <a:cubicBezTo>
                    <a:pt x="19" y="448"/>
                    <a:pt x="15" y="438"/>
                    <a:pt x="21" y="435"/>
                  </a:cubicBezTo>
                  <a:cubicBezTo>
                    <a:pt x="25" y="434"/>
                    <a:pt x="29" y="434"/>
                    <a:pt x="33" y="434"/>
                  </a:cubicBezTo>
                  <a:cubicBezTo>
                    <a:pt x="34" y="434"/>
                    <a:pt x="34" y="434"/>
                    <a:pt x="35" y="434"/>
                  </a:cubicBezTo>
                  <a:cubicBezTo>
                    <a:pt x="35" y="432"/>
                    <a:pt x="34" y="429"/>
                    <a:pt x="33" y="427"/>
                  </a:cubicBezTo>
                  <a:cubicBezTo>
                    <a:pt x="33" y="426"/>
                    <a:pt x="33" y="426"/>
                    <a:pt x="32" y="425"/>
                  </a:cubicBezTo>
                  <a:cubicBezTo>
                    <a:pt x="31" y="425"/>
                    <a:pt x="29" y="426"/>
                    <a:pt x="27" y="426"/>
                  </a:cubicBezTo>
                  <a:cubicBezTo>
                    <a:pt x="22" y="427"/>
                    <a:pt x="17" y="430"/>
                    <a:pt x="11" y="427"/>
                  </a:cubicBezTo>
                  <a:cubicBezTo>
                    <a:pt x="8" y="426"/>
                    <a:pt x="8" y="421"/>
                    <a:pt x="10" y="418"/>
                  </a:cubicBezTo>
                  <a:cubicBezTo>
                    <a:pt x="14" y="415"/>
                    <a:pt x="21" y="414"/>
                    <a:pt x="26" y="414"/>
                  </a:cubicBezTo>
                  <a:cubicBezTo>
                    <a:pt x="27" y="414"/>
                    <a:pt x="29" y="413"/>
                    <a:pt x="30" y="413"/>
                  </a:cubicBezTo>
                  <a:cubicBezTo>
                    <a:pt x="30" y="413"/>
                    <a:pt x="30" y="412"/>
                    <a:pt x="30" y="412"/>
                  </a:cubicBezTo>
                  <a:cubicBezTo>
                    <a:pt x="30" y="410"/>
                    <a:pt x="30" y="408"/>
                    <a:pt x="29" y="406"/>
                  </a:cubicBezTo>
                  <a:cubicBezTo>
                    <a:pt x="29" y="406"/>
                    <a:pt x="28" y="406"/>
                    <a:pt x="28" y="407"/>
                  </a:cubicBezTo>
                  <a:cubicBezTo>
                    <a:pt x="25" y="407"/>
                    <a:pt x="22" y="407"/>
                    <a:pt x="20" y="407"/>
                  </a:cubicBezTo>
                  <a:cubicBezTo>
                    <a:pt x="17" y="407"/>
                    <a:pt x="15" y="408"/>
                    <a:pt x="12" y="407"/>
                  </a:cubicBezTo>
                  <a:cubicBezTo>
                    <a:pt x="8" y="407"/>
                    <a:pt x="7" y="402"/>
                    <a:pt x="9" y="398"/>
                  </a:cubicBezTo>
                  <a:cubicBezTo>
                    <a:pt x="10" y="395"/>
                    <a:pt x="14" y="394"/>
                    <a:pt x="18" y="394"/>
                  </a:cubicBezTo>
                  <a:cubicBezTo>
                    <a:pt x="20" y="394"/>
                    <a:pt x="21" y="394"/>
                    <a:pt x="23" y="395"/>
                  </a:cubicBezTo>
                  <a:cubicBezTo>
                    <a:pt x="23" y="395"/>
                    <a:pt x="24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6" y="395"/>
                    <a:pt x="27" y="395"/>
                    <a:pt x="28" y="394"/>
                  </a:cubicBezTo>
                  <a:cubicBezTo>
                    <a:pt x="27" y="392"/>
                    <a:pt x="27" y="390"/>
                    <a:pt x="27" y="388"/>
                  </a:cubicBezTo>
                  <a:cubicBezTo>
                    <a:pt x="21" y="390"/>
                    <a:pt x="15" y="391"/>
                    <a:pt x="9" y="391"/>
                  </a:cubicBezTo>
                  <a:cubicBezTo>
                    <a:pt x="0" y="391"/>
                    <a:pt x="0" y="380"/>
                    <a:pt x="7" y="37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îṡḻiḓé"/>
            <p:cNvSpPr/>
            <p:nvPr/>
          </p:nvSpPr>
          <p:spPr bwMode="auto">
            <a:xfrm>
              <a:off x="5616882" y="3074837"/>
              <a:ext cx="6775" cy="677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ṡḷïḑè"/>
            <p:cNvSpPr/>
            <p:nvPr/>
          </p:nvSpPr>
          <p:spPr bwMode="auto">
            <a:xfrm>
              <a:off x="6433270" y="2099235"/>
              <a:ext cx="220189" cy="189700"/>
            </a:xfrm>
            <a:custGeom>
              <a:avLst/>
              <a:gdLst>
                <a:gd name="T0" fmla="*/ 6 w 31"/>
                <a:gd name="T1" fmla="*/ 7 h 27"/>
                <a:gd name="T2" fmla="*/ 19 w 31"/>
                <a:gd name="T3" fmla="*/ 1 h 27"/>
                <a:gd name="T4" fmla="*/ 24 w 31"/>
                <a:gd name="T5" fmla="*/ 5 h 27"/>
                <a:gd name="T6" fmla="*/ 25 w 31"/>
                <a:gd name="T7" fmla="*/ 5 h 27"/>
                <a:gd name="T8" fmla="*/ 30 w 31"/>
                <a:gd name="T9" fmla="*/ 18 h 27"/>
                <a:gd name="T10" fmla="*/ 16 w 31"/>
                <a:gd name="T11" fmla="*/ 27 h 27"/>
                <a:gd name="T12" fmla="*/ 6 w 31"/>
                <a:gd name="T1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6" y="7"/>
                  </a:moveTo>
                  <a:cubicBezTo>
                    <a:pt x="9" y="2"/>
                    <a:pt x="14" y="0"/>
                    <a:pt x="19" y="1"/>
                  </a:cubicBezTo>
                  <a:cubicBezTo>
                    <a:pt x="21" y="2"/>
                    <a:pt x="23" y="3"/>
                    <a:pt x="24" y="5"/>
                  </a:cubicBezTo>
                  <a:cubicBezTo>
                    <a:pt x="24" y="5"/>
                    <a:pt x="24" y="5"/>
                    <a:pt x="25" y="5"/>
                  </a:cubicBezTo>
                  <a:cubicBezTo>
                    <a:pt x="29" y="8"/>
                    <a:pt x="31" y="13"/>
                    <a:pt x="30" y="18"/>
                  </a:cubicBezTo>
                  <a:cubicBezTo>
                    <a:pt x="29" y="24"/>
                    <a:pt x="22" y="27"/>
                    <a:pt x="16" y="27"/>
                  </a:cubicBezTo>
                  <a:cubicBezTo>
                    <a:pt x="6" y="27"/>
                    <a:pt x="0" y="15"/>
                    <a:pt x="6" y="7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îṥliḍe"/>
            <p:cNvSpPr/>
            <p:nvPr/>
          </p:nvSpPr>
          <p:spPr bwMode="auto">
            <a:xfrm>
              <a:off x="5813357" y="2092460"/>
              <a:ext cx="226964" cy="196475"/>
            </a:xfrm>
            <a:custGeom>
              <a:avLst/>
              <a:gdLst>
                <a:gd name="T0" fmla="*/ 16 w 32"/>
                <a:gd name="T1" fmla="*/ 28 h 28"/>
                <a:gd name="T2" fmla="*/ 4 w 32"/>
                <a:gd name="T3" fmla="*/ 10 h 28"/>
                <a:gd name="T4" fmla="*/ 13 w 32"/>
                <a:gd name="T5" fmla="*/ 1 h 28"/>
                <a:gd name="T6" fmla="*/ 25 w 32"/>
                <a:gd name="T7" fmla="*/ 3 h 28"/>
                <a:gd name="T8" fmla="*/ 28 w 32"/>
                <a:gd name="T9" fmla="*/ 5 h 28"/>
                <a:gd name="T10" fmla="*/ 32 w 32"/>
                <a:gd name="T11" fmla="*/ 14 h 28"/>
                <a:gd name="T12" fmla="*/ 16 w 3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8">
                  <a:moveTo>
                    <a:pt x="16" y="28"/>
                  </a:moveTo>
                  <a:cubicBezTo>
                    <a:pt x="7" y="27"/>
                    <a:pt x="0" y="19"/>
                    <a:pt x="4" y="10"/>
                  </a:cubicBezTo>
                  <a:cubicBezTo>
                    <a:pt x="6" y="5"/>
                    <a:pt x="9" y="3"/>
                    <a:pt x="13" y="1"/>
                  </a:cubicBezTo>
                  <a:cubicBezTo>
                    <a:pt x="16" y="0"/>
                    <a:pt x="22" y="1"/>
                    <a:pt x="25" y="3"/>
                  </a:cubicBezTo>
                  <a:cubicBezTo>
                    <a:pt x="26" y="4"/>
                    <a:pt x="27" y="4"/>
                    <a:pt x="28" y="5"/>
                  </a:cubicBezTo>
                  <a:cubicBezTo>
                    <a:pt x="31" y="7"/>
                    <a:pt x="32" y="11"/>
                    <a:pt x="32" y="14"/>
                  </a:cubicBezTo>
                  <a:cubicBezTo>
                    <a:pt x="31" y="22"/>
                    <a:pt x="25" y="28"/>
                    <a:pt x="16" y="2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işḷîḑé"/>
            <p:cNvSpPr/>
            <p:nvPr/>
          </p:nvSpPr>
          <p:spPr bwMode="auto">
            <a:xfrm>
              <a:off x="6019994" y="2349910"/>
              <a:ext cx="399726" cy="149050"/>
            </a:xfrm>
            <a:custGeom>
              <a:avLst/>
              <a:gdLst>
                <a:gd name="T0" fmla="*/ 26 w 57"/>
                <a:gd name="T1" fmla="*/ 20 h 21"/>
                <a:gd name="T2" fmla="*/ 10 w 57"/>
                <a:gd name="T3" fmla="*/ 17 h 21"/>
                <a:gd name="T4" fmla="*/ 3 w 57"/>
                <a:gd name="T5" fmla="*/ 3 h 21"/>
                <a:gd name="T6" fmla="*/ 9 w 57"/>
                <a:gd name="T7" fmla="*/ 2 h 21"/>
                <a:gd name="T8" fmla="*/ 16 w 57"/>
                <a:gd name="T9" fmla="*/ 8 h 21"/>
                <a:gd name="T10" fmla="*/ 26 w 57"/>
                <a:gd name="T11" fmla="*/ 10 h 21"/>
                <a:gd name="T12" fmla="*/ 52 w 57"/>
                <a:gd name="T13" fmla="*/ 2 h 21"/>
                <a:gd name="T14" fmla="*/ 56 w 57"/>
                <a:gd name="T15" fmla="*/ 4 h 21"/>
                <a:gd name="T16" fmla="*/ 26 w 57"/>
                <a:gd name="T1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21">
                  <a:moveTo>
                    <a:pt x="26" y="20"/>
                  </a:moveTo>
                  <a:cubicBezTo>
                    <a:pt x="20" y="21"/>
                    <a:pt x="15" y="19"/>
                    <a:pt x="10" y="17"/>
                  </a:cubicBezTo>
                  <a:cubicBezTo>
                    <a:pt x="5" y="15"/>
                    <a:pt x="0" y="9"/>
                    <a:pt x="3" y="3"/>
                  </a:cubicBezTo>
                  <a:cubicBezTo>
                    <a:pt x="4" y="1"/>
                    <a:pt x="7" y="1"/>
                    <a:pt x="9" y="2"/>
                  </a:cubicBezTo>
                  <a:cubicBezTo>
                    <a:pt x="12" y="3"/>
                    <a:pt x="13" y="6"/>
                    <a:pt x="16" y="8"/>
                  </a:cubicBezTo>
                  <a:cubicBezTo>
                    <a:pt x="19" y="9"/>
                    <a:pt x="23" y="9"/>
                    <a:pt x="26" y="10"/>
                  </a:cubicBezTo>
                  <a:cubicBezTo>
                    <a:pt x="35" y="10"/>
                    <a:pt x="47" y="9"/>
                    <a:pt x="52" y="2"/>
                  </a:cubicBezTo>
                  <a:cubicBezTo>
                    <a:pt x="54" y="0"/>
                    <a:pt x="57" y="2"/>
                    <a:pt x="56" y="4"/>
                  </a:cubicBezTo>
                  <a:cubicBezTo>
                    <a:pt x="50" y="15"/>
                    <a:pt x="38" y="20"/>
                    <a:pt x="26" y="2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î$ľidé"/>
            <p:cNvSpPr/>
            <p:nvPr/>
          </p:nvSpPr>
          <p:spPr bwMode="auto">
            <a:xfrm>
              <a:off x="6968496" y="1909534"/>
              <a:ext cx="57589" cy="40650"/>
            </a:xfrm>
            <a:custGeom>
              <a:avLst/>
              <a:gdLst>
                <a:gd name="T0" fmla="*/ 4 w 8"/>
                <a:gd name="T1" fmla="*/ 6 h 6"/>
                <a:gd name="T2" fmla="*/ 4 w 8"/>
                <a:gd name="T3" fmla="*/ 0 h 6"/>
                <a:gd name="T4" fmla="*/ 4 w 8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cubicBezTo>
                    <a:pt x="0" y="6"/>
                    <a:pt x="0" y="0"/>
                    <a:pt x="4" y="0"/>
                  </a:cubicBezTo>
                  <a:cubicBezTo>
                    <a:pt x="8" y="0"/>
                    <a:pt x="8" y="6"/>
                    <a:pt x="4" y="6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ïŝ1îḋé"/>
            <p:cNvSpPr/>
            <p:nvPr/>
          </p:nvSpPr>
          <p:spPr bwMode="auto">
            <a:xfrm>
              <a:off x="7012535" y="2055196"/>
              <a:ext cx="40650" cy="50814"/>
            </a:xfrm>
            <a:custGeom>
              <a:avLst/>
              <a:gdLst>
                <a:gd name="T0" fmla="*/ 5 w 6"/>
                <a:gd name="T1" fmla="*/ 5 h 7"/>
                <a:gd name="T2" fmla="*/ 1 w 6"/>
                <a:gd name="T3" fmla="*/ 5 h 7"/>
                <a:gd name="T4" fmla="*/ 0 w 6"/>
                <a:gd name="T5" fmla="*/ 4 h 7"/>
                <a:gd name="T6" fmla="*/ 0 w 6"/>
                <a:gd name="T7" fmla="*/ 1 h 7"/>
                <a:gd name="T8" fmla="*/ 3 w 6"/>
                <a:gd name="T9" fmla="*/ 0 h 7"/>
                <a:gd name="T10" fmla="*/ 5 w 6"/>
                <a:gd name="T11" fmla="*/ 1 h 7"/>
                <a:gd name="T12" fmla="*/ 5 w 6"/>
                <a:gd name="T13" fmla="*/ 4 h 7"/>
                <a:gd name="T14" fmla="*/ 5 w 6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7">
                  <a:moveTo>
                    <a:pt x="5" y="5"/>
                  </a:moveTo>
                  <a:cubicBezTo>
                    <a:pt x="4" y="7"/>
                    <a:pt x="1" y="7"/>
                    <a:pt x="1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6" y="2"/>
                    <a:pt x="6" y="3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ïṥlïḑé"/>
            <p:cNvSpPr/>
            <p:nvPr/>
          </p:nvSpPr>
          <p:spPr bwMode="auto">
            <a:xfrm>
              <a:off x="7012535" y="2183921"/>
              <a:ext cx="33875" cy="47425"/>
            </a:xfrm>
            <a:custGeom>
              <a:avLst/>
              <a:gdLst>
                <a:gd name="T0" fmla="*/ 2 w 5"/>
                <a:gd name="T1" fmla="*/ 0 h 7"/>
                <a:gd name="T2" fmla="*/ 5 w 5"/>
                <a:gd name="T3" fmla="*/ 3 h 7"/>
                <a:gd name="T4" fmla="*/ 5 w 5"/>
                <a:gd name="T5" fmla="*/ 5 h 7"/>
                <a:gd name="T6" fmla="*/ 2 w 5"/>
                <a:gd name="T7" fmla="*/ 7 h 7"/>
                <a:gd name="T8" fmla="*/ 0 w 5"/>
                <a:gd name="T9" fmla="*/ 5 h 7"/>
                <a:gd name="T10" fmla="*/ 0 w 5"/>
                <a:gd name="T11" fmla="*/ 3 h 7"/>
                <a:gd name="T12" fmla="*/ 2 w 5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7">
                  <a:moveTo>
                    <a:pt x="2" y="0"/>
                  </a:moveTo>
                  <a:cubicBezTo>
                    <a:pt x="4" y="0"/>
                    <a:pt x="5" y="1"/>
                    <a:pt x="5" y="3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4" y="6"/>
                    <a:pt x="3" y="7"/>
                    <a:pt x="2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iṧľiḋê"/>
            <p:cNvSpPr/>
            <p:nvPr/>
          </p:nvSpPr>
          <p:spPr bwMode="auto">
            <a:xfrm>
              <a:off x="7019310" y="2434597"/>
              <a:ext cx="33875" cy="44039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íṡľïḑè"/>
            <p:cNvSpPr/>
            <p:nvPr/>
          </p:nvSpPr>
          <p:spPr bwMode="auto">
            <a:xfrm>
              <a:off x="7019310" y="2556547"/>
              <a:ext cx="40650" cy="47425"/>
            </a:xfrm>
            <a:custGeom>
              <a:avLst/>
              <a:gdLst>
                <a:gd name="T0" fmla="*/ 3 w 6"/>
                <a:gd name="T1" fmla="*/ 0 h 7"/>
                <a:gd name="T2" fmla="*/ 5 w 6"/>
                <a:gd name="T3" fmla="*/ 1 h 7"/>
                <a:gd name="T4" fmla="*/ 6 w 6"/>
                <a:gd name="T5" fmla="*/ 4 h 7"/>
                <a:gd name="T6" fmla="*/ 6 w 6"/>
                <a:gd name="T7" fmla="*/ 5 h 7"/>
                <a:gd name="T8" fmla="*/ 3 w 6"/>
                <a:gd name="T9" fmla="*/ 7 h 7"/>
                <a:gd name="T10" fmla="*/ 0 w 6"/>
                <a:gd name="T11" fmla="*/ 5 h 7"/>
                <a:gd name="T12" fmla="*/ 0 w 6"/>
                <a:gd name="T13" fmla="*/ 4 h 7"/>
                <a:gd name="T14" fmla="*/ 1 w 6"/>
                <a:gd name="T15" fmla="*/ 2 h 7"/>
                <a:gd name="T16" fmla="*/ 3 w 6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4" y="0"/>
                    <a:pt x="5" y="1"/>
                    <a:pt x="5" y="1"/>
                  </a:cubicBezTo>
                  <a:cubicBezTo>
                    <a:pt x="6" y="2"/>
                    <a:pt x="6" y="3"/>
                    <a:pt x="6" y="4"/>
                  </a:cubicBezTo>
                  <a:cubicBezTo>
                    <a:pt x="6" y="4"/>
                    <a:pt x="6" y="5"/>
                    <a:pt x="6" y="5"/>
                  </a:cubicBezTo>
                  <a:cubicBezTo>
                    <a:pt x="6" y="6"/>
                    <a:pt x="4" y="7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Sḷiḍè"/>
            <p:cNvSpPr/>
            <p:nvPr/>
          </p:nvSpPr>
          <p:spPr bwMode="auto">
            <a:xfrm>
              <a:off x="7026085" y="2695436"/>
              <a:ext cx="40650" cy="5081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Slidê"/>
            <p:cNvSpPr/>
            <p:nvPr/>
          </p:nvSpPr>
          <p:spPr bwMode="auto">
            <a:xfrm>
              <a:off x="7019310" y="2813998"/>
              <a:ext cx="40650" cy="37264"/>
            </a:xfrm>
            <a:custGeom>
              <a:avLst/>
              <a:gdLst>
                <a:gd name="T0" fmla="*/ 1 w 6"/>
                <a:gd name="T1" fmla="*/ 0 h 5"/>
                <a:gd name="T2" fmla="*/ 3 w 6"/>
                <a:gd name="T3" fmla="*/ 0 h 5"/>
                <a:gd name="T4" fmla="*/ 3 w 6"/>
                <a:gd name="T5" fmla="*/ 0 h 5"/>
                <a:gd name="T6" fmla="*/ 4 w 6"/>
                <a:gd name="T7" fmla="*/ 0 h 5"/>
                <a:gd name="T8" fmla="*/ 6 w 6"/>
                <a:gd name="T9" fmla="*/ 0 h 5"/>
                <a:gd name="T10" fmla="*/ 6 w 6"/>
                <a:gd name="T11" fmla="*/ 2 h 5"/>
                <a:gd name="T12" fmla="*/ 6 w 6"/>
                <a:gd name="T13" fmla="*/ 4 h 5"/>
                <a:gd name="T14" fmla="*/ 4 w 6"/>
                <a:gd name="T15" fmla="*/ 5 h 5"/>
                <a:gd name="T16" fmla="*/ 3 w 6"/>
                <a:gd name="T17" fmla="*/ 5 h 5"/>
                <a:gd name="T18" fmla="*/ 3 w 6"/>
                <a:gd name="T19" fmla="*/ 5 h 5"/>
                <a:gd name="T20" fmla="*/ 1 w 6"/>
                <a:gd name="T21" fmla="*/ 4 h 5"/>
                <a:gd name="T22" fmla="*/ 1 w 6"/>
                <a:gd name="T23" fmla="*/ 4 h 5"/>
                <a:gd name="T24" fmla="*/ 0 w 6"/>
                <a:gd name="T25" fmla="*/ 2 h 5"/>
                <a:gd name="T26" fmla="*/ 1 w 6"/>
                <a:gd name="T27" fmla="*/ 0 h 5"/>
                <a:gd name="T28" fmla="*/ 1 w 6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5">
                  <a:moveTo>
                    <a:pt x="1" y="0"/>
                  </a:move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5" y="5"/>
                    <a:pt x="5" y="5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šlîdê"/>
            <p:cNvSpPr/>
            <p:nvPr/>
          </p:nvSpPr>
          <p:spPr bwMode="auto">
            <a:xfrm>
              <a:off x="7032860" y="2922398"/>
              <a:ext cx="57589" cy="40650"/>
            </a:xfrm>
            <a:custGeom>
              <a:avLst/>
              <a:gdLst>
                <a:gd name="T0" fmla="*/ 4 w 8"/>
                <a:gd name="T1" fmla="*/ 0 h 6"/>
                <a:gd name="T2" fmla="*/ 4 w 8"/>
                <a:gd name="T3" fmla="*/ 6 h 6"/>
                <a:gd name="T4" fmla="*/ 4 w 8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6">
                  <a:moveTo>
                    <a:pt x="4" y="0"/>
                  </a:moveTo>
                  <a:cubicBezTo>
                    <a:pt x="8" y="0"/>
                    <a:pt x="8" y="6"/>
                    <a:pt x="4" y="6"/>
                  </a:cubicBezTo>
                  <a:cubicBezTo>
                    <a:pt x="0" y="6"/>
                    <a:pt x="0" y="0"/>
                    <a:pt x="4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ïṩľiḑê"/>
            <p:cNvSpPr/>
            <p:nvPr/>
          </p:nvSpPr>
          <p:spPr bwMode="auto">
            <a:xfrm>
              <a:off x="7005760" y="5388503"/>
              <a:ext cx="6775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íŝḻíḓê"/>
            <p:cNvSpPr/>
            <p:nvPr/>
          </p:nvSpPr>
          <p:spPr bwMode="auto">
            <a:xfrm>
              <a:off x="4414315" y="1367533"/>
              <a:ext cx="3357022" cy="4634110"/>
            </a:xfrm>
            <a:custGeom>
              <a:avLst/>
              <a:gdLst>
                <a:gd name="T0" fmla="*/ 109 w 477"/>
                <a:gd name="T1" fmla="*/ 376 h 659"/>
                <a:gd name="T2" fmla="*/ 250 w 477"/>
                <a:gd name="T3" fmla="*/ 251 h 659"/>
                <a:gd name="T4" fmla="*/ 154 w 477"/>
                <a:gd name="T5" fmla="*/ 160 h 659"/>
                <a:gd name="T6" fmla="*/ 155 w 477"/>
                <a:gd name="T7" fmla="*/ 133 h 659"/>
                <a:gd name="T8" fmla="*/ 467 w 477"/>
                <a:gd name="T9" fmla="*/ 127 h 659"/>
                <a:gd name="T10" fmla="*/ 398 w 477"/>
                <a:gd name="T11" fmla="*/ 242 h 659"/>
                <a:gd name="T12" fmla="*/ 422 w 477"/>
                <a:gd name="T13" fmla="*/ 338 h 659"/>
                <a:gd name="T14" fmla="*/ 432 w 477"/>
                <a:gd name="T15" fmla="*/ 565 h 659"/>
                <a:gd name="T16" fmla="*/ 399 w 477"/>
                <a:gd name="T17" fmla="*/ 561 h 659"/>
                <a:gd name="T18" fmla="*/ 368 w 477"/>
                <a:gd name="T19" fmla="*/ 560 h 659"/>
                <a:gd name="T20" fmla="*/ 355 w 477"/>
                <a:gd name="T21" fmla="*/ 532 h 659"/>
                <a:gd name="T22" fmla="*/ 390 w 477"/>
                <a:gd name="T23" fmla="*/ 430 h 659"/>
                <a:gd name="T24" fmla="*/ 296 w 477"/>
                <a:gd name="T25" fmla="*/ 462 h 659"/>
                <a:gd name="T26" fmla="*/ 240 w 477"/>
                <a:gd name="T27" fmla="*/ 616 h 659"/>
                <a:gd name="T28" fmla="*/ 213 w 477"/>
                <a:gd name="T29" fmla="*/ 454 h 659"/>
                <a:gd name="T30" fmla="*/ 130 w 477"/>
                <a:gd name="T31" fmla="*/ 426 h 659"/>
                <a:gd name="T32" fmla="*/ 35 w 477"/>
                <a:gd name="T33" fmla="*/ 449 h 659"/>
                <a:gd name="T34" fmla="*/ 26 w 477"/>
                <a:gd name="T35" fmla="*/ 414 h 659"/>
                <a:gd name="T36" fmla="*/ 25 w 477"/>
                <a:gd name="T37" fmla="*/ 395 h 659"/>
                <a:gd name="T38" fmla="*/ 112 w 477"/>
                <a:gd name="T39" fmla="*/ 141 h 659"/>
                <a:gd name="T40" fmla="*/ 450 w 477"/>
                <a:gd name="T41" fmla="*/ 149 h 659"/>
                <a:gd name="T42" fmla="*/ 439 w 477"/>
                <a:gd name="T43" fmla="*/ 144 h 659"/>
                <a:gd name="T44" fmla="*/ 333 w 477"/>
                <a:gd name="T45" fmla="*/ 307 h 659"/>
                <a:gd name="T46" fmla="*/ 319 w 477"/>
                <a:gd name="T47" fmla="*/ 289 h 659"/>
                <a:gd name="T48" fmla="*/ 232 w 477"/>
                <a:gd name="T49" fmla="*/ 303 h 659"/>
                <a:gd name="T50" fmla="*/ 228 w 477"/>
                <a:gd name="T51" fmla="*/ 346 h 659"/>
                <a:gd name="T52" fmla="*/ 282 w 477"/>
                <a:gd name="T53" fmla="*/ 434 h 659"/>
                <a:gd name="T54" fmla="*/ 283 w 477"/>
                <a:gd name="T55" fmla="*/ 270 h 659"/>
                <a:gd name="T56" fmla="*/ 238 w 477"/>
                <a:gd name="T57" fmla="*/ 343 h 659"/>
                <a:gd name="T58" fmla="*/ 225 w 477"/>
                <a:gd name="T59" fmla="*/ 300 h 659"/>
                <a:gd name="T60" fmla="*/ 365 w 477"/>
                <a:gd name="T61" fmla="*/ 61 h 659"/>
                <a:gd name="T62" fmla="*/ 388 w 477"/>
                <a:gd name="T63" fmla="*/ 229 h 659"/>
                <a:gd name="T64" fmla="*/ 385 w 477"/>
                <a:gd name="T65" fmla="*/ 232 h 659"/>
                <a:gd name="T66" fmla="*/ 342 w 477"/>
                <a:gd name="T67" fmla="*/ 35 h 659"/>
                <a:gd name="T68" fmla="*/ 276 w 477"/>
                <a:gd name="T69" fmla="*/ 231 h 659"/>
                <a:gd name="T70" fmla="*/ 345 w 477"/>
                <a:gd name="T71" fmla="*/ 281 h 659"/>
                <a:gd name="T72" fmla="*/ 418 w 477"/>
                <a:gd name="T73" fmla="*/ 365 h 659"/>
                <a:gd name="T74" fmla="*/ 437 w 477"/>
                <a:gd name="T75" fmla="*/ 420 h 659"/>
                <a:gd name="T76" fmla="*/ 440 w 477"/>
                <a:gd name="T77" fmla="*/ 449 h 659"/>
                <a:gd name="T78" fmla="*/ 437 w 477"/>
                <a:gd name="T79" fmla="*/ 468 h 659"/>
                <a:gd name="T80" fmla="*/ 427 w 477"/>
                <a:gd name="T81" fmla="*/ 524 h 659"/>
                <a:gd name="T82" fmla="*/ 433 w 477"/>
                <a:gd name="T83" fmla="*/ 505 h 659"/>
                <a:gd name="T84" fmla="*/ 428 w 477"/>
                <a:gd name="T85" fmla="*/ 479 h 659"/>
                <a:gd name="T86" fmla="*/ 404 w 477"/>
                <a:gd name="T87" fmla="*/ 396 h 659"/>
                <a:gd name="T88" fmla="*/ 389 w 477"/>
                <a:gd name="T89" fmla="*/ 346 h 659"/>
                <a:gd name="T90" fmla="*/ 363 w 477"/>
                <a:gd name="T91" fmla="*/ 292 h 659"/>
                <a:gd name="T92" fmla="*/ 265 w 477"/>
                <a:gd name="T93" fmla="*/ 539 h 659"/>
                <a:gd name="T94" fmla="*/ 264 w 477"/>
                <a:gd name="T95" fmla="*/ 507 h 659"/>
                <a:gd name="T96" fmla="*/ 285 w 477"/>
                <a:gd name="T97" fmla="*/ 558 h 659"/>
                <a:gd name="T98" fmla="*/ 263 w 477"/>
                <a:gd name="T99" fmla="*/ 479 h 659"/>
                <a:gd name="T100" fmla="*/ 239 w 477"/>
                <a:gd name="T101" fmla="*/ 600 h 659"/>
                <a:gd name="T102" fmla="*/ 285 w 477"/>
                <a:gd name="T103" fmla="*/ 570 h 659"/>
                <a:gd name="T104" fmla="*/ 261 w 477"/>
                <a:gd name="T105" fmla="*/ 461 h 659"/>
                <a:gd name="T106" fmla="*/ 281 w 477"/>
                <a:gd name="T107" fmla="*/ 440 h 659"/>
                <a:gd name="T108" fmla="*/ 193 w 477"/>
                <a:gd name="T109" fmla="*/ 289 h 659"/>
                <a:gd name="T110" fmla="*/ 194 w 477"/>
                <a:gd name="T111" fmla="*/ 345 h 659"/>
                <a:gd name="T112" fmla="*/ 193 w 477"/>
                <a:gd name="T113" fmla="*/ 351 h 659"/>
                <a:gd name="T114" fmla="*/ 118 w 477"/>
                <a:gd name="T115" fmla="*/ 413 h 659"/>
                <a:gd name="T116" fmla="*/ 138 w 477"/>
                <a:gd name="T117" fmla="*/ 407 h 659"/>
                <a:gd name="T118" fmla="*/ 94 w 477"/>
                <a:gd name="T119" fmla="*/ 375 h 659"/>
                <a:gd name="T120" fmla="*/ 81 w 477"/>
                <a:gd name="T121" fmla="*/ 39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7" h="659">
                  <a:moveTo>
                    <a:pt x="7" y="378"/>
                  </a:moveTo>
                  <a:cubicBezTo>
                    <a:pt x="10" y="377"/>
                    <a:pt x="13" y="377"/>
                    <a:pt x="17" y="376"/>
                  </a:cubicBezTo>
                  <a:cubicBezTo>
                    <a:pt x="20" y="376"/>
                    <a:pt x="24" y="375"/>
                    <a:pt x="28" y="375"/>
                  </a:cubicBezTo>
                  <a:cubicBezTo>
                    <a:pt x="31" y="375"/>
                    <a:pt x="35" y="374"/>
                    <a:pt x="39" y="374"/>
                  </a:cubicBezTo>
                  <a:cubicBezTo>
                    <a:pt x="41" y="373"/>
                    <a:pt x="43" y="373"/>
                    <a:pt x="45" y="372"/>
                  </a:cubicBezTo>
                  <a:cubicBezTo>
                    <a:pt x="51" y="371"/>
                    <a:pt x="56" y="371"/>
                    <a:pt x="62" y="372"/>
                  </a:cubicBezTo>
                  <a:cubicBezTo>
                    <a:pt x="67" y="373"/>
                    <a:pt x="71" y="373"/>
                    <a:pt x="75" y="375"/>
                  </a:cubicBezTo>
                  <a:cubicBezTo>
                    <a:pt x="77" y="376"/>
                    <a:pt x="78" y="377"/>
                    <a:pt x="79" y="378"/>
                  </a:cubicBezTo>
                  <a:cubicBezTo>
                    <a:pt x="79" y="377"/>
                    <a:pt x="79" y="377"/>
                    <a:pt x="79" y="376"/>
                  </a:cubicBezTo>
                  <a:cubicBezTo>
                    <a:pt x="81" y="369"/>
                    <a:pt x="87" y="363"/>
                    <a:pt x="95" y="363"/>
                  </a:cubicBezTo>
                  <a:cubicBezTo>
                    <a:pt x="101" y="363"/>
                    <a:pt x="104" y="366"/>
                    <a:pt x="105" y="371"/>
                  </a:cubicBezTo>
                  <a:cubicBezTo>
                    <a:pt x="107" y="372"/>
                    <a:pt x="108" y="374"/>
                    <a:pt x="109" y="376"/>
                  </a:cubicBezTo>
                  <a:cubicBezTo>
                    <a:pt x="111" y="375"/>
                    <a:pt x="114" y="375"/>
                    <a:pt x="117" y="374"/>
                  </a:cubicBezTo>
                  <a:cubicBezTo>
                    <a:pt x="121" y="373"/>
                    <a:pt x="125" y="372"/>
                    <a:pt x="129" y="371"/>
                  </a:cubicBezTo>
                  <a:cubicBezTo>
                    <a:pt x="135" y="369"/>
                    <a:pt x="142" y="365"/>
                    <a:pt x="146" y="359"/>
                  </a:cubicBezTo>
                  <a:cubicBezTo>
                    <a:pt x="150" y="352"/>
                    <a:pt x="151" y="343"/>
                    <a:pt x="152" y="335"/>
                  </a:cubicBezTo>
                  <a:cubicBezTo>
                    <a:pt x="153" y="326"/>
                    <a:pt x="155" y="318"/>
                    <a:pt x="159" y="310"/>
                  </a:cubicBezTo>
                  <a:cubicBezTo>
                    <a:pt x="162" y="302"/>
                    <a:pt x="167" y="295"/>
                    <a:pt x="172" y="288"/>
                  </a:cubicBezTo>
                  <a:cubicBezTo>
                    <a:pt x="178" y="282"/>
                    <a:pt x="185" y="277"/>
                    <a:pt x="193" y="272"/>
                  </a:cubicBezTo>
                  <a:cubicBezTo>
                    <a:pt x="201" y="267"/>
                    <a:pt x="210" y="262"/>
                    <a:pt x="219" y="260"/>
                  </a:cubicBezTo>
                  <a:cubicBezTo>
                    <a:pt x="222" y="260"/>
                    <a:pt x="224" y="260"/>
                    <a:pt x="227" y="259"/>
                  </a:cubicBezTo>
                  <a:cubicBezTo>
                    <a:pt x="231" y="257"/>
                    <a:pt x="236" y="256"/>
                    <a:pt x="240" y="256"/>
                  </a:cubicBezTo>
                  <a:cubicBezTo>
                    <a:pt x="243" y="256"/>
                    <a:pt x="246" y="256"/>
                    <a:pt x="249" y="257"/>
                  </a:cubicBezTo>
                  <a:cubicBezTo>
                    <a:pt x="250" y="255"/>
                    <a:pt x="250" y="253"/>
                    <a:pt x="250" y="251"/>
                  </a:cubicBezTo>
                  <a:cubicBezTo>
                    <a:pt x="251" y="250"/>
                    <a:pt x="251" y="248"/>
                    <a:pt x="251" y="247"/>
                  </a:cubicBezTo>
                  <a:cubicBezTo>
                    <a:pt x="246" y="247"/>
                    <a:pt x="240" y="247"/>
                    <a:pt x="235" y="247"/>
                  </a:cubicBezTo>
                  <a:cubicBezTo>
                    <a:pt x="224" y="247"/>
                    <a:pt x="213" y="248"/>
                    <a:pt x="202" y="247"/>
                  </a:cubicBezTo>
                  <a:cubicBezTo>
                    <a:pt x="196" y="247"/>
                    <a:pt x="191" y="246"/>
                    <a:pt x="186" y="245"/>
                  </a:cubicBezTo>
                  <a:cubicBezTo>
                    <a:pt x="183" y="245"/>
                    <a:pt x="181" y="245"/>
                    <a:pt x="179" y="244"/>
                  </a:cubicBezTo>
                  <a:cubicBezTo>
                    <a:pt x="177" y="244"/>
                    <a:pt x="176" y="244"/>
                    <a:pt x="174" y="244"/>
                  </a:cubicBezTo>
                  <a:cubicBezTo>
                    <a:pt x="174" y="244"/>
                    <a:pt x="170" y="243"/>
                    <a:pt x="171" y="243"/>
                  </a:cubicBezTo>
                  <a:cubicBezTo>
                    <a:pt x="168" y="243"/>
                    <a:pt x="164" y="243"/>
                    <a:pt x="161" y="241"/>
                  </a:cubicBezTo>
                  <a:cubicBezTo>
                    <a:pt x="157" y="239"/>
                    <a:pt x="156" y="233"/>
                    <a:pt x="157" y="229"/>
                  </a:cubicBezTo>
                  <a:cubicBezTo>
                    <a:pt x="157" y="229"/>
                    <a:pt x="157" y="229"/>
                    <a:pt x="157" y="228"/>
                  </a:cubicBezTo>
                  <a:cubicBezTo>
                    <a:pt x="155" y="217"/>
                    <a:pt x="156" y="206"/>
                    <a:pt x="155" y="194"/>
                  </a:cubicBezTo>
                  <a:cubicBezTo>
                    <a:pt x="155" y="183"/>
                    <a:pt x="154" y="171"/>
                    <a:pt x="154" y="160"/>
                  </a:cubicBezTo>
                  <a:cubicBezTo>
                    <a:pt x="154" y="156"/>
                    <a:pt x="154" y="152"/>
                    <a:pt x="154" y="147"/>
                  </a:cubicBezTo>
                  <a:cubicBezTo>
                    <a:pt x="153" y="148"/>
                    <a:pt x="152" y="148"/>
                    <a:pt x="151" y="148"/>
                  </a:cubicBezTo>
                  <a:cubicBezTo>
                    <a:pt x="148" y="148"/>
                    <a:pt x="145" y="148"/>
                    <a:pt x="142" y="148"/>
                  </a:cubicBezTo>
                  <a:cubicBezTo>
                    <a:pt x="140" y="155"/>
                    <a:pt x="134" y="160"/>
                    <a:pt x="128" y="162"/>
                  </a:cubicBezTo>
                  <a:cubicBezTo>
                    <a:pt x="107" y="170"/>
                    <a:pt x="87" y="145"/>
                    <a:pt x="102" y="128"/>
                  </a:cubicBezTo>
                  <a:cubicBezTo>
                    <a:pt x="105" y="125"/>
                    <a:pt x="109" y="123"/>
                    <a:pt x="113" y="122"/>
                  </a:cubicBezTo>
                  <a:cubicBezTo>
                    <a:pt x="117" y="121"/>
                    <a:pt x="124" y="120"/>
                    <a:pt x="128" y="122"/>
                  </a:cubicBezTo>
                  <a:cubicBezTo>
                    <a:pt x="128" y="122"/>
                    <a:pt x="128" y="122"/>
                    <a:pt x="128" y="122"/>
                  </a:cubicBezTo>
                  <a:cubicBezTo>
                    <a:pt x="134" y="122"/>
                    <a:pt x="138" y="127"/>
                    <a:pt x="141" y="133"/>
                  </a:cubicBezTo>
                  <a:cubicBezTo>
                    <a:pt x="141" y="133"/>
                    <a:pt x="142" y="133"/>
                    <a:pt x="142" y="133"/>
                  </a:cubicBezTo>
                  <a:cubicBezTo>
                    <a:pt x="145" y="133"/>
                    <a:pt x="147" y="133"/>
                    <a:pt x="150" y="133"/>
                  </a:cubicBezTo>
                  <a:cubicBezTo>
                    <a:pt x="152" y="133"/>
                    <a:pt x="154" y="133"/>
                    <a:pt x="155" y="133"/>
                  </a:cubicBezTo>
                  <a:cubicBezTo>
                    <a:pt x="156" y="119"/>
                    <a:pt x="158" y="105"/>
                    <a:pt x="162" y="91"/>
                  </a:cubicBezTo>
                  <a:cubicBezTo>
                    <a:pt x="172" y="56"/>
                    <a:pt x="197" y="28"/>
                    <a:pt x="231" y="14"/>
                  </a:cubicBezTo>
                  <a:cubicBezTo>
                    <a:pt x="256" y="3"/>
                    <a:pt x="283" y="0"/>
                    <a:pt x="309" y="6"/>
                  </a:cubicBezTo>
                  <a:cubicBezTo>
                    <a:pt x="333" y="11"/>
                    <a:pt x="355" y="26"/>
                    <a:pt x="368" y="47"/>
                  </a:cubicBezTo>
                  <a:cubicBezTo>
                    <a:pt x="380" y="54"/>
                    <a:pt x="387" y="69"/>
                    <a:pt x="392" y="81"/>
                  </a:cubicBezTo>
                  <a:cubicBezTo>
                    <a:pt x="398" y="97"/>
                    <a:pt x="397" y="115"/>
                    <a:pt x="399" y="133"/>
                  </a:cubicBezTo>
                  <a:cubicBezTo>
                    <a:pt x="399" y="133"/>
                    <a:pt x="399" y="133"/>
                    <a:pt x="399" y="133"/>
                  </a:cubicBezTo>
                  <a:cubicBezTo>
                    <a:pt x="404" y="133"/>
                    <a:pt x="409" y="133"/>
                    <a:pt x="414" y="133"/>
                  </a:cubicBezTo>
                  <a:cubicBezTo>
                    <a:pt x="417" y="133"/>
                    <a:pt x="421" y="133"/>
                    <a:pt x="424" y="133"/>
                  </a:cubicBezTo>
                  <a:cubicBezTo>
                    <a:pt x="428" y="127"/>
                    <a:pt x="434" y="122"/>
                    <a:pt x="441" y="119"/>
                  </a:cubicBezTo>
                  <a:cubicBezTo>
                    <a:pt x="449" y="116"/>
                    <a:pt x="463" y="117"/>
                    <a:pt x="466" y="125"/>
                  </a:cubicBezTo>
                  <a:cubicBezTo>
                    <a:pt x="467" y="126"/>
                    <a:pt x="467" y="127"/>
                    <a:pt x="467" y="127"/>
                  </a:cubicBezTo>
                  <a:cubicBezTo>
                    <a:pt x="473" y="133"/>
                    <a:pt x="477" y="140"/>
                    <a:pt x="475" y="148"/>
                  </a:cubicBezTo>
                  <a:cubicBezTo>
                    <a:pt x="473" y="155"/>
                    <a:pt x="467" y="160"/>
                    <a:pt x="460" y="162"/>
                  </a:cubicBezTo>
                  <a:cubicBezTo>
                    <a:pt x="454" y="165"/>
                    <a:pt x="447" y="164"/>
                    <a:pt x="441" y="162"/>
                  </a:cubicBezTo>
                  <a:cubicBezTo>
                    <a:pt x="434" y="160"/>
                    <a:pt x="427" y="155"/>
                    <a:pt x="424" y="149"/>
                  </a:cubicBezTo>
                  <a:cubicBezTo>
                    <a:pt x="421" y="149"/>
                    <a:pt x="418" y="149"/>
                    <a:pt x="415" y="149"/>
                  </a:cubicBezTo>
                  <a:cubicBezTo>
                    <a:pt x="410" y="148"/>
                    <a:pt x="405" y="148"/>
                    <a:pt x="400" y="148"/>
                  </a:cubicBezTo>
                  <a:cubicBezTo>
                    <a:pt x="401" y="161"/>
                    <a:pt x="402" y="173"/>
                    <a:pt x="402" y="186"/>
                  </a:cubicBezTo>
                  <a:cubicBezTo>
                    <a:pt x="403" y="194"/>
                    <a:pt x="403" y="203"/>
                    <a:pt x="402" y="211"/>
                  </a:cubicBezTo>
                  <a:cubicBezTo>
                    <a:pt x="402" y="215"/>
                    <a:pt x="401" y="219"/>
                    <a:pt x="401" y="223"/>
                  </a:cubicBezTo>
                  <a:cubicBezTo>
                    <a:pt x="401" y="225"/>
                    <a:pt x="401" y="228"/>
                    <a:pt x="401" y="230"/>
                  </a:cubicBezTo>
                  <a:cubicBezTo>
                    <a:pt x="402" y="232"/>
                    <a:pt x="402" y="235"/>
                    <a:pt x="401" y="237"/>
                  </a:cubicBezTo>
                  <a:cubicBezTo>
                    <a:pt x="401" y="240"/>
                    <a:pt x="400" y="241"/>
                    <a:pt x="398" y="242"/>
                  </a:cubicBezTo>
                  <a:cubicBezTo>
                    <a:pt x="388" y="246"/>
                    <a:pt x="377" y="246"/>
                    <a:pt x="367" y="247"/>
                  </a:cubicBezTo>
                  <a:cubicBezTo>
                    <a:pt x="356" y="247"/>
                    <a:pt x="345" y="247"/>
                    <a:pt x="334" y="247"/>
                  </a:cubicBezTo>
                  <a:cubicBezTo>
                    <a:pt x="326" y="247"/>
                    <a:pt x="318" y="246"/>
                    <a:pt x="310" y="246"/>
                  </a:cubicBezTo>
                  <a:cubicBezTo>
                    <a:pt x="310" y="248"/>
                    <a:pt x="310" y="250"/>
                    <a:pt x="310" y="252"/>
                  </a:cubicBezTo>
                  <a:cubicBezTo>
                    <a:pt x="311" y="254"/>
                    <a:pt x="311" y="257"/>
                    <a:pt x="312" y="259"/>
                  </a:cubicBezTo>
                  <a:cubicBezTo>
                    <a:pt x="312" y="259"/>
                    <a:pt x="313" y="259"/>
                    <a:pt x="314" y="259"/>
                  </a:cubicBezTo>
                  <a:cubicBezTo>
                    <a:pt x="315" y="259"/>
                    <a:pt x="316" y="260"/>
                    <a:pt x="318" y="260"/>
                  </a:cubicBezTo>
                  <a:cubicBezTo>
                    <a:pt x="318" y="260"/>
                    <a:pt x="318" y="260"/>
                    <a:pt x="318" y="260"/>
                  </a:cubicBezTo>
                  <a:cubicBezTo>
                    <a:pt x="324" y="259"/>
                    <a:pt x="329" y="260"/>
                    <a:pt x="334" y="262"/>
                  </a:cubicBezTo>
                  <a:cubicBezTo>
                    <a:pt x="340" y="264"/>
                    <a:pt x="346" y="267"/>
                    <a:pt x="351" y="270"/>
                  </a:cubicBezTo>
                  <a:cubicBezTo>
                    <a:pt x="361" y="275"/>
                    <a:pt x="370" y="281"/>
                    <a:pt x="379" y="288"/>
                  </a:cubicBezTo>
                  <a:cubicBezTo>
                    <a:pt x="397" y="301"/>
                    <a:pt x="412" y="318"/>
                    <a:pt x="422" y="338"/>
                  </a:cubicBezTo>
                  <a:cubicBezTo>
                    <a:pt x="427" y="349"/>
                    <a:pt x="431" y="359"/>
                    <a:pt x="434" y="370"/>
                  </a:cubicBezTo>
                  <a:cubicBezTo>
                    <a:pt x="438" y="381"/>
                    <a:pt x="443" y="392"/>
                    <a:pt x="447" y="404"/>
                  </a:cubicBezTo>
                  <a:cubicBezTo>
                    <a:pt x="450" y="415"/>
                    <a:pt x="453" y="427"/>
                    <a:pt x="453" y="439"/>
                  </a:cubicBezTo>
                  <a:cubicBezTo>
                    <a:pt x="454" y="452"/>
                    <a:pt x="452" y="464"/>
                    <a:pt x="449" y="476"/>
                  </a:cubicBezTo>
                  <a:cubicBezTo>
                    <a:pt x="448" y="480"/>
                    <a:pt x="447" y="485"/>
                    <a:pt x="445" y="488"/>
                  </a:cubicBezTo>
                  <a:cubicBezTo>
                    <a:pt x="446" y="490"/>
                    <a:pt x="448" y="491"/>
                    <a:pt x="449" y="493"/>
                  </a:cubicBezTo>
                  <a:cubicBezTo>
                    <a:pt x="450" y="494"/>
                    <a:pt x="452" y="495"/>
                    <a:pt x="453" y="497"/>
                  </a:cubicBezTo>
                  <a:cubicBezTo>
                    <a:pt x="455" y="501"/>
                    <a:pt x="455" y="506"/>
                    <a:pt x="454" y="511"/>
                  </a:cubicBezTo>
                  <a:cubicBezTo>
                    <a:pt x="453" y="517"/>
                    <a:pt x="446" y="522"/>
                    <a:pt x="439" y="523"/>
                  </a:cubicBezTo>
                  <a:cubicBezTo>
                    <a:pt x="440" y="526"/>
                    <a:pt x="441" y="528"/>
                    <a:pt x="441" y="532"/>
                  </a:cubicBezTo>
                  <a:cubicBezTo>
                    <a:pt x="442" y="538"/>
                    <a:pt x="442" y="544"/>
                    <a:pt x="440" y="550"/>
                  </a:cubicBezTo>
                  <a:cubicBezTo>
                    <a:pt x="439" y="555"/>
                    <a:pt x="437" y="563"/>
                    <a:pt x="432" y="565"/>
                  </a:cubicBezTo>
                  <a:cubicBezTo>
                    <a:pt x="432" y="568"/>
                    <a:pt x="431" y="571"/>
                    <a:pt x="430" y="573"/>
                  </a:cubicBezTo>
                  <a:cubicBezTo>
                    <a:pt x="428" y="576"/>
                    <a:pt x="426" y="578"/>
                    <a:pt x="425" y="581"/>
                  </a:cubicBezTo>
                  <a:cubicBezTo>
                    <a:pt x="423" y="584"/>
                    <a:pt x="421" y="587"/>
                    <a:pt x="419" y="590"/>
                  </a:cubicBezTo>
                  <a:cubicBezTo>
                    <a:pt x="416" y="594"/>
                    <a:pt x="408" y="590"/>
                    <a:pt x="409" y="585"/>
                  </a:cubicBezTo>
                  <a:cubicBezTo>
                    <a:pt x="409" y="579"/>
                    <a:pt x="414" y="573"/>
                    <a:pt x="418" y="569"/>
                  </a:cubicBezTo>
                  <a:cubicBezTo>
                    <a:pt x="419" y="568"/>
                    <a:pt x="419" y="567"/>
                    <a:pt x="419" y="567"/>
                  </a:cubicBezTo>
                  <a:cubicBezTo>
                    <a:pt x="417" y="566"/>
                    <a:pt x="415" y="565"/>
                    <a:pt x="413" y="564"/>
                  </a:cubicBezTo>
                  <a:cubicBezTo>
                    <a:pt x="411" y="564"/>
                    <a:pt x="410" y="563"/>
                    <a:pt x="408" y="562"/>
                  </a:cubicBezTo>
                  <a:cubicBezTo>
                    <a:pt x="408" y="564"/>
                    <a:pt x="407" y="566"/>
                    <a:pt x="406" y="567"/>
                  </a:cubicBezTo>
                  <a:cubicBezTo>
                    <a:pt x="405" y="571"/>
                    <a:pt x="402" y="574"/>
                    <a:pt x="399" y="577"/>
                  </a:cubicBezTo>
                  <a:cubicBezTo>
                    <a:pt x="395" y="579"/>
                    <a:pt x="391" y="575"/>
                    <a:pt x="392" y="571"/>
                  </a:cubicBezTo>
                  <a:cubicBezTo>
                    <a:pt x="393" y="567"/>
                    <a:pt x="397" y="564"/>
                    <a:pt x="399" y="561"/>
                  </a:cubicBezTo>
                  <a:cubicBezTo>
                    <a:pt x="400" y="560"/>
                    <a:pt x="400" y="560"/>
                    <a:pt x="400" y="559"/>
                  </a:cubicBezTo>
                  <a:cubicBezTo>
                    <a:pt x="400" y="559"/>
                    <a:pt x="400" y="559"/>
                    <a:pt x="400" y="559"/>
                  </a:cubicBezTo>
                  <a:cubicBezTo>
                    <a:pt x="396" y="558"/>
                    <a:pt x="392" y="556"/>
                    <a:pt x="389" y="555"/>
                  </a:cubicBezTo>
                  <a:cubicBezTo>
                    <a:pt x="388" y="555"/>
                    <a:pt x="388" y="555"/>
                    <a:pt x="388" y="555"/>
                  </a:cubicBezTo>
                  <a:cubicBezTo>
                    <a:pt x="386" y="558"/>
                    <a:pt x="385" y="560"/>
                    <a:pt x="383" y="562"/>
                  </a:cubicBezTo>
                  <a:cubicBezTo>
                    <a:pt x="381" y="564"/>
                    <a:pt x="379" y="567"/>
                    <a:pt x="377" y="569"/>
                  </a:cubicBezTo>
                  <a:cubicBezTo>
                    <a:pt x="376" y="570"/>
                    <a:pt x="375" y="570"/>
                    <a:pt x="374" y="571"/>
                  </a:cubicBezTo>
                  <a:cubicBezTo>
                    <a:pt x="373" y="572"/>
                    <a:pt x="372" y="572"/>
                    <a:pt x="371" y="572"/>
                  </a:cubicBezTo>
                  <a:cubicBezTo>
                    <a:pt x="371" y="572"/>
                    <a:pt x="369" y="572"/>
                    <a:pt x="368" y="572"/>
                  </a:cubicBezTo>
                  <a:cubicBezTo>
                    <a:pt x="364" y="571"/>
                    <a:pt x="362" y="567"/>
                    <a:pt x="365" y="563"/>
                  </a:cubicBezTo>
                  <a:cubicBezTo>
                    <a:pt x="364" y="564"/>
                    <a:pt x="365" y="562"/>
                    <a:pt x="366" y="562"/>
                  </a:cubicBezTo>
                  <a:cubicBezTo>
                    <a:pt x="366" y="561"/>
                    <a:pt x="367" y="561"/>
                    <a:pt x="368" y="560"/>
                  </a:cubicBezTo>
                  <a:cubicBezTo>
                    <a:pt x="369" y="560"/>
                    <a:pt x="369" y="559"/>
                    <a:pt x="370" y="558"/>
                  </a:cubicBezTo>
                  <a:cubicBezTo>
                    <a:pt x="373" y="555"/>
                    <a:pt x="375" y="553"/>
                    <a:pt x="378" y="550"/>
                  </a:cubicBezTo>
                  <a:cubicBezTo>
                    <a:pt x="378" y="550"/>
                    <a:pt x="378" y="550"/>
                    <a:pt x="378" y="550"/>
                  </a:cubicBezTo>
                  <a:cubicBezTo>
                    <a:pt x="376" y="549"/>
                    <a:pt x="375" y="548"/>
                    <a:pt x="373" y="547"/>
                  </a:cubicBezTo>
                  <a:cubicBezTo>
                    <a:pt x="372" y="546"/>
                    <a:pt x="371" y="545"/>
                    <a:pt x="370" y="544"/>
                  </a:cubicBezTo>
                  <a:cubicBezTo>
                    <a:pt x="369" y="546"/>
                    <a:pt x="368" y="547"/>
                    <a:pt x="368" y="548"/>
                  </a:cubicBezTo>
                  <a:cubicBezTo>
                    <a:pt x="365" y="553"/>
                    <a:pt x="361" y="557"/>
                    <a:pt x="356" y="560"/>
                  </a:cubicBezTo>
                  <a:cubicBezTo>
                    <a:pt x="351" y="562"/>
                    <a:pt x="347" y="555"/>
                    <a:pt x="350" y="551"/>
                  </a:cubicBezTo>
                  <a:cubicBezTo>
                    <a:pt x="352" y="548"/>
                    <a:pt x="355" y="545"/>
                    <a:pt x="358" y="542"/>
                  </a:cubicBezTo>
                  <a:cubicBezTo>
                    <a:pt x="359" y="541"/>
                    <a:pt x="360" y="539"/>
                    <a:pt x="361" y="538"/>
                  </a:cubicBezTo>
                  <a:cubicBezTo>
                    <a:pt x="360" y="537"/>
                    <a:pt x="358" y="536"/>
                    <a:pt x="357" y="535"/>
                  </a:cubicBezTo>
                  <a:cubicBezTo>
                    <a:pt x="356" y="534"/>
                    <a:pt x="356" y="533"/>
                    <a:pt x="355" y="532"/>
                  </a:cubicBezTo>
                  <a:cubicBezTo>
                    <a:pt x="352" y="536"/>
                    <a:pt x="348" y="541"/>
                    <a:pt x="344" y="544"/>
                  </a:cubicBezTo>
                  <a:cubicBezTo>
                    <a:pt x="337" y="548"/>
                    <a:pt x="329" y="538"/>
                    <a:pt x="335" y="533"/>
                  </a:cubicBezTo>
                  <a:cubicBezTo>
                    <a:pt x="340" y="529"/>
                    <a:pt x="344" y="525"/>
                    <a:pt x="349" y="520"/>
                  </a:cubicBezTo>
                  <a:cubicBezTo>
                    <a:pt x="349" y="520"/>
                    <a:pt x="349" y="520"/>
                    <a:pt x="349" y="519"/>
                  </a:cubicBezTo>
                  <a:cubicBezTo>
                    <a:pt x="351" y="511"/>
                    <a:pt x="356" y="502"/>
                    <a:pt x="363" y="496"/>
                  </a:cubicBezTo>
                  <a:cubicBezTo>
                    <a:pt x="366" y="493"/>
                    <a:pt x="370" y="492"/>
                    <a:pt x="374" y="491"/>
                  </a:cubicBezTo>
                  <a:cubicBezTo>
                    <a:pt x="374" y="489"/>
                    <a:pt x="373" y="488"/>
                    <a:pt x="374" y="487"/>
                  </a:cubicBezTo>
                  <a:cubicBezTo>
                    <a:pt x="371" y="481"/>
                    <a:pt x="373" y="474"/>
                    <a:pt x="378" y="469"/>
                  </a:cubicBezTo>
                  <a:cubicBezTo>
                    <a:pt x="381" y="465"/>
                    <a:pt x="386" y="464"/>
                    <a:pt x="390" y="464"/>
                  </a:cubicBezTo>
                  <a:cubicBezTo>
                    <a:pt x="390" y="463"/>
                    <a:pt x="390" y="463"/>
                    <a:pt x="390" y="462"/>
                  </a:cubicBezTo>
                  <a:cubicBezTo>
                    <a:pt x="391" y="459"/>
                    <a:pt x="391" y="455"/>
                    <a:pt x="391" y="452"/>
                  </a:cubicBezTo>
                  <a:cubicBezTo>
                    <a:pt x="392" y="444"/>
                    <a:pt x="391" y="437"/>
                    <a:pt x="390" y="430"/>
                  </a:cubicBezTo>
                  <a:cubicBezTo>
                    <a:pt x="388" y="415"/>
                    <a:pt x="384" y="401"/>
                    <a:pt x="379" y="387"/>
                  </a:cubicBezTo>
                  <a:cubicBezTo>
                    <a:pt x="374" y="375"/>
                    <a:pt x="368" y="363"/>
                    <a:pt x="360" y="352"/>
                  </a:cubicBezTo>
                  <a:cubicBezTo>
                    <a:pt x="357" y="347"/>
                    <a:pt x="353" y="342"/>
                    <a:pt x="348" y="338"/>
                  </a:cubicBezTo>
                  <a:cubicBezTo>
                    <a:pt x="347" y="337"/>
                    <a:pt x="346" y="336"/>
                    <a:pt x="344" y="335"/>
                  </a:cubicBezTo>
                  <a:cubicBezTo>
                    <a:pt x="344" y="339"/>
                    <a:pt x="344" y="343"/>
                    <a:pt x="343" y="347"/>
                  </a:cubicBezTo>
                  <a:cubicBezTo>
                    <a:pt x="343" y="363"/>
                    <a:pt x="342" y="379"/>
                    <a:pt x="341" y="395"/>
                  </a:cubicBezTo>
                  <a:cubicBezTo>
                    <a:pt x="341" y="403"/>
                    <a:pt x="341" y="411"/>
                    <a:pt x="341" y="418"/>
                  </a:cubicBezTo>
                  <a:cubicBezTo>
                    <a:pt x="341" y="422"/>
                    <a:pt x="341" y="426"/>
                    <a:pt x="341" y="430"/>
                  </a:cubicBezTo>
                  <a:cubicBezTo>
                    <a:pt x="341" y="434"/>
                    <a:pt x="342" y="438"/>
                    <a:pt x="341" y="441"/>
                  </a:cubicBezTo>
                  <a:cubicBezTo>
                    <a:pt x="343" y="447"/>
                    <a:pt x="342" y="453"/>
                    <a:pt x="338" y="457"/>
                  </a:cubicBezTo>
                  <a:cubicBezTo>
                    <a:pt x="331" y="465"/>
                    <a:pt x="319" y="463"/>
                    <a:pt x="309" y="462"/>
                  </a:cubicBezTo>
                  <a:cubicBezTo>
                    <a:pt x="305" y="462"/>
                    <a:pt x="300" y="462"/>
                    <a:pt x="296" y="462"/>
                  </a:cubicBezTo>
                  <a:cubicBezTo>
                    <a:pt x="297" y="468"/>
                    <a:pt x="296" y="475"/>
                    <a:pt x="296" y="481"/>
                  </a:cubicBezTo>
                  <a:cubicBezTo>
                    <a:pt x="296" y="490"/>
                    <a:pt x="296" y="499"/>
                    <a:pt x="296" y="509"/>
                  </a:cubicBezTo>
                  <a:cubicBezTo>
                    <a:pt x="296" y="518"/>
                    <a:pt x="297" y="527"/>
                    <a:pt x="297" y="536"/>
                  </a:cubicBezTo>
                  <a:cubicBezTo>
                    <a:pt x="298" y="543"/>
                    <a:pt x="300" y="550"/>
                    <a:pt x="299" y="557"/>
                  </a:cubicBezTo>
                  <a:cubicBezTo>
                    <a:pt x="301" y="558"/>
                    <a:pt x="304" y="559"/>
                    <a:pt x="305" y="561"/>
                  </a:cubicBezTo>
                  <a:cubicBezTo>
                    <a:pt x="310" y="564"/>
                    <a:pt x="315" y="569"/>
                    <a:pt x="319" y="574"/>
                  </a:cubicBezTo>
                  <a:cubicBezTo>
                    <a:pt x="325" y="583"/>
                    <a:pt x="333" y="600"/>
                    <a:pt x="326" y="611"/>
                  </a:cubicBezTo>
                  <a:cubicBezTo>
                    <a:pt x="321" y="617"/>
                    <a:pt x="312" y="619"/>
                    <a:pt x="303" y="619"/>
                  </a:cubicBezTo>
                  <a:cubicBezTo>
                    <a:pt x="303" y="619"/>
                    <a:pt x="303" y="619"/>
                    <a:pt x="303" y="619"/>
                  </a:cubicBezTo>
                  <a:cubicBezTo>
                    <a:pt x="304" y="623"/>
                    <a:pt x="303" y="628"/>
                    <a:pt x="301" y="632"/>
                  </a:cubicBezTo>
                  <a:cubicBezTo>
                    <a:pt x="298" y="642"/>
                    <a:pt x="290" y="650"/>
                    <a:pt x="280" y="652"/>
                  </a:cubicBezTo>
                  <a:cubicBezTo>
                    <a:pt x="258" y="659"/>
                    <a:pt x="244" y="634"/>
                    <a:pt x="240" y="616"/>
                  </a:cubicBezTo>
                  <a:cubicBezTo>
                    <a:pt x="235" y="617"/>
                    <a:pt x="229" y="613"/>
                    <a:pt x="226" y="609"/>
                  </a:cubicBezTo>
                  <a:cubicBezTo>
                    <a:pt x="222" y="603"/>
                    <a:pt x="224" y="593"/>
                    <a:pt x="225" y="586"/>
                  </a:cubicBezTo>
                  <a:cubicBezTo>
                    <a:pt x="227" y="579"/>
                    <a:pt x="231" y="572"/>
                    <a:pt x="237" y="567"/>
                  </a:cubicBezTo>
                  <a:cubicBezTo>
                    <a:pt x="242" y="562"/>
                    <a:pt x="248" y="559"/>
                    <a:pt x="254" y="556"/>
                  </a:cubicBezTo>
                  <a:cubicBezTo>
                    <a:pt x="253" y="554"/>
                    <a:pt x="253" y="551"/>
                    <a:pt x="253" y="549"/>
                  </a:cubicBezTo>
                  <a:cubicBezTo>
                    <a:pt x="253" y="544"/>
                    <a:pt x="253" y="540"/>
                    <a:pt x="253" y="536"/>
                  </a:cubicBezTo>
                  <a:cubicBezTo>
                    <a:pt x="253" y="527"/>
                    <a:pt x="253" y="518"/>
                    <a:pt x="252" y="509"/>
                  </a:cubicBezTo>
                  <a:cubicBezTo>
                    <a:pt x="252" y="500"/>
                    <a:pt x="251" y="491"/>
                    <a:pt x="251" y="482"/>
                  </a:cubicBezTo>
                  <a:cubicBezTo>
                    <a:pt x="251" y="475"/>
                    <a:pt x="250" y="468"/>
                    <a:pt x="251" y="461"/>
                  </a:cubicBezTo>
                  <a:cubicBezTo>
                    <a:pt x="249" y="461"/>
                    <a:pt x="247" y="461"/>
                    <a:pt x="245" y="461"/>
                  </a:cubicBezTo>
                  <a:cubicBezTo>
                    <a:pt x="240" y="461"/>
                    <a:pt x="234" y="461"/>
                    <a:pt x="229" y="461"/>
                  </a:cubicBezTo>
                  <a:cubicBezTo>
                    <a:pt x="223" y="460"/>
                    <a:pt x="216" y="459"/>
                    <a:pt x="213" y="454"/>
                  </a:cubicBezTo>
                  <a:cubicBezTo>
                    <a:pt x="210" y="451"/>
                    <a:pt x="209" y="448"/>
                    <a:pt x="210" y="445"/>
                  </a:cubicBezTo>
                  <a:cubicBezTo>
                    <a:pt x="209" y="444"/>
                    <a:pt x="209" y="443"/>
                    <a:pt x="210" y="441"/>
                  </a:cubicBezTo>
                  <a:cubicBezTo>
                    <a:pt x="212" y="431"/>
                    <a:pt x="211" y="421"/>
                    <a:pt x="210" y="411"/>
                  </a:cubicBezTo>
                  <a:cubicBezTo>
                    <a:pt x="210" y="400"/>
                    <a:pt x="210" y="389"/>
                    <a:pt x="210" y="378"/>
                  </a:cubicBezTo>
                  <a:cubicBezTo>
                    <a:pt x="210" y="364"/>
                    <a:pt x="210" y="350"/>
                    <a:pt x="210" y="336"/>
                  </a:cubicBezTo>
                  <a:cubicBezTo>
                    <a:pt x="210" y="337"/>
                    <a:pt x="210" y="337"/>
                    <a:pt x="209" y="338"/>
                  </a:cubicBezTo>
                  <a:cubicBezTo>
                    <a:pt x="207" y="344"/>
                    <a:pt x="206" y="351"/>
                    <a:pt x="205" y="358"/>
                  </a:cubicBezTo>
                  <a:cubicBezTo>
                    <a:pt x="204" y="364"/>
                    <a:pt x="203" y="370"/>
                    <a:pt x="201" y="377"/>
                  </a:cubicBezTo>
                  <a:cubicBezTo>
                    <a:pt x="199" y="383"/>
                    <a:pt x="195" y="388"/>
                    <a:pt x="191" y="393"/>
                  </a:cubicBezTo>
                  <a:cubicBezTo>
                    <a:pt x="183" y="404"/>
                    <a:pt x="172" y="411"/>
                    <a:pt x="161" y="417"/>
                  </a:cubicBezTo>
                  <a:cubicBezTo>
                    <a:pt x="154" y="419"/>
                    <a:pt x="148" y="422"/>
                    <a:pt x="141" y="423"/>
                  </a:cubicBezTo>
                  <a:cubicBezTo>
                    <a:pt x="137" y="425"/>
                    <a:pt x="134" y="425"/>
                    <a:pt x="130" y="426"/>
                  </a:cubicBezTo>
                  <a:cubicBezTo>
                    <a:pt x="126" y="427"/>
                    <a:pt x="122" y="428"/>
                    <a:pt x="118" y="427"/>
                  </a:cubicBezTo>
                  <a:cubicBezTo>
                    <a:pt x="118" y="428"/>
                    <a:pt x="118" y="430"/>
                    <a:pt x="117" y="432"/>
                  </a:cubicBezTo>
                  <a:cubicBezTo>
                    <a:pt x="114" y="439"/>
                    <a:pt x="106" y="445"/>
                    <a:pt x="98" y="442"/>
                  </a:cubicBezTo>
                  <a:cubicBezTo>
                    <a:pt x="98" y="442"/>
                    <a:pt x="97" y="441"/>
                    <a:pt x="97" y="441"/>
                  </a:cubicBezTo>
                  <a:cubicBezTo>
                    <a:pt x="95" y="445"/>
                    <a:pt x="92" y="448"/>
                    <a:pt x="89" y="451"/>
                  </a:cubicBezTo>
                  <a:cubicBezTo>
                    <a:pt x="84" y="455"/>
                    <a:pt x="78" y="455"/>
                    <a:pt x="72" y="456"/>
                  </a:cubicBezTo>
                  <a:cubicBezTo>
                    <a:pt x="66" y="457"/>
                    <a:pt x="59" y="459"/>
                    <a:pt x="53" y="459"/>
                  </a:cubicBezTo>
                  <a:cubicBezTo>
                    <a:pt x="51" y="460"/>
                    <a:pt x="49" y="459"/>
                    <a:pt x="48" y="458"/>
                  </a:cubicBezTo>
                  <a:cubicBezTo>
                    <a:pt x="47" y="459"/>
                    <a:pt x="46" y="459"/>
                    <a:pt x="46" y="459"/>
                  </a:cubicBezTo>
                  <a:cubicBezTo>
                    <a:pt x="39" y="461"/>
                    <a:pt x="31" y="465"/>
                    <a:pt x="25" y="463"/>
                  </a:cubicBezTo>
                  <a:cubicBezTo>
                    <a:pt x="18" y="461"/>
                    <a:pt x="19" y="453"/>
                    <a:pt x="25" y="451"/>
                  </a:cubicBezTo>
                  <a:cubicBezTo>
                    <a:pt x="28" y="449"/>
                    <a:pt x="31" y="450"/>
                    <a:pt x="35" y="449"/>
                  </a:cubicBezTo>
                  <a:cubicBezTo>
                    <a:pt x="36" y="449"/>
                    <a:pt x="38" y="448"/>
                    <a:pt x="39" y="448"/>
                  </a:cubicBezTo>
                  <a:cubicBezTo>
                    <a:pt x="39" y="447"/>
                    <a:pt x="38" y="445"/>
                    <a:pt x="38" y="444"/>
                  </a:cubicBezTo>
                  <a:cubicBezTo>
                    <a:pt x="34" y="445"/>
                    <a:pt x="30" y="445"/>
                    <a:pt x="26" y="446"/>
                  </a:cubicBezTo>
                  <a:cubicBezTo>
                    <a:pt x="19" y="448"/>
                    <a:pt x="15" y="438"/>
                    <a:pt x="21" y="435"/>
                  </a:cubicBezTo>
                  <a:cubicBezTo>
                    <a:pt x="25" y="434"/>
                    <a:pt x="29" y="434"/>
                    <a:pt x="33" y="434"/>
                  </a:cubicBezTo>
                  <a:cubicBezTo>
                    <a:pt x="34" y="434"/>
                    <a:pt x="34" y="434"/>
                    <a:pt x="35" y="434"/>
                  </a:cubicBezTo>
                  <a:cubicBezTo>
                    <a:pt x="35" y="432"/>
                    <a:pt x="34" y="429"/>
                    <a:pt x="33" y="427"/>
                  </a:cubicBezTo>
                  <a:cubicBezTo>
                    <a:pt x="33" y="426"/>
                    <a:pt x="33" y="426"/>
                    <a:pt x="32" y="425"/>
                  </a:cubicBezTo>
                  <a:cubicBezTo>
                    <a:pt x="31" y="425"/>
                    <a:pt x="29" y="426"/>
                    <a:pt x="27" y="426"/>
                  </a:cubicBezTo>
                  <a:cubicBezTo>
                    <a:pt x="22" y="427"/>
                    <a:pt x="17" y="430"/>
                    <a:pt x="11" y="427"/>
                  </a:cubicBezTo>
                  <a:cubicBezTo>
                    <a:pt x="8" y="426"/>
                    <a:pt x="8" y="421"/>
                    <a:pt x="10" y="418"/>
                  </a:cubicBezTo>
                  <a:cubicBezTo>
                    <a:pt x="14" y="415"/>
                    <a:pt x="21" y="414"/>
                    <a:pt x="26" y="414"/>
                  </a:cubicBezTo>
                  <a:cubicBezTo>
                    <a:pt x="27" y="414"/>
                    <a:pt x="29" y="413"/>
                    <a:pt x="30" y="413"/>
                  </a:cubicBezTo>
                  <a:cubicBezTo>
                    <a:pt x="30" y="413"/>
                    <a:pt x="30" y="412"/>
                    <a:pt x="30" y="412"/>
                  </a:cubicBezTo>
                  <a:cubicBezTo>
                    <a:pt x="30" y="410"/>
                    <a:pt x="30" y="408"/>
                    <a:pt x="29" y="406"/>
                  </a:cubicBezTo>
                  <a:cubicBezTo>
                    <a:pt x="29" y="406"/>
                    <a:pt x="28" y="406"/>
                    <a:pt x="28" y="407"/>
                  </a:cubicBezTo>
                  <a:cubicBezTo>
                    <a:pt x="25" y="407"/>
                    <a:pt x="22" y="407"/>
                    <a:pt x="20" y="407"/>
                  </a:cubicBezTo>
                  <a:cubicBezTo>
                    <a:pt x="17" y="407"/>
                    <a:pt x="15" y="408"/>
                    <a:pt x="12" y="407"/>
                  </a:cubicBezTo>
                  <a:cubicBezTo>
                    <a:pt x="8" y="407"/>
                    <a:pt x="7" y="402"/>
                    <a:pt x="9" y="398"/>
                  </a:cubicBezTo>
                  <a:cubicBezTo>
                    <a:pt x="10" y="395"/>
                    <a:pt x="14" y="394"/>
                    <a:pt x="18" y="394"/>
                  </a:cubicBezTo>
                  <a:cubicBezTo>
                    <a:pt x="20" y="394"/>
                    <a:pt x="21" y="394"/>
                    <a:pt x="23" y="395"/>
                  </a:cubicBezTo>
                  <a:cubicBezTo>
                    <a:pt x="23" y="395"/>
                    <a:pt x="24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6" y="395"/>
                    <a:pt x="27" y="395"/>
                    <a:pt x="28" y="394"/>
                  </a:cubicBezTo>
                  <a:cubicBezTo>
                    <a:pt x="27" y="392"/>
                    <a:pt x="27" y="390"/>
                    <a:pt x="27" y="388"/>
                  </a:cubicBezTo>
                  <a:cubicBezTo>
                    <a:pt x="21" y="390"/>
                    <a:pt x="15" y="391"/>
                    <a:pt x="9" y="391"/>
                  </a:cubicBezTo>
                  <a:cubicBezTo>
                    <a:pt x="0" y="391"/>
                    <a:pt x="0" y="380"/>
                    <a:pt x="7" y="378"/>
                  </a:cubicBezTo>
                  <a:close/>
                  <a:moveTo>
                    <a:pt x="112" y="141"/>
                  </a:moveTo>
                  <a:cubicBezTo>
                    <a:pt x="112" y="141"/>
                    <a:pt x="112" y="141"/>
                    <a:pt x="112" y="141"/>
                  </a:cubicBezTo>
                  <a:cubicBezTo>
                    <a:pt x="112" y="143"/>
                    <a:pt x="114" y="146"/>
                    <a:pt x="116" y="147"/>
                  </a:cubicBezTo>
                  <a:cubicBezTo>
                    <a:pt x="119" y="149"/>
                    <a:pt x="121" y="149"/>
                    <a:pt x="124" y="147"/>
                  </a:cubicBezTo>
                  <a:cubicBezTo>
                    <a:pt x="126" y="146"/>
                    <a:pt x="128" y="144"/>
                    <a:pt x="128" y="141"/>
                  </a:cubicBezTo>
                  <a:cubicBezTo>
                    <a:pt x="128" y="139"/>
                    <a:pt x="127" y="138"/>
                    <a:pt x="126" y="136"/>
                  </a:cubicBezTo>
                  <a:cubicBezTo>
                    <a:pt x="122" y="137"/>
                    <a:pt x="119" y="136"/>
                    <a:pt x="115" y="137"/>
                  </a:cubicBezTo>
                  <a:cubicBezTo>
                    <a:pt x="114" y="137"/>
                    <a:pt x="112" y="139"/>
                    <a:pt x="112" y="141"/>
                  </a:cubicBezTo>
                  <a:close/>
                  <a:moveTo>
                    <a:pt x="141" y="133"/>
                  </a:moveTo>
                  <a:cubicBezTo>
                    <a:pt x="141" y="133"/>
                    <a:pt x="141" y="133"/>
                    <a:pt x="141" y="133"/>
                  </a:cubicBezTo>
                  <a:cubicBezTo>
                    <a:pt x="141" y="133"/>
                    <a:pt x="141" y="133"/>
                    <a:pt x="141" y="133"/>
                  </a:cubicBezTo>
                  <a:cubicBezTo>
                    <a:pt x="141" y="133"/>
                    <a:pt x="141" y="133"/>
                    <a:pt x="141" y="133"/>
                  </a:cubicBezTo>
                  <a:cubicBezTo>
                    <a:pt x="141" y="133"/>
                    <a:pt x="141" y="133"/>
                    <a:pt x="141" y="133"/>
                  </a:cubicBezTo>
                  <a:close/>
                  <a:moveTo>
                    <a:pt x="440" y="145"/>
                  </a:moveTo>
                  <a:cubicBezTo>
                    <a:pt x="440" y="145"/>
                    <a:pt x="440" y="145"/>
                    <a:pt x="440" y="145"/>
                  </a:cubicBezTo>
                  <a:cubicBezTo>
                    <a:pt x="439" y="144"/>
                    <a:pt x="441" y="146"/>
                    <a:pt x="442" y="146"/>
                  </a:cubicBezTo>
                  <a:cubicBezTo>
                    <a:pt x="444" y="147"/>
                    <a:pt x="443" y="147"/>
                    <a:pt x="446" y="148"/>
                  </a:cubicBezTo>
                  <a:cubicBezTo>
                    <a:pt x="447" y="148"/>
                    <a:pt x="448" y="148"/>
                    <a:pt x="448" y="148"/>
                  </a:cubicBezTo>
                  <a:cubicBezTo>
                    <a:pt x="449" y="148"/>
                    <a:pt x="449" y="149"/>
                    <a:pt x="449" y="149"/>
                  </a:cubicBezTo>
                  <a:cubicBezTo>
                    <a:pt x="449" y="149"/>
                    <a:pt x="450" y="149"/>
                    <a:pt x="450" y="149"/>
                  </a:cubicBezTo>
                  <a:cubicBezTo>
                    <a:pt x="451" y="149"/>
                    <a:pt x="452" y="149"/>
                    <a:pt x="453" y="149"/>
                  </a:cubicBezTo>
                  <a:cubicBezTo>
                    <a:pt x="454" y="149"/>
                    <a:pt x="454" y="149"/>
                    <a:pt x="454" y="149"/>
                  </a:cubicBezTo>
                  <a:cubicBezTo>
                    <a:pt x="454" y="149"/>
                    <a:pt x="455" y="148"/>
                    <a:pt x="455" y="148"/>
                  </a:cubicBezTo>
                  <a:cubicBezTo>
                    <a:pt x="458" y="148"/>
                    <a:pt x="461" y="147"/>
                    <a:pt x="462" y="145"/>
                  </a:cubicBezTo>
                  <a:cubicBezTo>
                    <a:pt x="463" y="141"/>
                    <a:pt x="460" y="138"/>
                    <a:pt x="458" y="135"/>
                  </a:cubicBezTo>
                  <a:cubicBezTo>
                    <a:pt x="458" y="135"/>
                    <a:pt x="458" y="135"/>
                    <a:pt x="458" y="134"/>
                  </a:cubicBezTo>
                  <a:cubicBezTo>
                    <a:pt x="454" y="134"/>
                    <a:pt x="450" y="132"/>
                    <a:pt x="446" y="133"/>
                  </a:cubicBezTo>
                  <a:cubicBezTo>
                    <a:pt x="444" y="134"/>
                    <a:pt x="442" y="135"/>
                    <a:pt x="441" y="137"/>
                  </a:cubicBezTo>
                  <a:cubicBezTo>
                    <a:pt x="440" y="138"/>
                    <a:pt x="439" y="138"/>
                    <a:pt x="439" y="139"/>
                  </a:cubicBezTo>
                  <a:cubicBezTo>
                    <a:pt x="439" y="139"/>
                    <a:pt x="439" y="139"/>
                    <a:pt x="439" y="139"/>
                  </a:cubicBezTo>
                  <a:cubicBezTo>
                    <a:pt x="439" y="141"/>
                    <a:pt x="439" y="142"/>
                    <a:pt x="439" y="144"/>
                  </a:cubicBezTo>
                  <a:cubicBezTo>
                    <a:pt x="439" y="144"/>
                    <a:pt x="439" y="144"/>
                    <a:pt x="439" y="144"/>
                  </a:cubicBezTo>
                  <a:cubicBezTo>
                    <a:pt x="439" y="144"/>
                    <a:pt x="440" y="145"/>
                    <a:pt x="440" y="145"/>
                  </a:cubicBezTo>
                  <a:close/>
                  <a:moveTo>
                    <a:pt x="197" y="285"/>
                  </a:moveTo>
                  <a:cubicBezTo>
                    <a:pt x="197" y="285"/>
                    <a:pt x="197" y="285"/>
                    <a:pt x="197" y="285"/>
                  </a:cubicBezTo>
                  <a:cubicBezTo>
                    <a:pt x="197" y="285"/>
                    <a:pt x="197" y="285"/>
                    <a:pt x="197" y="285"/>
                  </a:cubicBezTo>
                  <a:cubicBezTo>
                    <a:pt x="200" y="287"/>
                    <a:pt x="203" y="289"/>
                    <a:pt x="205" y="292"/>
                  </a:cubicBezTo>
                  <a:cubicBezTo>
                    <a:pt x="207" y="294"/>
                    <a:pt x="209" y="297"/>
                    <a:pt x="210" y="299"/>
                  </a:cubicBezTo>
                  <a:cubicBezTo>
                    <a:pt x="210" y="293"/>
                    <a:pt x="211" y="287"/>
                    <a:pt x="213" y="280"/>
                  </a:cubicBezTo>
                  <a:cubicBezTo>
                    <a:pt x="213" y="278"/>
                    <a:pt x="214" y="276"/>
                    <a:pt x="215" y="274"/>
                  </a:cubicBezTo>
                  <a:cubicBezTo>
                    <a:pt x="209" y="276"/>
                    <a:pt x="204" y="280"/>
                    <a:pt x="199" y="283"/>
                  </a:cubicBezTo>
                  <a:cubicBezTo>
                    <a:pt x="198" y="283"/>
                    <a:pt x="198" y="284"/>
                    <a:pt x="197" y="285"/>
                  </a:cubicBezTo>
                  <a:close/>
                  <a:moveTo>
                    <a:pt x="333" y="307"/>
                  </a:moveTo>
                  <a:cubicBezTo>
                    <a:pt x="333" y="307"/>
                    <a:pt x="333" y="307"/>
                    <a:pt x="333" y="307"/>
                  </a:cubicBezTo>
                  <a:cubicBezTo>
                    <a:pt x="334" y="299"/>
                    <a:pt x="334" y="292"/>
                    <a:pt x="334" y="284"/>
                  </a:cubicBezTo>
                  <a:cubicBezTo>
                    <a:pt x="334" y="284"/>
                    <a:pt x="333" y="284"/>
                    <a:pt x="333" y="283"/>
                  </a:cubicBezTo>
                  <a:cubicBezTo>
                    <a:pt x="331" y="281"/>
                    <a:pt x="331" y="278"/>
                    <a:pt x="329" y="276"/>
                  </a:cubicBezTo>
                  <a:cubicBezTo>
                    <a:pt x="329" y="277"/>
                    <a:pt x="328" y="278"/>
                    <a:pt x="328" y="279"/>
                  </a:cubicBezTo>
                  <a:cubicBezTo>
                    <a:pt x="327" y="283"/>
                    <a:pt x="326" y="287"/>
                    <a:pt x="326" y="291"/>
                  </a:cubicBezTo>
                  <a:cubicBezTo>
                    <a:pt x="325" y="300"/>
                    <a:pt x="326" y="310"/>
                    <a:pt x="332" y="317"/>
                  </a:cubicBezTo>
                  <a:cubicBezTo>
                    <a:pt x="332" y="314"/>
                    <a:pt x="332" y="310"/>
                    <a:pt x="333" y="307"/>
                  </a:cubicBezTo>
                  <a:close/>
                  <a:moveTo>
                    <a:pt x="326" y="398"/>
                  </a:moveTo>
                  <a:cubicBezTo>
                    <a:pt x="326" y="398"/>
                    <a:pt x="326" y="398"/>
                    <a:pt x="326" y="398"/>
                  </a:cubicBezTo>
                  <a:cubicBezTo>
                    <a:pt x="327" y="382"/>
                    <a:pt x="328" y="366"/>
                    <a:pt x="329" y="350"/>
                  </a:cubicBezTo>
                  <a:cubicBezTo>
                    <a:pt x="330" y="342"/>
                    <a:pt x="330" y="335"/>
                    <a:pt x="331" y="328"/>
                  </a:cubicBezTo>
                  <a:cubicBezTo>
                    <a:pt x="319" y="318"/>
                    <a:pt x="317" y="303"/>
                    <a:pt x="319" y="289"/>
                  </a:cubicBezTo>
                  <a:cubicBezTo>
                    <a:pt x="319" y="286"/>
                    <a:pt x="321" y="277"/>
                    <a:pt x="324" y="272"/>
                  </a:cubicBezTo>
                  <a:cubicBezTo>
                    <a:pt x="322" y="272"/>
                    <a:pt x="320" y="272"/>
                    <a:pt x="318" y="271"/>
                  </a:cubicBezTo>
                  <a:cubicBezTo>
                    <a:pt x="316" y="271"/>
                    <a:pt x="315" y="271"/>
                    <a:pt x="313" y="271"/>
                  </a:cubicBezTo>
                  <a:cubicBezTo>
                    <a:pt x="310" y="274"/>
                    <a:pt x="306" y="276"/>
                    <a:pt x="303" y="277"/>
                  </a:cubicBezTo>
                  <a:cubicBezTo>
                    <a:pt x="294" y="281"/>
                    <a:pt x="285" y="283"/>
                    <a:pt x="275" y="285"/>
                  </a:cubicBezTo>
                  <a:cubicBezTo>
                    <a:pt x="267" y="286"/>
                    <a:pt x="260" y="282"/>
                    <a:pt x="254" y="276"/>
                  </a:cubicBezTo>
                  <a:cubicBezTo>
                    <a:pt x="252" y="275"/>
                    <a:pt x="249" y="272"/>
                    <a:pt x="247" y="269"/>
                  </a:cubicBezTo>
                  <a:cubicBezTo>
                    <a:pt x="243" y="269"/>
                    <a:pt x="240" y="269"/>
                    <a:pt x="236" y="270"/>
                  </a:cubicBezTo>
                  <a:cubicBezTo>
                    <a:pt x="236" y="270"/>
                    <a:pt x="236" y="270"/>
                    <a:pt x="236" y="270"/>
                  </a:cubicBezTo>
                  <a:cubicBezTo>
                    <a:pt x="237" y="274"/>
                    <a:pt x="237" y="280"/>
                    <a:pt x="237" y="285"/>
                  </a:cubicBezTo>
                  <a:cubicBezTo>
                    <a:pt x="237" y="290"/>
                    <a:pt x="235" y="295"/>
                    <a:pt x="233" y="300"/>
                  </a:cubicBezTo>
                  <a:cubicBezTo>
                    <a:pt x="233" y="301"/>
                    <a:pt x="233" y="302"/>
                    <a:pt x="232" y="303"/>
                  </a:cubicBezTo>
                  <a:cubicBezTo>
                    <a:pt x="236" y="300"/>
                    <a:pt x="241" y="300"/>
                    <a:pt x="246" y="300"/>
                  </a:cubicBezTo>
                  <a:cubicBezTo>
                    <a:pt x="252" y="301"/>
                    <a:pt x="258" y="301"/>
                    <a:pt x="263" y="305"/>
                  </a:cubicBezTo>
                  <a:cubicBezTo>
                    <a:pt x="264" y="305"/>
                    <a:pt x="264" y="305"/>
                    <a:pt x="265" y="305"/>
                  </a:cubicBezTo>
                  <a:cubicBezTo>
                    <a:pt x="267" y="308"/>
                    <a:pt x="267" y="312"/>
                    <a:pt x="267" y="316"/>
                  </a:cubicBezTo>
                  <a:cubicBezTo>
                    <a:pt x="267" y="320"/>
                    <a:pt x="266" y="325"/>
                    <a:pt x="266" y="329"/>
                  </a:cubicBezTo>
                  <a:cubicBezTo>
                    <a:pt x="266" y="333"/>
                    <a:pt x="266" y="338"/>
                    <a:pt x="266" y="342"/>
                  </a:cubicBezTo>
                  <a:cubicBezTo>
                    <a:pt x="265" y="345"/>
                    <a:pt x="266" y="350"/>
                    <a:pt x="262" y="350"/>
                  </a:cubicBezTo>
                  <a:cubicBezTo>
                    <a:pt x="262" y="351"/>
                    <a:pt x="262" y="351"/>
                    <a:pt x="261" y="351"/>
                  </a:cubicBezTo>
                  <a:cubicBezTo>
                    <a:pt x="257" y="353"/>
                    <a:pt x="251" y="352"/>
                    <a:pt x="246" y="351"/>
                  </a:cubicBezTo>
                  <a:cubicBezTo>
                    <a:pt x="243" y="351"/>
                    <a:pt x="240" y="351"/>
                    <a:pt x="238" y="351"/>
                  </a:cubicBezTo>
                  <a:cubicBezTo>
                    <a:pt x="235" y="351"/>
                    <a:pt x="232" y="351"/>
                    <a:pt x="230" y="350"/>
                  </a:cubicBezTo>
                  <a:cubicBezTo>
                    <a:pt x="228" y="349"/>
                    <a:pt x="227" y="347"/>
                    <a:pt x="228" y="346"/>
                  </a:cubicBezTo>
                  <a:cubicBezTo>
                    <a:pt x="227" y="343"/>
                    <a:pt x="227" y="340"/>
                    <a:pt x="227" y="338"/>
                  </a:cubicBezTo>
                  <a:cubicBezTo>
                    <a:pt x="227" y="333"/>
                    <a:pt x="227" y="329"/>
                    <a:pt x="227" y="325"/>
                  </a:cubicBezTo>
                  <a:cubicBezTo>
                    <a:pt x="227" y="320"/>
                    <a:pt x="227" y="316"/>
                    <a:pt x="228" y="311"/>
                  </a:cubicBezTo>
                  <a:cubicBezTo>
                    <a:pt x="228" y="312"/>
                    <a:pt x="228" y="312"/>
                    <a:pt x="227" y="313"/>
                  </a:cubicBezTo>
                  <a:cubicBezTo>
                    <a:pt x="227" y="313"/>
                    <a:pt x="226" y="314"/>
                    <a:pt x="225" y="315"/>
                  </a:cubicBezTo>
                  <a:cubicBezTo>
                    <a:pt x="225" y="317"/>
                    <a:pt x="225" y="319"/>
                    <a:pt x="225" y="321"/>
                  </a:cubicBezTo>
                  <a:cubicBezTo>
                    <a:pt x="225" y="342"/>
                    <a:pt x="226" y="363"/>
                    <a:pt x="225" y="384"/>
                  </a:cubicBezTo>
                  <a:cubicBezTo>
                    <a:pt x="225" y="394"/>
                    <a:pt x="225" y="404"/>
                    <a:pt x="226" y="414"/>
                  </a:cubicBezTo>
                  <a:cubicBezTo>
                    <a:pt x="226" y="420"/>
                    <a:pt x="226" y="426"/>
                    <a:pt x="226" y="432"/>
                  </a:cubicBezTo>
                  <a:cubicBezTo>
                    <a:pt x="230" y="431"/>
                    <a:pt x="235" y="433"/>
                    <a:pt x="239" y="433"/>
                  </a:cubicBezTo>
                  <a:cubicBezTo>
                    <a:pt x="243" y="433"/>
                    <a:pt x="248" y="434"/>
                    <a:pt x="253" y="434"/>
                  </a:cubicBezTo>
                  <a:cubicBezTo>
                    <a:pt x="263" y="435"/>
                    <a:pt x="272" y="434"/>
                    <a:pt x="282" y="434"/>
                  </a:cubicBezTo>
                  <a:cubicBezTo>
                    <a:pt x="292" y="433"/>
                    <a:pt x="302" y="432"/>
                    <a:pt x="312" y="432"/>
                  </a:cubicBezTo>
                  <a:cubicBezTo>
                    <a:pt x="316" y="432"/>
                    <a:pt x="321" y="432"/>
                    <a:pt x="326" y="432"/>
                  </a:cubicBezTo>
                  <a:cubicBezTo>
                    <a:pt x="326" y="429"/>
                    <a:pt x="326" y="425"/>
                    <a:pt x="326" y="421"/>
                  </a:cubicBezTo>
                  <a:cubicBezTo>
                    <a:pt x="326" y="414"/>
                    <a:pt x="326" y="406"/>
                    <a:pt x="326" y="398"/>
                  </a:cubicBezTo>
                  <a:close/>
                  <a:moveTo>
                    <a:pt x="283" y="270"/>
                  </a:moveTo>
                  <a:cubicBezTo>
                    <a:pt x="283" y="270"/>
                    <a:pt x="283" y="270"/>
                    <a:pt x="283" y="270"/>
                  </a:cubicBezTo>
                  <a:cubicBezTo>
                    <a:pt x="274" y="270"/>
                    <a:pt x="265" y="270"/>
                    <a:pt x="256" y="270"/>
                  </a:cubicBezTo>
                  <a:cubicBezTo>
                    <a:pt x="257" y="271"/>
                    <a:pt x="258" y="271"/>
                    <a:pt x="258" y="272"/>
                  </a:cubicBezTo>
                  <a:cubicBezTo>
                    <a:pt x="263" y="276"/>
                    <a:pt x="269" y="279"/>
                    <a:pt x="275" y="278"/>
                  </a:cubicBezTo>
                  <a:cubicBezTo>
                    <a:pt x="283" y="278"/>
                    <a:pt x="291" y="276"/>
                    <a:pt x="298" y="273"/>
                  </a:cubicBezTo>
                  <a:cubicBezTo>
                    <a:pt x="300" y="272"/>
                    <a:pt x="301" y="271"/>
                    <a:pt x="303" y="271"/>
                  </a:cubicBezTo>
                  <a:cubicBezTo>
                    <a:pt x="296" y="270"/>
                    <a:pt x="290" y="270"/>
                    <a:pt x="283" y="270"/>
                  </a:cubicBezTo>
                  <a:close/>
                  <a:moveTo>
                    <a:pt x="258" y="344"/>
                  </a:moveTo>
                  <a:cubicBezTo>
                    <a:pt x="258" y="344"/>
                    <a:pt x="258" y="344"/>
                    <a:pt x="258" y="344"/>
                  </a:cubicBezTo>
                  <a:cubicBezTo>
                    <a:pt x="258" y="339"/>
                    <a:pt x="258" y="335"/>
                    <a:pt x="259" y="330"/>
                  </a:cubicBezTo>
                  <a:cubicBezTo>
                    <a:pt x="259" y="326"/>
                    <a:pt x="259" y="322"/>
                    <a:pt x="259" y="317"/>
                  </a:cubicBezTo>
                  <a:cubicBezTo>
                    <a:pt x="260" y="314"/>
                    <a:pt x="259" y="311"/>
                    <a:pt x="260" y="309"/>
                  </a:cubicBezTo>
                  <a:cubicBezTo>
                    <a:pt x="256" y="307"/>
                    <a:pt x="251" y="308"/>
                    <a:pt x="246" y="308"/>
                  </a:cubicBezTo>
                  <a:cubicBezTo>
                    <a:pt x="244" y="307"/>
                    <a:pt x="241" y="307"/>
                    <a:pt x="239" y="308"/>
                  </a:cubicBezTo>
                  <a:cubicBezTo>
                    <a:pt x="237" y="309"/>
                    <a:pt x="237" y="312"/>
                    <a:pt x="237" y="314"/>
                  </a:cubicBezTo>
                  <a:cubicBezTo>
                    <a:pt x="236" y="318"/>
                    <a:pt x="236" y="323"/>
                    <a:pt x="236" y="327"/>
                  </a:cubicBezTo>
                  <a:cubicBezTo>
                    <a:pt x="235" y="331"/>
                    <a:pt x="236" y="335"/>
                    <a:pt x="236" y="339"/>
                  </a:cubicBezTo>
                  <a:cubicBezTo>
                    <a:pt x="236" y="340"/>
                    <a:pt x="236" y="342"/>
                    <a:pt x="236" y="343"/>
                  </a:cubicBezTo>
                  <a:cubicBezTo>
                    <a:pt x="237" y="343"/>
                    <a:pt x="237" y="343"/>
                    <a:pt x="238" y="343"/>
                  </a:cubicBezTo>
                  <a:cubicBezTo>
                    <a:pt x="241" y="343"/>
                    <a:pt x="244" y="343"/>
                    <a:pt x="247" y="344"/>
                  </a:cubicBezTo>
                  <a:cubicBezTo>
                    <a:pt x="251" y="344"/>
                    <a:pt x="255" y="344"/>
                    <a:pt x="258" y="346"/>
                  </a:cubicBezTo>
                  <a:cubicBezTo>
                    <a:pt x="258" y="345"/>
                    <a:pt x="258" y="344"/>
                    <a:pt x="258" y="344"/>
                  </a:cubicBezTo>
                  <a:close/>
                  <a:moveTo>
                    <a:pt x="230" y="274"/>
                  </a:moveTo>
                  <a:cubicBezTo>
                    <a:pt x="230" y="274"/>
                    <a:pt x="230" y="274"/>
                    <a:pt x="230" y="274"/>
                  </a:cubicBezTo>
                  <a:cubicBezTo>
                    <a:pt x="229" y="275"/>
                    <a:pt x="229" y="275"/>
                    <a:pt x="229" y="275"/>
                  </a:cubicBezTo>
                  <a:cubicBezTo>
                    <a:pt x="228" y="277"/>
                    <a:pt x="227" y="280"/>
                    <a:pt x="227" y="282"/>
                  </a:cubicBezTo>
                  <a:cubicBezTo>
                    <a:pt x="227" y="282"/>
                    <a:pt x="227" y="283"/>
                    <a:pt x="227" y="283"/>
                  </a:cubicBezTo>
                  <a:cubicBezTo>
                    <a:pt x="227" y="283"/>
                    <a:pt x="227" y="285"/>
                    <a:pt x="227" y="285"/>
                  </a:cubicBezTo>
                  <a:cubicBezTo>
                    <a:pt x="226" y="286"/>
                    <a:pt x="226" y="288"/>
                    <a:pt x="226" y="289"/>
                  </a:cubicBezTo>
                  <a:cubicBezTo>
                    <a:pt x="226" y="293"/>
                    <a:pt x="226" y="297"/>
                    <a:pt x="225" y="301"/>
                  </a:cubicBezTo>
                  <a:cubicBezTo>
                    <a:pt x="225" y="300"/>
                    <a:pt x="225" y="300"/>
                    <a:pt x="225" y="300"/>
                  </a:cubicBezTo>
                  <a:cubicBezTo>
                    <a:pt x="227" y="296"/>
                    <a:pt x="229" y="290"/>
                    <a:pt x="230" y="285"/>
                  </a:cubicBezTo>
                  <a:cubicBezTo>
                    <a:pt x="230" y="281"/>
                    <a:pt x="230" y="278"/>
                    <a:pt x="230" y="274"/>
                  </a:cubicBezTo>
                  <a:close/>
                  <a:moveTo>
                    <a:pt x="352" y="43"/>
                  </a:moveTo>
                  <a:cubicBezTo>
                    <a:pt x="352" y="43"/>
                    <a:pt x="352" y="43"/>
                    <a:pt x="352" y="43"/>
                  </a:cubicBezTo>
                  <a:cubicBezTo>
                    <a:pt x="354" y="48"/>
                    <a:pt x="355" y="54"/>
                    <a:pt x="356" y="59"/>
                  </a:cubicBezTo>
                  <a:cubicBezTo>
                    <a:pt x="357" y="57"/>
                    <a:pt x="359" y="56"/>
                    <a:pt x="360" y="56"/>
                  </a:cubicBezTo>
                  <a:cubicBezTo>
                    <a:pt x="361" y="56"/>
                    <a:pt x="362" y="56"/>
                    <a:pt x="362" y="57"/>
                  </a:cubicBezTo>
                  <a:cubicBezTo>
                    <a:pt x="362" y="55"/>
                    <a:pt x="361" y="53"/>
                    <a:pt x="360" y="51"/>
                  </a:cubicBezTo>
                  <a:cubicBezTo>
                    <a:pt x="357" y="48"/>
                    <a:pt x="355" y="45"/>
                    <a:pt x="352" y="43"/>
                  </a:cubicBezTo>
                  <a:close/>
                  <a:moveTo>
                    <a:pt x="370" y="69"/>
                  </a:moveTo>
                  <a:cubicBezTo>
                    <a:pt x="370" y="69"/>
                    <a:pt x="370" y="69"/>
                    <a:pt x="370" y="69"/>
                  </a:cubicBezTo>
                  <a:cubicBezTo>
                    <a:pt x="368" y="67"/>
                    <a:pt x="366" y="64"/>
                    <a:pt x="365" y="61"/>
                  </a:cubicBezTo>
                  <a:cubicBezTo>
                    <a:pt x="365" y="63"/>
                    <a:pt x="363" y="65"/>
                    <a:pt x="360" y="65"/>
                  </a:cubicBezTo>
                  <a:cubicBezTo>
                    <a:pt x="359" y="65"/>
                    <a:pt x="358" y="64"/>
                    <a:pt x="357" y="63"/>
                  </a:cubicBezTo>
                  <a:cubicBezTo>
                    <a:pt x="357" y="64"/>
                    <a:pt x="358" y="66"/>
                    <a:pt x="358" y="67"/>
                  </a:cubicBezTo>
                  <a:cubicBezTo>
                    <a:pt x="361" y="85"/>
                    <a:pt x="363" y="104"/>
                    <a:pt x="364" y="122"/>
                  </a:cubicBezTo>
                  <a:cubicBezTo>
                    <a:pt x="364" y="127"/>
                    <a:pt x="364" y="131"/>
                    <a:pt x="364" y="135"/>
                  </a:cubicBezTo>
                  <a:cubicBezTo>
                    <a:pt x="367" y="134"/>
                    <a:pt x="371" y="134"/>
                    <a:pt x="374" y="134"/>
                  </a:cubicBezTo>
                  <a:cubicBezTo>
                    <a:pt x="378" y="134"/>
                    <a:pt x="382" y="134"/>
                    <a:pt x="385" y="134"/>
                  </a:cubicBezTo>
                  <a:cubicBezTo>
                    <a:pt x="384" y="118"/>
                    <a:pt x="384" y="103"/>
                    <a:pt x="380" y="88"/>
                  </a:cubicBezTo>
                  <a:cubicBezTo>
                    <a:pt x="377" y="82"/>
                    <a:pt x="374" y="75"/>
                    <a:pt x="370" y="69"/>
                  </a:cubicBezTo>
                  <a:close/>
                  <a:moveTo>
                    <a:pt x="385" y="232"/>
                  </a:moveTo>
                  <a:cubicBezTo>
                    <a:pt x="385" y="232"/>
                    <a:pt x="385" y="232"/>
                    <a:pt x="385" y="232"/>
                  </a:cubicBezTo>
                  <a:cubicBezTo>
                    <a:pt x="386" y="231"/>
                    <a:pt x="387" y="230"/>
                    <a:pt x="388" y="229"/>
                  </a:cubicBezTo>
                  <a:cubicBezTo>
                    <a:pt x="388" y="229"/>
                    <a:pt x="389" y="228"/>
                    <a:pt x="389" y="228"/>
                  </a:cubicBezTo>
                  <a:cubicBezTo>
                    <a:pt x="389" y="223"/>
                    <a:pt x="389" y="219"/>
                    <a:pt x="389" y="215"/>
                  </a:cubicBezTo>
                  <a:cubicBezTo>
                    <a:pt x="389" y="207"/>
                    <a:pt x="389" y="198"/>
                    <a:pt x="389" y="190"/>
                  </a:cubicBezTo>
                  <a:cubicBezTo>
                    <a:pt x="389" y="176"/>
                    <a:pt x="388" y="162"/>
                    <a:pt x="387" y="149"/>
                  </a:cubicBezTo>
                  <a:cubicBezTo>
                    <a:pt x="383" y="149"/>
                    <a:pt x="380" y="149"/>
                    <a:pt x="376" y="149"/>
                  </a:cubicBezTo>
                  <a:cubicBezTo>
                    <a:pt x="373" y="149"/>
                    <a:pt x="370" y="149"/>
                    <a:pt x="367" y="148"/>
                  </a:cubicBezTo>
                  <a:cubicBezTo>
                    <a:pt x="366" y="148"/>
                    <a:pt x="365" y="148"/>
                    <a:pt x="364" y="148"/>
                  </a:cubicBezTo>
                  <a:cubicBezTo>
                    <a:pt x="364" y="158"/>
                    <a:pt x="364" y="168"/>
                    <a:pt x="364" y="178"/>
                  </a:cubicBezTo>
                  <a:cubicBezTo>
                    <a:pt x="364" y="187"/>
                    <a:pt x="364" y="197"/>
                    <a:pt x="364" y="206"/>
                  </a:cubicBezTo>
                  <a:cubicBezTo>
                    <a:pt x="364" y="211"/>
                    <a:pt x="364" y="215"/>
                    <a:pt x="364" y="220"/>
                  </a:cubicBezTo>
                  <a:cubicBezTo>
                    <a:pt x="364" y="224"/>
                    <a:pt x="364" y="228"/>
                    <a:pt x="363" y="232"/>
                  </a:cubicBezTo>
                  <a:cubicBezTo>
                    <a:pt x="371" y="232"/>
                    <a:pt x="378" y="232"/>
                    <a:pt x="385" y="232"/>
                  </a:cubicBezTo>
                  <a:close/>
                  <a:moveTo>
                    <a:pt x="337" y="232"/>
                  </a:moveTo>
                  <a:cubicBezTo>
                    <a:pt x="337" y="232"/>
                    <a:pt x="337" y="232"/>
                    <a:pt x="337" y="232"/>
                  </a:cubicBezTo>
                  <a:cubicBezTo>
                    <a:pt x="343" y="232"/>
                    <a:pt x="350" y="232"/>
                    <a:pt x="356" y="232"/>
                  </a:cubicBezTo>
                  <a:cubicBezTo>
                    <a:pt x="355" y="224"/>
                    <a:pt x="356" y="216"/>
                    <a:pt x="356" y="208"/>
                  </a:cubicBezTo>
                  <a:cubicBezTo>
                    <a:pt x="356" y="199"/>
                    <a:pt x="356" y="190"/>
                    <a:pt x="356" y="181"/>
                  </a:cubicBezTo>
                  <a:cubicBezTo>
                    <a:pt x="356" y="168"/>
                    <a:pt x="356" y="156"/>
                    <a:pt x="357" y="144"/>
                  </a:cubicBezTo>
                  <a:cubicBezTo>
                    <a:pt x="355" y="143"/>
                    <a:pt x="355" y="140"/>
                    <a:pt x="357" y="139"/>
                  </a:cubicBezTo>
                  <a:cubicBezTo>
                    <a:pt x="357" y="134"/>
                    <a:pt x="357" y="130"/>
                    <a:pt x="357" y="125"/>
                  </a:cubicBezTo>
                  <a:cubicBezTo>
                    <a:pt x="357" y="107"/>
                    <a:pt x="355" y="89"/>
                    <a:pt x="352" y="71"/>
                  </a:cubicBezTo>
                  <a:cubicBezTo>
                    <a:pt x="351" y="63"/>
                    <a:pt x="350" y="55"/>
                    <a:pt x="347" y="47"/>
                  </a:cubicBezTo>
                  <a:cubicBezTo>
                    <a:pt x="346" y="43"/>
                    <a:pt x="344" y="39"/>
                    <a:pt x="342" y="35"/>
                  </a:cubicBezTo>
                  <a:cubicBezTo>
                    <a:pt x="342" y="35"/>
                    <a:pt x="342" y="35"/>
                    <a:pt x="342" y="35"/>
                  </a:cubicBezTo>
                  <a:cubicBezTo>
                    <a:pt x="337" y="32"/>
                    <a:pt x="332" y="29"/>
                    <a:pt x="327" y="27"/>
                  </a:cubicBezTo>
                  <a:cubicBezTo>
                    <a:pt x="311" y="20"/>
                    <a:pt x="293" y="17"/>
                    <a:pt x="276" y="18"/>
                  </a:cubicBezTo>
                  <a:cubicBezTo>
                    <a:pt x="244" y="20"/>
                    <a:pt x="212" y="36"/>
                    <a:pt x="193" y="62"/>
                  </a:cubicBezTo>
                  <a:cubicBezTo>
                    <a:pt x="177" y="84"/>
                    <a:pt x="171" y="111"/>
                    <a:pt x="170" y="138"/>
                  </a:cubicBezTo>
                  <a:cubicBezTo>
                    <a:pt x="169" y="153"/>
                    <a:pt x="169" y="168"/>
                    <a:pt x="169" y="183"/>
                  </a:cubicBezTo>
                  <a:cubicBezTo>
                    <a:pt x="169" y="198"/>
                    <a:pt x="170" y="212"/>
                    <a:pt x="168" y="226"/>
                  </a:cubicBezTo>
                  <a:cubicBezTo>
                    <a:pt x="168" y="227"/>
                    <a:pt x="169" y="228"/>
                    <a:pt x="169" y="229"/>
                  </a:cubicBezTo>
                  <a:cubicBezTo>
                    <a:pt x="170" y="229"/>
                    <a:pt x="170" y="229"/>
                    <a:pt x="172" y="229"/>
                  </a:cubicBezTo>
                  <a:cubicBezTo>
                    <a:pt x="176" y="230"/>
                    <a:pt x="180" y="230"/>
                    <a:pt x="184" y="230"/>
                  </a:cubicBezTo>
                  <a:cubicBezTo>
                    <a:pt x="195" y="232"/>
                    <a:pt x="204" y="232"/>
                    <a:pt x="215" y="233"/>
                  </a:cubicBezTo>
                  <a:cubicBezTo>
                    <a:pt x="225" y="233"/>
                    <a:pt x="235" y="232"/>
                    <a:pt x="245" y="232"/>
                  </a:cubicBezTo>
                  <a:cubicBezTo>
                    <a:pt x="256" y="231"/>
                    <a:pt x="266" y="231"/>
                    <a:pt x="276" y="231"/>
                  </a:cubicBezTo>
                  <a:cubicBezTo>
                    <a:pt x="297" y="231"/>
                    <a:pt x="317" y="232"/>
                    <a:pt x="337" y="232"/>
                  </a:cubicBezTo>
                  <a:close/>
                  <a:moveTo>
                    <a:pt x="297" y="251"/>
                  </a:moveTo>
                  <a:cubicBezTo>
                    <a:pt x="297" y="251"/>
                    <a:pt x="297" y="251"/>
                    <a:pt x="297" y="251"/>
                  </a:cubicBezTo>
                  <a:cubicBezTo>
                    <a:pt x="297" y="249"/>
                    <a:pt x="297" y="248"/>
                    <a:pt x="297" y="246"/>
                  </a:cubicBezTo>
                  <a:cubicBezTo>
                    <a:pt x="287" y="246"/>
                    <a:pt x="278" y="246"/>
                    <a:pt x="268" y="246"/>
                  </a:cubicBezTo>
                  <a:cubicBezTo>
                    <a:pt x="266" y="246"/>
                    <a:pt x="264" y="247"/>
                    <a:pt x="262" y="247"/>
                  </a:cubicBezTo>
                  <a:cubicBezTo>
                    <a:pt x="262" y="248"/>
                    <a:pt x="262" y="249"/>
                    <a:pt x="262" y="250"/>
                  </a:cubicBezTo>
                  <a:cubicBezTo>
                    <a:pt x="262" y="252"/>
                    <a:pt x="262" y="255"/>
                    <a:pt x="262" y="257"/>
                  </a:cubicBezTo>
                  <a:cubicBezTo>
                    <a:pt x="267" y="258"/>
                    <a:pt x="271" y="258"/>
                    <a:pt x="276" y="258"/>
                  </a:cubicBezTo>
                  <a:cubicBezTo>
                    <a:pt x="283" y="258"/>
                    <a:pt x="291" y="258"/>
                    <a:pt x="298" y="258"/>
                  </a:cubicBezTo>
                  <a:cubicBezTo>
                    <a:pt x="298" y="256"/>
                    <a:pt x="298" y="253"/>
                    <a:pt x="297" y="251"/>
                  </a:cubicBezTo>
                  <a:close/>
                  <a:moveTo>
                    <a:pt x="345" y="281"/>
                  </a:moveTo>
                  <a:cubicBezTo>
                    <a:pt x="345" y="281"/>
                    <a:pt x="345" y="281"/>
                    <a:pt x="345" y="281"/>
                  </a:cubicBezTo>
                  <a:cubicBezTo>
                    <a:pt x="347" y="287"/>
                    <a:pt x="347" y="295"/>
                    <a:pt x="346" y="302"/>
                  </a:cubicBezTo>
                  <a:cubicBezTo>
                    <a:pt x="347" y="301"/>
                    <a:pt x="348" y="300"/>
                    <a:pt x="348" y="299"/>
                  </a:cubicBezTo>
                  <a:cubicBezTo>
                    <a:pt x="351" y="296"/>
                    <a:pt x="355" y="292"/>
                    <a:pt x="358" y="289"/>
                  </a:cubicBezTo>
                  <a:cubicBezTo>
                    <a:pt x="354" y="286"/>
                    <a:pt x="350" y="283"/>
                    <a:pt x="345" y="281"/>
                  </a:cubicBezTo>
                  <a:close/>
                  <a:moveTo>
                    <a:pt x="407" y="341"/>
                  </a:moveTo>
                  <a:cubicBezTo>
                    <a:pt x="407" y="341"/>
                    <a:pt x="407" y="341"/>
                    <a:pt x="407" y="341"/>
                  </a:cubicBezTo>
                  <a:cubicBezTo>
                    <a:pt x="401" y="345"/>
                    <a:pt x="395" y="350"/>
                    <a:pt x="389" y="354"/>
                  </a:cubicBezTo>
                  <a:cubicBezTo>
                    <a:pt x="386" y="355"/>
                    <a:pt x="383" y="357"/>
                    <a:pt x="380" y="359"/>
                  </a:cubicBezTo>
                  <a:cubicBezTo>
                    <a:pt x="383" y="364"/>
                    <a:pt x="385" y="369"/>
                    <a:pt x="387" y="374"/>
                  </a:cubicBezTo>
                  <a:cubicBezTo>
                    <a:pt x="390" y="373"/>
                    <a:pt x="393" y="371"/>
                    <a:pt x="395" y="371"/>
                  </a:cubicBezTo>
                  <a:cubicBezTo>
                    <a:pt x="402" y="368"/>
                    <a:pt x="410" y="367"/>
                    <a:pt x="418" y="365"/>
                  </a:cubicBezTo>
                  <a:cubicBezTo>
                    <a:pt x="418" y="365"/>
                    <a:pt x="418" y="365"/>
                    <a:pt x="418" y="365"/>
                  </a:cubicBezTo>
                  <a:cubicBezTo>
                    <a:pt x="417" y="361"/>
                    <a:pt x="415" y="358"/>
                    <a:pt x="414" y="354"/>
                  </a:cubicBezTo>
                  <a:cubicBezTo>
                    <a:pt x="412" y="349"/>
                    <a:pt x="410" y="345"/>
                    <a:pt x="407" y="341"/>
                  </a:cubicBezTo>
                  <a:close/>
                  <a:moveTo>
                    <a:pt x="431" y="400"/>
                  </a:moveTo>
                  <a:cubicBezTo>
                    <a:pt x="431" y="400"/>
                    <a:pt x="431" y="400"/>
                    <a:pt x="431" y="400"/>
                  </a:cubicBezTo>
                  <a:cubicBezTo>
                    <a:pt x="429" y="400"/>
                    <a:pt x="428" y="400"/>
                    <a:pt x="426" y="400"/>
                  </a:cubicBezTo>
                  <a:cubicBezTo>
                    <a:pt x="423" y="400"/>
                    <a:pt x="421" y="401"/>
                    <a:pt x="418" y="401"/>
                  </a:cubicBezTo>
                  <a:cubicBezTo>
                    <a:pt x="414" y="401"/>
                    <a:pt x="410" y="402"/>
                    <a:pt x="406" y="403"/>
                  </a:cubicBezTo>
                  <a:cubicBezTo>
                    <a:pt x="404" y="404"/>
                    <a:pt x="401" y="405"/>
                    <a:pt x="399" y="405"/>
                  </a:cubicBezTo>
                  <a:cubicBezTo>
                    <a:pt x="400" y="410"/>
                    <a:pt x="401" y="415"/>
                    <a:pt x="402" y="421"/>
                  </a:cubicBezTo>
                  <a:cubicBezTo>
                    <a:pt x="412" y="419"/>
                    <a:pt x="429" y="419"/>
                    <a:pt x="437" y="422"/>
                  </a:cubicBezTo>
                  <a:cubicBezTo>
                    <a:pt x="437" y="421"/>
                    <a:pt x="437" y="421"/>
                    <a:pt x="437" y="420"/>
                  </a:cubicBezTo>
                  <a:cubicBezTo>
                    <a:pt x="435" y="413"/>
                    <a:pt x="433" y="407"/>
                    <a:pt x="431" y="400"/>
                  </a:cubicBezTo>
                  <a:close/>
                  <a:moveTo>
                    <a:pt x="439" y="429"/>
                  </a:moveTo>
                  <a:cubicBezTo>
                    <a:pt x="439" y="429"/>
                    <a:pt x="439" y="429"/>
                    <a:pt x="439" y="429"/>
                  </a:cubicBezTo>
                  <a:cubicBezTo>
                    <a:pt x="438" y="429"/>
                    <a:pt x="438" y="429"/>
                    <a:pt x="438" y="428"/>
                  </a:cubicBezTo>
                  <a:cubicBezTo>
                    <a:pt x="438" y="428"/>
                    <a:pt x="436" y="428"/>
                    <a:pt x="436" y="427"/>
                  </a:cubicBezTo>
                  <a:cubicBezTo>
                    <a:pt x="434" y="427"/>
                    <a:pt x="432" y="427"/>
                    <a:pt x="430" y="427"/>
                  </a:cubicBezTo>
                  <a:cubicBezTo>
                    <a:pt x="425" y="427"/>
                    <a:pt x="420" y="427"/>
                    <a:pt x="415" y="427"/>
                  </a:cubicBezTo>
                  <a:cubicBezTo>
                    <a:pt x="411" y="428"/>
                    <a:pt x="407" y="428"/>
                    <a:pt x="403" y="428"/>
                  </a:cubicBezTo>
                  <a:cubicBezTo>
                    <a:pt x="404" y="433"/>
                    <a:pt x="404" y="437"/>
                    <a:pt x="405" y="441"/>
                  </a:cubicBezTo>
                  <a:cubicBezTo>
                    <a:pt x="411" y="441"/>
                    <a:pt x="417" y="442"/>
                    <a:pt x="424" y="443"/>
                  </a:cubicBezTo>
                  <a:cubicBezTo>
                    <a:pt x="427" y="443"/>
                    <a:pt x="430" y="444"/>
                    <a:pt x="434" y="445"/>
                  </a:cubicBezTo>
                  <a:cubicBezTo>
                    <a:pt x="436" y="446"/>
                    <a:pt x="438" y="448"/>
                    <a:pt x="440" y="449"/>
                  </a:cubicBezTo>
                  <a:cubicBezTo>
                    <a:pt x="440" y="442"/>
                    <a:pt x="440" y="436"/>
                    <a:pt x="439" y="429"/>
                  </a:cubicBezTo>
                  <a:close/>
                  <a:moveTo>
                    <a:pt x="437" y="468"/>
                  </a:moveTo>
                  <a:cubicBezTo>
                    <a:pt x="437" y="468"/>
                    <a:pt x="437" y="468"/>
                    <a:pt x="437" y="468"/>
                  </a:cubicBezTo>
                  <a:cubicBezTo>
                    <a:pt x="438" y="464"/>
                    <a:pt x="439" y="460"/>
                    <a:pt x="439" y="455"/>
                  </a:cubicBezTo>
                  <a:cubicBezTo>
                    <a:pt x="439" y="455"/>
                    <a:pt x="439" y="455"/>
                    <a:pt x="439" y="454"/>
                  </a:cubicBezTo>
                  <a:cubicBezTo>
                    <a:pt x="434" y="452"/>
                    <a:pt x="429" y="450"/>
                    <a:pt x="423" y="449"/>
                  </a:cubicBezTo>
                  <a:cubicBezTo>
                    <a:pt x="417" y="448"/>
                    <a:pt x="410" y="448"/>
                    <a:pt x="405" y="446"/>
                  </a:cubicBezTo>
                  <a:cubicBezTo>
                    <a:pt x="405" y="448"/>
                    <a:pt x="405" y="450"/>
                    <a:pt x="405" y="452"/>
                  </a:cubicBezTo>
                  <a:cubicBezTo>
                    <a:pt x="405" y="453"/>
                    <a:pt x="405" y="454"/>
                    <a:pt x="405" y="454"/>
                  </a:cubicBezTo>
                  <a:cubicBezTo>
                    <a:pt x="407" y="455"/>
                    <a:pt x="409" y="455"/>
                    <a:pt x="410" y="455"/>
                  </a:cubicBezTo>
                  <a:cubicBezTo>
                    <a:pt x="415" y="455"/>
                    <a:pt x="420" y="457"/>
                    <a:pt x="424" y="460"/>
                  </a:cubicBezTo>
                  <a:cubicBezTo>
                    <a:pt x="428" y="464"/>
                    <a:pt x="433" y="465"/>
                    <a:pt x="437" y="468"/>
                  </a:cubicBezTo>
                  <a:close/>
                  <a:moveTo>
                    <a:pt x="363" y="521"/>
                  </a:moveTo>
                  <a:cubicBezTo>
                    <a:pt x="363" y="521"/>
                    <a:pt x="363" y="521"/>
                    <a:pt x="363" y="521"/>
                  </a:cubicBezTo>
                  <a:cubicBezTo>
                    <a:pt x="363" y="521"/>
                    <a:pt x="363" y="521"/>
                    <a:pt x="363" y="521"/>
                  </a:cubicBezTo>
                  <a:cubicBezTo>
                    <a:pt x="365" y="523"/>
                    <a:pt x="367" y="525"/>
                    <a:pt x="369" y="527"/>
                  </a:cubicBezTo>
                  <a:cubicBezTo>
                    <a:pt x="374" y="530"/>
                    <a:pt x="380" y="534"/>
                    <a:pt x="385" y="537"/>
                  </a:cubicBezTo>
                  <a:cubicBezTo>
                    <a:pt x="392" y="541"/>
                    <a:pt x="400" y="544"/>
                    <a:pt x="409" y="547"/>
                  </a:cubicBezTo>
                  <a:cubicBezTo>
                    <a:pt x="412" y="548"/>
                    <a:pt x="416" y="550"/>
                    <a:pt x="420" y="551"/>
                  </a:cubicBezTo>
                  <a:cubicBezTo>
                    <a:pt x="422" y="552"/>
                    <a:pt x="424" y="553"/>
                    <a:pt x="426" y="554"/>
                  </a:cubicBezTo>
                  <a:cubicBezTo>
                    <a:pt x="426" y="554"/>
                    <a:pt x="426" y="554"/>
                    <a:pt x="426" y="553"/>
                  </a:cubicBezTo>
                  <a:cubicBezTo>
                    <a:pt x="427" y="551"/>
                    <a:pt x="428" y="549"/>
                    <a:pt x="428" y="547"/>
                  </a:cubicBezTo>
                  <a:cubicBezTo>
                    <a:pt x="429" y="542"/>
                    <a:pt x="429" y="537"/>
                    <a:pt x="429" y="533"/>
                  </a:cubicBezTo>
                  <a:cubicBezTo>
                    <a:pt x="429" y="529"/>
                    <a:pt x="428" y="526"/>
                    <a:pt x="427" y="524"/>
                  </a:cubicBezTo>
                  <a:cubicBezTo>
                    <a:pt x="426" y="521"/>
                    <a:pt x="425" y="517"/>
                    <a:pt x="425" y="515"/>
                  </a:cubicBezTo>
                  <a:cubicBezTo>
                    <a:pt x="419" y="512"/>
                    <a:pt x="414" y="509"/>
                    <a:pt x="409" y="507"/>
                  </a:cubicBezTo>
                  <a:cubicBezTo>
                    <a:pt x="403" y="504"/>
                    <a:pt x="397" y="500"/>
                    <a:pt x="391" y="498"/>
                  </a:cubicBezTo>
                  <a:cubicBezTo>
                    <a:pt x="390" y="497"/>
                    <a:pt x="389" y="497"/>
                    <a:pt x="388" y="497"/>
                  </a:cubicBezTo>
                  <a:cubicBezTo>
                    <a:pt x="383" y="500"/>
                    <a:pt x="377" y="502"/>
                    <a:pt x="373" y="506"/>
                  </a:cubicBezTo>
                  <a:cubicBezTo>
                    <a:pt x="368" y="510"/>
                    <a:pt x="365" y="515"/>
                    <a:pt x="363" y="521"/>
                  </a:cubicBezTo>
                  <a:close/>
                  <a:moveTo>
                    <a:pt x="389" y="478"/>
                  </a:moveTo>
                  <a:cubicBezTo>
                    <a:pt x="389" y="478"/>
                    <a:pt x="389" y="478"/>
                    <a:pt x="389" y="478"/>
                  </a:cubicBezTo>
                  <a:cubicBezTo>
                    <a:pt x="388" y="478"/>
                    <a:pt x="387" y="479"/>
                    <a:pt x="387" y="481"/>
                  </a:cubicBezTo>
                  <a:cubicBezTo>
                    <a:pt x="386" y="481"/>
                    <a:pt x="386" y="481"/>
                    <a:pt x="386" y="482"/>
                  </a:cubicBezTo>
                  <a:cubicBezTo>
                    <a:pt x="397" y="484"/>
                    <a:pt x="407" y="490"/>
                    <a:pt x="417" y="496"/>
                  </a:cubicBezTo>
                  <a:cubicBezTo>
                    <a:pt x="422" y="499"/>
                    <a:pt x="428" y="502"/>
                    <a:pt x="433" y="505"/>
                  </a:cubicBezTo>
                  <a:cubicBezTo>
                    <a:pt x="435" y="506"/>
                    <a:pt x="437" y="508"/>
                    <a:pt x="439" y="510"/>
                  </a:cubicBezTo>
                  <a:cubicBezTo>
                    <a:pt x="441" y="509"/>
                    <a:pt x="442" y="509"/>
                    <a:pt x="442" y="506"/>
                  </a:cubicBezTo>
                  <a:cubicBezTo>
                    <a:pt x="442" y="504"/>
                    <a:pt x="441" y="501"/>
                    <a:pt x="440" y="498"/>
                  </a:cubicBezTo>
                  <a:cubicBezTo>
                    <a:pt x="439" y="498"/>
                    <a:pt x="439" y="497"/>
                    <a:pt x="438" y="497"/>
                  </a:cubicBezTo>
                  <a:cubicBezTo>
                    <a:pt x="434" y="495"/>
                    <a:pt x="430" y="494"/>
                    <a:pt x="427" y="492"/>
                  </a:cubicBezTo>
                  <a:cubicBezTo>
                    <a:pt x="419" y="489"/>
                    <a:pt x="413" y="486"/>
                    <a:pt x="406" y="483"/>
                  </a:cubicBezTo>
                  <a:cubicBezTo>
                    <a:pt x="403" y="482"/>
                    <a:pt x="400" y="481"/>
                    <a:pt x="397" y="480"/>
                  </a:cubicBezTo>
                  <a:cubicBezTo>
                    <a:pt x="395" y="479"/>
                    <a:pt x="392" y="477"/>
                    <a:pt x="389" y="478"/>
                  </a:cubicBezTo>
                  <a:close/>
                  <a:moveTo>
                    <a:pt x="403" y="467"/>
                  </a:moveTo>
                  <a:cubicBezTo>
                    <a:pt x="403" y="467"/>
                    <a:pt x="403" y="467"/>
                    <a:pt x="403" y="467"/>
                  </a:cubicBezTo>
                  <a:cubicBezTo>
                    <a:pt x="407" y="469"/>
                    <a:pt x="411" y="470"/>
                    <a:pt x="415" y="472"/>
                  </a:cubicBezTo>
                  <a:cubicBezTo>
                    <a:pt x="419" y="474"/>
                    <a:pt x="423" y="477"/>
                    <a:pt x="428" y="479"/>
                  </a:cubicBezTo>
                  <a:cubicBezTo>
                    <a:pt x="430" y="480"/>
                    <a:pt x="432" y="481"/>
                    <a:pt x="434" y="482"/>
                  </a:cubicBezTo>
                  <a:cubicBezTo>
                    <a:pt x="435" y="480"/>
                    <a:pt x="435" y="477"/>
                    <a:pt x="436" y="474"/>
                  </a:cubicBezTo>
                  <a:cubicBezTo>
                    <a:pt x="434" y="473"/>
                    <a:pt x="432" y="473"/>
                    <a:pt x="430" y="472"/>
                  </a:cubicBezTo>
                  <a:cubicBezTo>
                    <a:pt x="426" y="470"/>
                    <a:pt x="422" y="469"/>
                    <a:pt x="419" y="466"/>
                  </a:cubicBezTo>
                  <a:cubicBezTo>
                    <a:pt x="415" y="463"/>
                    <a:pt x="411" y="462"/>
                    <a:pt x="406" y="462"/>
                  </a:cubicBezTo>
                  <a:cubicBezTo>
                    <a:pt x="405" y="462"/>
                    <a:pt x="404" y="462"/>
                    <a:pt x="404" y="462"/>
                  </a:cubicBezTo>
                  <a:cubicBezTo>
                    <a:pt x="403" y="464"/>
                    <a:pt x="403" y="466"/>
                    <a:pt x="402" y="467"/>
                  </a:cubicBezTo>
                  <a:cubicBezTo>
                    <a:pt x="402" y="467"/>
                    <a:pt x="402" y="467"/>
                    <a:pt x="403" y="467"/>
                  </a:cubicBezTo>
                  <a:close/>
                  <a:moveTo>
                    <a:pt x="391" y="382"/>
                  </a:moveTo>
                  <a:cubicBezTo>
                    <a:pt x="391" y="382"/>
                    <a:pt x="391" y="382"/>
                    <a:pt x="391" y="382"/>
                  </a:cubicBezTo>
                  <a:cubicBezTo>
                    <a:pt x="393" y="388"/>
                    <a:pt x="395" y="393"/>
                    <a:pt x="397" y="399"/>
                  </a:cubicBezTo>
                  <a:cubicBezTo>
                    <a:pt x="399" y="398"/>
                    <a:pt x="402" y="397"/>
                    <a:pt x="404" y="396"/>
                  </a:cubicBezTo>
                  <a:cubicBezTo>
                    <a:pt x="409" y="395"/>
                    <a:pt x="413" y="395"/>
                    <a:pt x="418" y="394"/>
                  </a:cubicBezTo>
                  <a:cubicBezTo>
                    <a:pt x="422" y="394"/>
                    <a:pt x="426" y="394"/>
                    <a:pt x="429" y="395"/>
                  </a:cubicBezTo>
                  <a:cubicBezTo>
                    <a:pt x="428" y="392"/>
                    <a:pt x="427" y="389"/>
                    <a:pt x="426" y="385"/>
                  </a:cubicBezTo>
                  <a:cubicBezTo>
                    <a:pt x="424" y="380"/>
                    <a:pt x="422" y="375"/>
                    <a:pt x="420" y="369"/>
                  </a:cubicBezTo>
                  <a:cubicBezTo>
                    <a:pt x="420" y="370"/>
                    <a:pt x="419" y="370"/>
                    <a:pt x="419" y="370"/>
                  </a:cubicBezTo>
                  <a:cubicBezTo>
                    <a:pt x="413" y="371"/>
                    <a:pt x="406" y="373"/>
                    <a:pt x="400" y="376"/>
                  </a:cubicBezTo>
                  <a:cubicBezTo>
                    <a:pt x="397" y="377"/>
                    <a:pt x="394" y="379"/>
                    <a:pt x="390" y="380"/>
                  </a:cubicBezTo>
                  <a:cubicBezTo>
                    <a:pt x="390" y="380"/>
                    <a:pt x="390" y="381"/>
                    <a:pt x="390" y="381"/>
                  </a:cubicBezTo>
                  <a:cubicBezTo>
                    <a:pt x="390" y="381"/>
                    <a:pt x="390" y="382"/>
                    <a:pt x="391" y="382"/>
                  </a:cubicBezTo>
                  <a:close/>
                  <a:moveTo>
                    <a:pt x="376" y="353"/>
                  </a:moveTo>
                  <a:cubicBezTo>
                    <a:pt x="376" y="353"/>
                    <a:pt x="376" y="353"/>
                    <a:pt x="376" y="353"/>
                  </a:cubicBezTo>
                  <a:cubicBezTo>
                    <a:pt x="380" y="350"/>
                    <a:pt x="385" y="348"/>
                    <a:pt x="389" y="346"/>
                  </a:cubicBezTo>
                  <a:cubicBezTo>
                    <a:pt x="394" y="342"/>
                    <a:pt x="399" y="339"/>
                    <a:pt x="405" y="337"/>
                  </a:cubicBezTo>
                  <a:cubicBezTo>
                    <a:pt x="400" y="329"/>
                    <a:pt x="394" y="321"/>
                    <a:pt x="388" y="314"/>
                  </a:cubicBezTo>
                  <a:cubicBezTo>
                    <a:pt x="384" y="318"/>
                    <a:pt x="380" y="322"/>
                    <a:pt x="376" y="326"/>
                  </a:cubicBezTo>
                  <a:cubicBezTo>
                    <a:pt x="372" y="329"/>
                    <a:pt x="370" y="334"/>
                    <a:pt x="366" y="338"/>
                  </a:cubicBezTo>
                  <a:cubicBezTo>
                    <a:pt x="368" y="340"/>
                    <a:pt x="369" y="341"/>
                    <a:pt x="370" y="343"/>
                  </a:cubicBezTo>
                  <a:cubicBezTo>
                    <a:pt x="372" y="346"/>
                    <a:pt x="375" y="349"/>
                    <a:pt x="376" y="353"/>
                  </a:cubicBezTo>
                  <a:close/>
                  <a:moveTo>
                    <a:pt x="356" y="328"/>
                  </a:moveTo>
                  <a:cubicBezTo>
                    <a:pt x="356" y="328"/>
                    <a:pt x="356" y="328"/>
                    <a:pt x="356" y="328"/>
                  </a:cubicBezTo>
                  <a:cubicBezTo>
                    <a:pt x="359" y="330"/>
                    <a:pt x="361" y="332"/>
                    <a:pt x="363" y="334"/>
                  </a:cubicBezTo>
                  <a:cubicBezTo>
                    <a:pt x="366" y="324"/>
                    <a:pt x="376" y="317"/>
                    <a:pt x="384" y="311"/>
                  </a:cubicBezTo>
                  <a:cubicBezTo>
                    <a:pt x="381" y="308"/>
                    <a:pt x="378" y="305"/>
                    <a:pt x="375" y="302"/>
                  </a:cubicBezTo>
                  <a:cubicBezTo>
                    <a:pt x="371" y="298"/>
                    <a:pt x="367" y="295"/>
                    <a:pt x="363" y="292"/>
                  </a:cubicBezTo>
                  <a:cubicBezTo>
                    <a:pt x="360" y="296"/>
                    <a:pt x="357" y="299"/>
                    <a:pt x="353" y="303"/>
                  </a:cubicBezTo>
                  <a:cubicBezTo>
                    <a:pt x="351" y="305"/>
                    <a:pt x="350" y="308"/>
                    <a:pt x="348" y="310"/>
                  </a:cubicBezTo>
                  <a:cubicBezTo>
                    <a:pt x="347" y="312"/>
                    <a:pt x="346" y="314"/>
                    <a:pt x="345" y="316"/>
                  </a:cubicBezTo>
                  <a:cubicBezTo>
                    <a:pt x="345" y="318"/>
                    <a:pt x="345" y="319"/>
                    <a:pt x="345" y="321"/>
                  </a:cubicBezTo>
                  <a:cubicBezTo>
                    <a:pt x="349" y="323"/>
                    <a:pt x="353" y="326"/>
                    <a:pt x="356" y="328"/>
                  </a:cubicBezTo>
                  <a:close/>
                  <a:moveTo>
                    <a:pt x="285" y="535"/>
                  </a:moveTo>
                  <a:cubicBezTo>
                    <a:pt x="285" y="535"/>
                    <a:pt x="285" y="535"/>
                    <a:pt x="285" y="535"/>
                  </a:cubicBezTo>
                  <a:cubicBezTo>
                    <a:pt x="284" y="530"/>
                    <a:pt x="284" y="526"/>
                    <a:pt x="284" y="521"/>
                  </a:cubicBezTo>
                  <a:cubicBezTo>
                    <a:pt x="280" y="522"/>
                    <a:pt x="277" y="522"/>
                    <a:pt x="273" y="522"/>
                  </a:cubicBezTo>
                  <a:cubicBezTo>
                    <a:pt x="271" y="522"/>
                    <a:pt x="268" y="522"/>
                    <a:pt x="265" y="521"/>
                  </a:cubicBezTo>
                  <a:cubicBezTo>
                    <a:pt x="265" y="526"/>
                    <a:pt x="265" y="530"/>
                    <a:pt x="265" y="534"/>
                  </a:cubicBezTo>
                  <a:cubicBezTo>
                    <a:pt x="266" y="536"/>
                    <a:pt x="265" y="538"/>
                    <a:pt x="265" y="539"/>
                  </a:cubicBezTo>
                  <a:cubicBezTo>
                    <a:pt x="269" y="538"/>
                    <a:pt x="273" y="539"/>
                    <a:pt x="276" y="538"/>
                  </a:cubicBezTo>
                  <a:cubicBezTo>
                    <a:pt x="279" y="538"/>
                    <a:pt x="282" y="538"/>
                    <a:pt x="285" y="538"/>
                  </a:cubicBezTo>
                  <a:cubicBezTo>
                    <a:pt x="285" y="537"/>
                    <a:pt x="285" y="536"/>
                    <a:pt x="285" y="535"/>
                  </a:cubicBezTo>
                  <a:close/>
                  <a:moveTo>
                    <a:pt x="264" y="507"/>
                  </a:moveTo>
                  <a:cubicBezTo>
                    <a:pt x="264" y="507"/>
                    <a:pt x="264" y="507"/>
                    <a:pt x="264" y="507"/>
                  </a:cubicBezTo>
                  <a:cubicBezTo>
                    <a:pt x="265" y="510"/>
                    <a:pt x="265" y="512"/>
                    <a:pt x="265" y="515"/>
                  </a:cubicBezTo>
                  <a:cubicBezTo>
                    <a:pt x="268" y="514"/>
                    <a:pt x="271" y="515"/>
                    <a:pt x="273" y="515"/>
                  </a:cubicBezTo>
                  <a:cubicBezTo>
                    <a:pt x="277" y="516"/>
                    <a:pt x="280" y="516"/>
                    <a:pt x="284" y="516"/>
                  </a:cubicBezTo>
                  <a:cubicBezTo>
                    <a:pt x="284" y="514"/>
                    <a:pt x="283" y="511"/>
                    <a:pt x="283" y="509"/>
                  </a:cubicBezTo>
                  <a:cubicBezTo>
                    <a:pt x="283" y="505"/>
                    <a:pt x="283" y="502"/>
                    <a:pt x="283" y="498"/>
                  </a:cubicBezTo>
                  <a:cubicBezTo>
                    <a:pt x="278" y="499"/>
                    <a:pt x="269" y="500"/>
                    <a:pt x="264" y="498"/>
                  </a:cubicBezTo>
                  <a:cubicBezTo>
                    <a:pt x="264" y="501"/>
                    <a:pt x="264" y="504"/>
                    <a:pt x="264" y="507"/>
                  </a:cubicBezTo>
                  <a:close/>
                  <a:moveTo>
                    <a:pt x="286" y="558"/>
                  </a:moveTo>
                  <a:cubicBezTo>
                    <a:pt x="286" y="558"/>
                    <a:pt x="286" y="558"/>
                    <a:pt x="286" y="558"/>
                  </a:cubicBezTo>
                  <a:cubicBezTo>
                    <a:pt x="286" y="558"/>
                    <a:pt x="286" y="557"/>
                    <a:pt x="286" y="557"/>
                  </a:cubicBezTo>
                  <a:cubicBezTo>
                    <a:pt x="287" y="554"/>
                    <a:pt x="286" y="550"/>
                    <a:pt x="286" y="547"/>
                  </a:cubicBezTo>
                  <a:cubicBezTo>
                    <a:pt x="286" y="546"/>
                    <a:pt x="286" y="545"/>
                    <a:pt x="285" y="544"/>
                  </a:cubicBezTo>
                  <a:cubicBezTo>
                    <a:pt x="282" y="545"/>
                    <a:pt x="279" y="545"/>
                    <a:pt x="276" y="545"/>
                  </a:cubicBezTo>
                  <a:cubicBezTo>
                    <a:pt x="273" y="545"/>
                    <a:pt x="269" y="546"/>
                    <a:pt x="266" y="545"/>
                  </a:cubicBezTo>
                  <a:cubicBezTo>
                    <a:pt x="266" y="546"/>
                    <a:pt x="266" y="547"/>
                    <a:pt x="266" y="548"/>
                  </a:cubicBezTo>
                  <a:cubicBezTo>
                    <a:pt x="266" y="550"/>
                    <a:pt x="266" y="553"/>
                    <a:pt x="266" y="556"/>
                  </a:cubicBezTo>
                  <a:cubicBezTo>
                    <a:pt x="267" y="556"/>
                    <a:pt x="267" y="557"/>
                    <a:pt x="268" y="557"/>
                  </a:cubicBezTo>
                  <a:cubicBezTo>
                    <a:pt x="271" y="558"/>
                    <a:pt x="273" y="559"/>
                    <a:pt x="276" y="559"/>
                  </a:cubicBezTo>
                  <a:cubicBezTo>
                    <a:pt x="279" y="559"/>
                    <a:pt x="282" y="559"/>
                    <a:pt x="285" y="558"/>
                  </a:cubicBezTo>
                  <a:cubicBezTo>
                    <a:pt x="285" y="558"/>
                    <a:pt x="286" y="558"/>
                    <a:pt x="286" y="558"/>
                  </a:cubicBezTo>
                  <a:close/>
                  <a:moveTo>
                    <a:pt x="263" y="480"/>
                  </a:moveTo>
                  <a:cubicBezTo>
                    <a:pt x="263" y="480"/>
                    <a:pt x="263" y="480"/>
                    <a:pt x="263" y="480"/>
                  </a:cubicBezTo>
                  <a:cubicBezTo>
                    <a:pt x="263" y="484"/>
                    <a:pt x="263" y="488"/>
                    <a:pt x="263" y="491"/>
                  </a:cubicBezTo>
                  <a:cubicBezTo>
                    <a:pt x="264" y="491"/>
                    <a:pt x="265" y="492"/>
                    <a:pt x="266" y="492"/>
                  </a:cubicBezTo>
                  <a:cubicBezTo>
                    <a:pt x="268" y="492"/>
                    <a:pt x="271" y="493"/>
                    <a:pt x="273" y="493"/>
                  </a:cubicBezTo>
                  <a:cubicBezTo>
                    <a:pt x="276" y="493"/>
                    <a:pt x="280" y="493"/>
                    <a:pt x="283" y="493"/>
                  </a:cubicBezTo>
                  <a:cubicBezTo>
                    <a:pt x="283" y="489"/>
                    <a:pt x="284" y="486"/>
                    <a:pt x="284" y="482"/>
                  </a:cubicBezTo>
                  <a:cubicBezTo>
                    <a:pt x="284" y="481"/>
                    <a:pt x="284" y="480"/>
                    <a:pt x="284" y="479"/>
                  </a:cubicBezTo>
                  <a:cubicBezTo>
                    <a:pt x="281" y="479"/>
                    <a:pt x="278" y="480"/>
                    <a:pt x="274" y="480"/>
                  </a:cubicBezTo>
                  <a:cubicBezTo>
                    <a:pt x="271" y="480"/>
                    <a:pt x="266" y="482"/>
                    <a:pt x="263" y="479"/>
                  </a:cubicBezTo>
                  <a:cubicBezTo>
                    <a:pt x="263" y="479"/>
                    <a:pt x="263" y="479"/>
                    <a:pt x="263" y="479"/>
                  </a:cubicBezTo>
                  <a:cubicBezTo>
                    <a:pt x="263" y="479"/>
                    <a:pt x="263" y="480"/>
                    <a:pt x="263" y="480"/>
                  </a:cubicBezTo>
                  <a:close/>
                  <a:moveTo>
                    <a:pt x="277" y="638"/>
                  </a:moveTo>
                  <a:cubicBezTo>
                    <a:pt x="277" y="638"/>
                    <a:pt x="277" y="638"/>
                    <a:pt x="277" y="638"/>
                  </a:cubicBezTo>
                  <a:cubicBezTo>
                    <a:pt x="284" y="636"/>
                    <a:pt x="288" y="631"/>
                    <a:pt x="290" y="625"/>
                  </a:cubicBezTo>
                  <a:cubicBezTo>
                    <a:pt x="291" y="624"/>
                    <a:pt x="291" y="621"/>
                    <a:pt x="292" y="618"/>
                  </a:cubicBezTo>
                  <a:cubicBezTo>
                    <a:pt x="291" y="618"/>
                    <a:pt x="290" y="618"/>
                    <a:pt x="289" y="618"/>
                  </a:cubicBezTo>
                  <a:cubicBezTo>
                    <a:pt x="282" y="617"/>
                    <a:pt x="274" y="617"/>
                    <a:pt x="267" y="617"/>
                  </a:cubicBezTo>
                  <a:cubicBezTo>
                    <a:pt x="263" y="617"/>
                    <a:pt x="260" y="617"/>
                    <a:pt x="256" y="617"/>
                  </a:cubicBezTo>
                  <a:cubicBezTo>
                    <a:pt x="260" y="628"/>
                    <a:pt x="265" y="641"/>
                    <a:pt x="277" y="638"/>
                  </a:cubicBezTo>
                  <a:close/>
                  <a:moveTo>
                    <a:pt x="242" y="585"/>
                  </a:moveTo>
                  <a:cubicBezTo>
                    <a:pt x="242" y="585"/>
                    <a:pt x="242" y="585"/>
                    <a:pt x="242" y="585"/>
                  </a:cubicBezTo>
                  <a:cubicBezTo>
                    <a:pt x="239" y="589"/>
                    <a:pt x="239" y="595"/>
                    <a:pt x="239" y="600"/>
                  </a:cubicBezTo>
                  <a:cubicBezTo>
                    <a:pt x="239" y="599"/>
                    <a:pt x="239" y="600"/>
                    <a:pt x="239" y="601"/>
                  </a:cubicBezTo>
                  <a:cubicBezTo>
                    <a:pt x="240" y="601"/>
                    <a:pt x="240" y="602"/>
                    <a:pt x="240" y="602"/>
                  </a:cubicBezTo>
                  <a:cubicBezTo>
                    <a:pt x="242" y="602"/>
                    <a:pt x="243" y="603"/>
                    <a:pt x="244" y="604"/>
                  </a:cubicBezTo>
                  <a:cubicBezTo>
                    <a:pt x="245" y="604"/>
                    <a:pt x="246" y="603"/>
                    <a:pt x="248" y="603"/>
                  </a:cubicBezTo>
                  <a:cubicBezTo>
                    <a:pt x="251" y="603"/>
                    <a:pt x="255" y="603"/>
                    <a:pt x="260" y="603"/>
                  </a:cubicBezTo>
                  <a:cubicBezTo>
                    <a:pt x="266" y="603"/>
                    <a:pt x="273" y="603"/>
                    <a:pt x="280" y="603"/>
                  </a:cubicBezTo>
                  <a:cubicBezTo>
                    <a:pt x="291" y="604"/>
                    <a:pt x="302" y="607"/>
                    <a:pt x="312" y="604"/>
                  </a:cubicBezTo>
                  <a:cubicBezTo>
                    <a:pt x="315" y="603"/>
                    <a:pt x="316" y="602"/>
                    <a:pt x="315" y="598"/>
                  </a:cubicBezTo>
                  <a:cubicBezTo>
                    <a:pt x="314" y="593"/>
                    <a:pt x="312" y="588"/>
                    <a:pt x="309" y="583"/>
                  </a:cubicBezTo>
                  <a:cubicBezTo>
                    <a:pt x="306" y="579"/>
                    <a:pt x="302" y="575"/>
                    <a:pt x="298" y="571"/>
                  </a:cubicBezTo>
                  <a:cubicBezTo>
                    <a:pt x="297" y="570"/>
                    <a:pt x="295" y="569"/>
                    <a:pt x="293" y="567"/>
                  </a:cubicBezTo>
                  <a:cubicBezTo>
                    <a:pt x="290" y="568"/>
                    <a:pt x="288" y="569"/>
                    <a:pt x="285" y="570"/>
                  </a:cubicBezTo>
                  <a:cubicBezTo>
                    <a:pt x="282" y="571"/>
                    <a:pt x="278" y="571"/>
                    <a:pt x="274" y="571"/>
                  </a:cubicBezTo>
                  <a:cubicBezTo>
                    <a:pt x="269" y="571"/>
                    <a:pt x="262" y="570"/>
                    <a:pt x="258" y="566"/>
                  </a:cubicBezTo>
                  <a:cubicBezTo>
                    <a:pt x="256" y="568"/>
                    <a:pt x="254" y="570"/>
                    <a:pt x="252" y="572"/>
                  </a:cubicBezTo>
                  <a:cubicBezTo>
                    <a:pt x="248" y="575"/>
                    <a:pt x="244" y="580"/>
                    <a:pt x="242" y="585"/>
                  </a:cubicBezTo>
                  <a:close/>
                  <a:moveTo>
                    <a:pt x="262" y="476"/>
                  </a:moveTo>
                  <a:cubicBezTo>
                    <a:pt x="262" y="476"/>
                    <a:pt x="262" y="476"/>
                    <a:pt x="262" y="476"/>
                  </a:cubicBezTo>
                  <a:cubicBezTo>
                    <a:pt x="263" y="476"/>
                    <a:pt x="263" y="476"/>
                    <a:pt x="263" y="476"/>
                  </a:cubicBezTo>
                  <a:cubicBezTo>
                    <a:pt x="265" y="473"/>
                    <a:pt x="269" y="473"/>
                    <a:pt x="273" y="473"/>
                  </a:cubicBezTo>
                  <a:cubicBezTo>
                    <a:pt x="277" y="473"/>
                    <a:pt x="281" y="473"/>
                    <a:pt x="284" y="473"/>
                  </a:cubicBezTo>
                  <a:cubicBezTo>
                    <a:pt x="285" y="469"/>
                    <a:pt x="285" y="465"/>
                    <a:pt x="285" y="462"/>
                  </a:cubicBezTo>
                  <a:cubicBezTo>
                    <a:pt x="281" y="461"/>
                    <a:pt x="276" y="461"/>
                    <a:pt x="272" y="461"/>
                  </a:cubicBezTo>
                  <a:cubicBezTo>
                    <a:pt x="268" y="461"/>
                    <a:pt x="265" y="461"/>
                    <a:pt x="261" y="461"/>
                  </a:cubicBezTo>
                  <a:cubicBezTo>
                    <a:pt x="262" y="466"/>
                    <a:pt x="262" y="471"/>
                    <a:pt x="262" y="476"/>
                  </a:cubicBezTo>
                  <a:close/>
                  <a:moveTo>
                    <a:pt x="245" y="445"/>
                  </a:moveTo>
                  <a:cubicBezTo>
                    <a:pt x="245" y="445"/>
                    <a:pt x="245" y="445"/>
                    <a:pt x="245" y="445"/>
                  </a:cubicBezTo>
                  <a:cubicBezTo>
                    <a:pt x="257" y="445"/>
                    <a:pt x="268" y="446"/>
                    <a:pt x="280" y="446"/>
                  </a:cubicBezTo>
                  <a:cubicBezTo>
                    <a:pt x="292" y="446"/>
                    <a:pt x="304" y="446"/>
                    <a:pt x="316" y="447"/>
                  </a:cubicBezTo>
                  <a:cubicBezTo>
                    <a:pt x="319" y="448"/>
                    <a:pt x="323" y="449"/>
                    <a:pt x="326" y="447"/>
                  </a:cubicBezTo>
                  <a:cubicBezTo>
                    <a:pt x="327" y="447"/>
                    <a:pt x="327" y="444"/>
                    <a:pt x="327" y="445"/>
                  </a:cubicBezTo>
                  <a:cubicBezTo>
                    <a:pt x="327" y="444"/>
                    <a:pt x="327" y="442"/>
                    <a:pt x="327" y="440"/>
                  </a:cubicBezTo>
                  <a:cubicBezTo>
                    <a:pt x="327" y="440"/>
                    <a:pt x="327" y="439"/>
                    <a:pt x="327" y="438"/>
                  </a:cubicBezTo>
                  <a:cubicBezTo>
                    <a:pt x="324" y="438"/>
                    <a:pt x="322" y="438"/>
                    <a:pt x="320" y="438"/>
                  </a:cubicBezTo>
                  <a:cubicBezTo>
                    <a:pt x="316" y="438"/>
                    <a:pt x="312" y="439"/>
                    <a:pt x="309" y="439"/>
                  </a:cubicBezTo>
                  <a:cubicBezTo>
                    <a:pt x="299" y="439"/>
                    <a:pt x="290" y="440"/>
                    <a:pt x="281" y="440"/>
                  </a:cubicBezTo>
                  <a:cubicBezTo>
                    <a:pt x="271" y="441"/>
                    <a:pt x="262" y="441"/>
                    <a:pt x="253" y="441"/>
                  </a:cubicBezTo>
                  <a:cubicBezTo>
                    <a:pt x="248" y="440"/>
                    <a:pt x="243" y="440"/>
                    <a:pt x="239" y="440"/>
                  </a:cubicBezTo>
                  <a:cubicBezTo>
                    <a:pt x="235" y="439"/>
                    <a:pt x="230" y="440"/>
                    <a:pt x="226" y="438"/>
                  </a:cubicBezTo>
                  <a:cubicBezTo>
                    <a:pt x="225" y="440"/>
                    <a:pt x="225" y="442"/>
                    <a:pt x="224" y="444"/>
                  </a:cubicBezTo>
                  <a:cubicBezTo>
                    <a:pt x="225" y="445"/>
                    <a:pt x="226" y="445"/>
                    <a:pt x="227" y="445"/>
                  </a:cubicBezTo>
                  <a:cubicBezTo>
                    <a:pt x="232" y="446"/>
                    <a:pt x="239" y="446"/>
                    <a:pt x="245" y="445"/>
                  </a:cubicBezTo>
                  <a:close/>
                  <a:moveTo>
                    <a:pt x="210" y="316"/>
                  </a:moveTo>
                  <a:cubicBezTo>
                    <a:pt x="210" y="316"/>
                    <a:pt x="210" y="316"/>
                    <a:pt x="210" y="316"/>
                  </a:cubicBezTo>
                  <a:cubicBezTo>
                    <a:pt x="210" y="315"/>
                    <a:pt x="210" y="313"/>
                    <a:pt x="210" y="311"/>
                  </a:cubicBezTo>
                  <a:cubicBezTo>
                    <a:pt x="210" y="311"/>
                    <a:pt x="210" y="310"/>
                    <a:pt x="210" y="310"/>
                  </a:cubicBezTo>
                  <a:cubicBezTo>
                    <a:pt x="207" y="304"/>
                    <a:pt x="204" y="300"/>
                    <a:pt x="200" y="296"/>
                  </a:cubicBezTo>
                  <a:cubicBezTo>
                    <a:pt x="197" y="293"/>
                    <a:pt x="195" y="291"/>
                    <a:pt x="193" y="289"/>
                  </a:cubicBezTo>
                  <a:cubicBezTo>
                    <a:pt x="192" y="289"/>
                    <a:pt x="192" y="289"/>
                    <a:pt x="192" y="289"/>
                  </a:cubicBezTo>
                  <a:cubicBezTo>
                    <a:pt x="188" y="292"/>
                    <a:pt x="184" y="295"/>
                    <a:pt x="181" y="299"/>
                  </a:cubicBezTo>
                  <a:cubicBezTo>
                    <a:pt x="186" y="299"/>
                    <a:pt x="191" y="304"/>
                    <a:pt x="195" y="308"/>
                  </a:cubicBezTo>
                  <a:cubicBezTo>
                    <a:pt x="199" y="311"/>
                    <a:pt x="202" y="316"/>
                    <a:pt x="205" y="320"/>
                  </a:cubicBezTo>
                  <a:cubicBezTo>
                    <a:pt x="207" y="319"/>
                    <a:pt x="208" y="318"/>
                    <a:pt x="210" y="316"/>
                  </a:cubicBezTo>
                  <a:close/>
                  <a:moveTo>
                    <a:pt x="193" y="351"/>
                  </a:moveTo>
                  <a:cubicBezTo>
                    <a:pt x="193" y="351"/>
                    <a:pt x="193" y="351"/>
                    <a:pt x="193" y="351"/>
                  </a:cubicBezTo>
                  <a:cubicBezTo>
                    <a:pt x="190" y="349"/>
                    <a:pt x="186" y="346"/>
                    <a:pt x="184" y="343"/>
                  </a:cubicBezTo>
                  <a:cubicBezTo>
                    <a:pt x="179" y="339"/>
                    <a:pt x="173" y="335"/>
                    <a:pt x="169" y="330"/>
                  </a:cubicBezTo>
                  <a:cubicBezTo>
                    <a:pt x="169" y="328"/>
                    <a:pt x="169" y="327"/>
                    <a:pt x="171" y="327"/>
                  </a:cubicBezTo>
                  <a:cubicBezTo>
                    <a:pt x="177" y="327"/>
                    <a:pt x="182" y="332"/>
                    <a:pt x="185" y="336"/>
                  </a:cubicBezTo>
                  <a:cubicBezTo>
                    <a:pt x="188" y="339"/>
                    <a:pt x="191" y="342"/>
                    <a:pt x="194" y="345"/>
                  </a:cubicBezTo>
                  <a:cubicBezTo>
                    <a:pt x="196" y="338"/>
                    <a:pt x="198" y="331"/>
                    <a:pt x="202" y="325"/>
                  </a:cubicBezTo>
                  <a:cubicBezTo>
                    <a:pt x="198" y="321"/>
                    <a:pt x="195" y="318"/>
                    <a:pt x="192" y="314"/>
                  </a:cubicBezTo>
                  <a:cubicBezTo>
                    <a:pt x="189" y="312"/>
                    <a:pt x="187" y="310"/>
                    <a:pt x="184" y="308"/>
                  </a:cubicBezTo>
                  <a:cubicBezTo>
                    <a:pt x="182" y="306"/>
                    <a:pt x="180" y="305"/>
                    <a:pt x="179" y="302"/>
                  </a:cubicBezTo>
                  <a:cubicBezTo>
                    <a:pt x="174" y="308"/>
                    <a:pt x="171" y="314"/>
                    <a:pt x="169" y="321"/>
                  </a:cubicBezTo>
                  <a:cubicBezTo>
                    <a:pt x="166" y="330"/>
                    <a:pt x="166" y="339"/>
                    <a:pt x="164" y="347"/>
                  </a:cubicBezTo>
                  <a:cubicBezTo>
                    <a:pt x="164" y="350"/>
                    <a:pt x="163" y="352"/>
                    <a:pt x="163" y="354"/>
                  </a:cubicBezTo>
                  <a:cubicBezTo>
                    <a:pt x="164" y="355"/>
                    <a:pt x="165" y="356"/>
                    <a:pt x="166" y="356"/>
                  </a:cubicBezTo>
                  <a:cubicBezTo>
                    <a:pt x="169" y="358"/>
                    <a:pt x="173" y="361"/>
                    <a:pt x="176" y="363"/>
                  </a:cubicBezTo>
                  <a:cubicBezTo>
                    <a:pt x="178" y="365"/>
                    <a:pt x="179" y="367"/>
                    <a:pt x="181" y="370"/>
                  </a:cubicBezTo>
                  <a:cubicBezTo>
                    <a:pt x="182" y="372"/>
                    <a:pt x="184" y="375"/>
                    <a:pt x="186" y="377"/>
                  </a:cubicBezTo>
                  <a:cubicBezTo>
                    <a:pt x="190" y="369"/>
                    <a:pt x="191" y="360"/>
                    <a:pt x="193" y="351"/>
                  </a:cubicBezTo>
                  <a:close/>
                  <a:moveTo>
                    <a:pt x="183" y="383"/>
                  </a:moveTo>
                  <a:cubicBezTo>
                    <a:pt x="183" y="383"/>
                    <a:pt x="183" y="383"/>
                    <a:pt x="183" y="383"/>
                  </a:cubicBezTo>
                  <a:cubicBezTo>
                    <a:pt x="183" y="382"/>
                    <a:pt x="184" y="381"/>
                    <a:pt x="185" y="380"/>
                  </a:cubicBezTo>
                  <a:cubicBezTo>
                    <a:pt x="180" y="378"/>
                    <a:pt x="177" y="373"/>
                    <a:pt x="174" y="370"/>
                  </a:cubicBezTo>
                  <a:cubicBezTo>
                    <a:pt x="171" y="367"/>
                    <a:pt x="168" y="365"/>
                    <a:pt x="164" y="362"/>
                  </a:cubicBezTo>
                  <a:cubicBezTo>
                    <a:pt x="163" y="362"/>
                    <a:pt x="162" y="361"/>
                    <a:pt x="161" y="360"/>
                  </a:cubicBezTo>
                  <a:cubicBezTo>
                    <a:pt x="159" y="365"/>
                    <a:pt x="156" y="369"/>
                    <a:pt x="153" y="372"/>
                  </a:cubicBezTo>
                  <a:cubicBezTo>
                    <a:pt x="153" y="372"/>
                    <a:pt x="153" y="372"/>
                    <a:pt x="153" y="372"/>
                  </a:cubicBezTo>
                  <a:cubicBezTo>
                    <a:pt x="156" y="374"/>
                    <a:pt x="159" y="378"/>
                    <a:pt x="161" y="381"/>
                  </a:cubicBezTo>
                  <a:cubicBezTo>
                    <a:pt x="164" y="386"/>
                    <a:pt x="166" y="392"/>
                    <a:pt x="168" y="397"/>
                  </a:cubicBezTo>
                  <a:cubicBezTo>
                    <a:pt x="174" y="393"/>
                    <a:pt x="179" y="388"/>
                    <a:pt x="183" y="383"/>
                  </a:cubicBezTo>
                  <a:close/>
                  <a:moveTo>
                    <a:pt x="118" y="413"/>
                  </a:moveTo>
                  <a:cubicBezTo>
                    <a:pt x="118" y="413"/>
                    <a:pt x="118" y="413"/>
                    <a:pt x="118" y="413"/>
                  </a:cubicBezTo>
                  <a:cubicBezTo>
                    <a:pt x="118" y="414"/>
                    <a:pt x="118" y="414"/>
                    <a:pt x="118" y="415"/>
                  </a:cubicBezTo>
                  <a:cubicBezTo>
                    <a:pt x="120" y="414"/>
                    <a:pt x="123" y="413"/>
                    <a:pt x="126" y="413"/>
                  </a:cubicBezTo>
                  <a:cubicBezTo>
                    <a:pt x="130" y="412"/>
                    <a:pt x="134" y="411"/>
                    <a:pt x="137" y="410"/>
                  </a:cubicBezTo>
                  <a:cubicBezTo>
                    <a:pt x="144" y="409"/>
                    <a:pt x="149" y="407"/>
                    <a:pt x="155" y="404"/>
                  </a:cubicBezTo>
                  <a:cubicBezTo>
                    <a:pt x="158" y="403"/>
                    <a:pt x="161" y="401"/>
                    <a:pt x="164" y="399"/>
                  </a:cubicBezTo>
                  <a:cubicBezTo>
                    <a:pt x="162" y="395"/>
                    <a:pt x="159" y="391"/>
                    <a:pt x="157" y="386"/>
                  </a:cubicBezTo>
                  <a:cubicBezTo>
                    <a:pt x="155" y="383"/>
                    <a:pt x="151" y="380"/>
                    <a:pt x="149" y="376"/>
                  </a:cubicBezTo>
                  <a:cubicBezTo>
                    <a:pt x="145" y="379"/>
                    <a:pt x="141" y="381"/>
                    <a:pt x="137" y="383"/>
                  </a:cubicBezTo>
                  <a:cubicBezTo>
                    <a:pt x="137" y="384"/>
                    <a:pt x="137" y="385"/>
                    <a:pt x="137" y="385"/>
                  </a:cubicBezTo>
                  <a:cubicBezTo>
                    <a:pt x="140" y="392"/>
                    <a:pt x="141" y="398"/>
                    <a:pt x="143" y="404"/>
                  </a:cubicBezTo>
                  <a:cubicBezTo>
                    <a:pt x="144" y="407"/>
                    <a:pt x="139" y="409"/>
                    <a:pt x="138" y="407"/>
                  </a:cubicBezTo>
                  <a:cubicBezTo>
                    <a:pt x="135" y="402"/>
                    <a:pt x="134" y="396"/>
                    <a:pt x="132" y="391"/>
                  </a:cubicBezTo>
                  <a:cubicBezTo>
                    <a:pt x="131" y="389"/>
                    <a:pt x="131" y="387"/>
                    <a:pt x="130" y="385"/>
                  </a:cubicBezTo>
                  <a:cubicBezTo>
                    <a:pt x="125" y="387"/>
                    <a:pt x="118" y="389"/>
                    <a:pt x="112" y="388"/>
                  </a:cubicBezTo>
                  <a:cubicBezTo>
                    <a:pt x="113" y="389"/>
                    <a:pt x="113" y="389"/>
                    <a:pt x="113" y="389"/>
                  </a:cubicBezTo>
                  <a:cubicBezTo>
                    <a:pt x="116" y="397"/>
                    <a:pt x="117" y="405"/>
                    <a:pt x="118" y="413"/>
                  </a:cubicBezTo>
                  <a:close/>
                  <a:moveTo>
                    <a:pt x="104" y="429"/>
                  </a:moveTo>
                  <a:cubicBezTo>
                    <a:pt x="104" y="429"/>
                    <a:pt x="104" y="429"/>
                    <a:pt x="104" y="429"/>
                  </a:cubicBezTo>
                  <a:cubicBezTo>
                    <a:pt x="104" y="429"/>
                    <a:pt x="105" y="428"/>
                    <a:pt x="105" y="426"/>
                  </a:cubicBezTo>
                  <a:cubicBezTo>
                    <a:pt x="106" y="423"/>
                    <a:pt x="105" y="417"/>
                    <a:pt x="105" y="413"/>
                  </a:cubicBezTo>
                  <a:cubicBezTo>
                    <a:pt x="104" y="407"/>
                    <a:pt x="103" y="400"/>
                    <a:pt x="101" y="394"/>
                  </a:cubicBezTo>
                  <a:cubicBezTo>
                    <a:pt x="101" y="392"/>
                    <a:pt x="100" y="390"/>
                    <a:pt x="100" y="388"/>
                  </a:cubicBezTo>
                  <a:cubicBezTo>
                    <a:pt x="97" y="384"/>
                    <a:pt x="96" y="379"/>
                    <a:pt x="94" y="375"/>
                  </a:cubicBezTo>
                  <a:cubicBezTo>
                    <a:pt x="94" y="376"/>
                    <a:pt x="93" y="376"/>
                    <a:pt x="93" y="376"/>
                  </a:cubicBezTo>
                  <a:cubicBezTo>
                    <a:pt x="92" y="378"/>
                    <a:pt x="91" y="380"/>
                    <a:pt x="91" y="382"/>
                  </a:cubicBezTo>
                  <a:cubicBezTo>
                    <a:pt x="91" y="389"/>
                    <a:pt x="94" y="396"/>
                    <a:pt x="96" y="403"/>
                  </a:cubicBezTo>
                  <a:cubicBezTo>
                    <a:pt x="98" y="411"/>
                    <a:pt x="99" y="419"/>
                    <a:pt x="102" y="427"/>
                  </a:cubicBezTo>
                  <a:cubicBezTo>
                    <a:pt x="102" y="428"/>
                    <a:pt x="102" y="429"/>
                    <a:pt x="102" y="430"/>
                  </a:cubicBezTo>
                  <a:cubicBezTo>
                    <a:pt x="103" y="429"/>
                    <a:pt x="103" y="429"/>
                    <a:pt x="104" y="429"/>
                  </a:cubicBezTo>
                  <a:close/>
                  <a:moveTo>
                    <a:pt x="80" y="441"/>
                  </a:moveTo>
                  <a:cubicBezTo>
                    <a:pt x="80" y="441"/>
                    <a:pt x="80" y="441"/>
                    <a:pt x="80" y="441"/>
                  </a:cubicBezTo>
                  <a:cubicBezTo>
                    <a:pt x="83" y="440"/>
                    <a:pt x="85" y="437"/>
                    <a:pt x="87" y="434"/>
                  </a:cubicBezTo>
                  <a:cubicBezTo>
                    <a:pt x="87" y="432"/>
                    <a:pt x="88" y="429"/>
                    <a:pt x="88" y="427"/>
                  </a:cubicBezTo>
                  <a:cubicBezTo>
                    <a:pt x="87" y="424"/>
                    <a:pt x="87" y="421"/>
                    <a:pt x="86" y="419"/>
                  </a:cubicBezTo>
                  <a:cubicBezTo>
                    <a:pt x="85" y="412"/>
                    <a:pt x="83" y="406"/>
                    <a:pt x="81" y="399"/>
                  </a:cubicBezTo>
                  <a:cubicBezTo>
                    <a:pt x="80" y="397"/>
                    <a:pt x="80" y="394"/>
                    <a:pt x="79" y="392"/>
                  </a:cubicBezTo>
                  <a:cubicBezTo>
                    <a:pt x="77" y="391"/>
                    <a:pt x="76" y="390"/>
                    <a:pt x="74" y="389"/>
                  </a:cubicBezTo>
                  <a:cubicBezTo>
                    <a:pt x="71" y="387"/>
                    <a:pt x="68" y="386"/>
                    <a:pt x="64" y="385"/>
                  </a:cubicBezTo>
                  <a:cubicBezTo>
                    <a:pt x="59" y="385"/>
                    <a:pt x="55" y="384"/>
                    <a:pt x="50" y="385"/>
                  </a:cubicBezTo>
                  <a:cubicBezTo>
                    <a:pt x="48" y="385"/>
                    <a:pt x="45" y="387"/>
                    <a:pt x="42" y="387"/>
                  </a:cubicBezTo>
                  <a:cubicBezTo>
                    <a:pt x="42" y="394"/>
                    <a:pt x="44" y="401"/>
                    <a:pt x="44" y="408"/>
                  </a:cubicBezTo>
                  <a:cubicBezTo>
                    <a:pt x="45" y="416"/>
                    <a:pt x="47" y="423"/>
                    <a:pt x="50" y="431"/>
                  </a:cubicBezTo>
                  <a:cubicBezTo>
                    <a:pt x="51" y="435"/>
                    <a:pt x="51" y="439"/>
                    <a:pt x="52" y="442"/>
                  </a:cubicBezTo>
                  <a:cubicBezTo>
                    <a:pt x="53" y="443"/>
                    <a:pt x="53" y="444"/>
                    <a:pt x="53" y="445"/>
                  </a:cubicBezTo>
                  <a:cubicBezTo>
                    <a:pt x="62" y="444"/>
                    <a:pt x="71" y="443"/>
                    <a:pt x="80" y="44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islîḋe"/>
            <p:cNvSpPr/>
            <p:nvPr/>
          </p:nvSpPr>
          <p:spPr bwMode="auto">
            <a:xfrm>
              <a:off x="6616196" y="3674424"/>
              <a:ext cx="77914" cy="169375"/>
            </a:xfrm>
            <a:custGeom>
              <a:avLst/>
              <a:gdLst>
                <a:gd name="T0" fmla="*/ 0 w 11"/>
                <a:gd name="T1" fmla="*/ 18 h 24"/>
                <a:gd name="T2" fmla="*/ 2 w 11"/>
                <a:gd name="T3" fmla="*/ 2 h 24"/>
                <a:gd name="T4" fmla="*/ 9 w 11"/>
                <a:gd name="T5" fmla="*/ 2 h 24"/>
                <a:gd name="T6" fmla="*/ 10 w 11"/>
                <a:gd name="T7" fmla="*/ 18 h 24"/>
                <a:gd name="T8" fmla="*/ 0 w 11"/>
                <a:gd name="T9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4">
                  <a:moveTo>
                    <a:pt x="0" y="18"/>
                  </a:moveTo>
                  <a:cubicBezTo>
                    <a:pt x="0" y="13"/>
                    <a:pt x="0" y="7"/>
                    <a:pt x="2" y="2"/>
                  </a:cubicBezTo>
                  <a:cubicBezTo>
                    <a:pt x="3" y="0"/>
                    <a:pt x="8" y="0"/>
                    <a:pt x="9" y="2"/>
                  </a:cubicBezTo>
                  <a:cubicBezTo>
                    <a:pt x="11" y="7"/>
                    <a:pt x="11" y="13"/>
                    <a:pt x="10" y="18"/>
                  </a:cubicBezTo>
                  <a:cubicBezTo>
                    <a:pt x="10" y="24"/>
                    <a:pt x="1" y="24"/>
                    <a:pt x="0" y="1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ïṧlïḍé"/>
            <p:cNvSpPr/>
            <p:nvPr/>
          </p:nvSpPr>
          <p:spPr bwMode="auto">
            <a:xfrm>
              <a:off x="6517959" y="3681199"/>
              <a:ext cx="84689" cy="138889"/>
            </a:xfrm>
            <a:custGeom>
              <a:avLst/>
              <a:gdLst>
                <a:gd name="T0" fmla="*/ 8 w 12"/>
                <a:gd name="T1" fmla="*/ 19 h 20"/>
                <a:gd name="T2" fmla="*/ 3 w 12"/>
                <a:gd name="T3" fmla="*/ 19 h 20"/>
                <a:gd name="T4" fmla="*/ 1 w 12"/>
                <a:gd name="T5" fmla="*/ 9 h 20"/>
                <a:gd name="T6" fmla="*/ 7 w 12"/>
                <a:gd name="T7" fmla="*/ 0 h 20"/>
                <a:gd name="T8" fmla="*/ 11 w 12"/>
                <a:gd name="T9" fmla="*/ 3 h 20"/>
                <a:gd name="T10" fmla="*/ 11 w 12"/>
                <a:gd name="T11" fmla="*/ 10 h 20"/>
                <a:gd name="T12" fmla="*/ 8 w 12"/>
                <a:gd name="T13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0">
                  <a:moveTo>
                    <a:pt x="8" y="19"/>
                  </a:moveTo>
                  <a:cubicBezTo>
                    <a:pt x="7" y="20"/>
                    <a:pt x="4" y="20"/>
                    <a:pt x="3" y="19"/>
                  </a:cubicBezTo>
                  <a:cubicBezTo>
                    <a:pt x="0" y="16"/>
                    <a:pt x="1" y="12"/>
                    <a:pt x="1" y="9"/>
                  </a:cubicBezTo>
                  <a:cubicBezTo>
                    <a:pt x="2" y="5"/>
                    <a:pt x="3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cubicBezTo>
                    <a:pt x="12" y="5"/>
                    <a:pt x="11" y="8"/>
                    <a:pt x="11" y="10"/>
                  </a:cubicBezTo>
                  <a:cubicBezTo>
                    <a:pt x="11" y="14"/>
                    <a:pt x="11" y="17"/>
                    <a:pt x="8" y="1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şḷíḑè"/>
            <p:cNvSpPr/>
            <p:nvPr/>
          </p:nvSpPr>
          <p:spPr bwMode="auto">
            <a:xfrm>
              <a:off x="6419720" y="3667649"/>
              <a:ext cx="84689" cy="165989"/>
            </a:xfrm>
            <a:custGeom>
              <a:avLst/>
              <a:gdLst>
                <a:gd name="T0" fmla="*/ 1 w 12"/>
                <a:gd name="T1" fmla="*/ 20 h 24"/>
                <a:gd name="T2" fmla="*/ 4 w 12"/>
                <a:gd name="T3" fmla="*/ 2 h 24"/>
                <a:gd name="T4" fmla="*/ 10 w 12"/>
                <a:gd name="T5" fmla="*/ 2 h 24"/>
                <a:gd name="T6" fmla="*/ 10 w 12"/>
                <a:gd name="T7" fmla="*/ 20 h 24"/>
                <a:gd name="T8" fmla="*/ 1 w 12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1" y="20"/>
                  </a:moveTo>
                  <a:cubicBezTo>
                    <a:pt x="0" y="14"/>
                    <a:pt x="1" y="7"/>
                    <a:pt x="4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2" y="7"/>
                    <a:pt x="11" y="14"/>
                    <a:pt x="10" y="20"/>
                  </a:cubicBezTo>
                  <a:cubicBezTo>
                    <a:pt x="8" y="23"/>
                    <a:pt x="3" y="24"/>
                    <a:pt x="1" y="2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ṧlîďe"/>
            <p:cNvSpPr/>
            <p:nvPr/>
          </p:nvSpPr>
          <p:spPr bwMode="auto">
            <a:xfrm>
              <a:off x="6419720" y="3667649"/>
              <a:ext cx="84689" cy="165989"/>
            </a:xfrm>
            <a:custGeom>
              <a:avLst/>
              <a:gdLst>
                <a:gd name="T0" fmla="*/ 1 w 12"/>
                <a:gd name="T1" fmla="*/ 20 h 24"/>
                <a:gd name="T2" fmla="*/ 4 w 12"/>
                <a:gd name="T3" fmla="*/ 2 h 24"/>
                <a:gd name="T4" fmla="*/ 10 w 12"/>
                <a:gd name="T5" fmla="*/ 2 h 24"/>
                <a:gd name="T6" fmla="*/ 10 w 12"/>
                <a:gd name="T7" fmla="*/ 20 h 24"/>
                <a:gd name="T8" fmla="*/ 1 w 12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1" y="20"/>
                  </a:moveTo>
                  <a:cubicBezTo>
                    <a:pt x="0" y="14"/>
                    <a:pt x="1" y="7"/>
                    <a:pt x="4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2" y="7"/>
                    <a:pt x="11" y="14"/>
                    <a:pt x="10" y="20"/>
                  </a:cubicBezTo>
                  <a:cubicBezTo>
                    <a:pt x="8" y="23"/>
                    <a:pt x="3" y="24"/>
                    <a:pt x="1" y="2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i$ľïḓé"/>
            <p:cNvSpPr/>
            <p:nvPr/>
          </p:nvSpPr>
          <p:spPr bwMode="auto">
            <a:xfrm>
              <a:off x="6517959" y="3681199"/>
              <a:ext cx="84689" cy="138889"/>
            </a:xfrm>
            <a:custGeom>
              <a:avLst/>
              <a:gdLst>
                <a:gd name="T0" fmla="*/ 8 w 12"/>
                <a:gd name="T1" fmla="*/ 19 h 20"/>
                <a:gd name="T2" fmla="*/ 3 w 12"/>
                <a:gd name="T3" fmla="*/ 19 h 20"/>
                <a:gd name="T4" fmla="*/ 1 w 12"/>
                <a:gd name="T5" fmla="*/ 9 h 20"/>
                <a:gd name="T6" fmla="*/ 7 w 12"/>
                <a:gd name="T7" fmla="*/ 0 h 20"/>
                <a:gd name="T8" fmla="*/ 11 w 12"/>
                <a:gd name="T9" fmla="*/ 3 h 20"/>
                <a:gd name="T10" fmla="*/ 11 w 12"/>
                <a:gd name="T11" fmla="*/ 10 h 20"/>
                <a:gd name="T12" fmla="*/ 8 w 12"/>
                <a:gd name="T13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0">
                  <a:moveTo>
                    <a:pt x="8" y="19"/>
                  </a:moveTo>
                  <a:cubicBezTo>
                    <a:pt x="7" y="20"/>
                    <a:pt x="4" y="20"/>
                    <a:pt x="3" y="19"/>
                  </a:cubicBezTo>
                  <a:cubicBezTo>
                    <a:pt x="0" y="16"/>
                    <a:pt x="1" y="12"/>
                    <a:pt x="1" y="9"/>
                  </a:cubicBezTo>
                  <a:cubicBezTo>
                    <a:pt x="2" y="5"/>
                    <a:pt x="3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cubicBezTo>
                    <a:pt x="12" y="5"/>
                    <a:pt x="11" y="8"/>
                    <a:pt x="11" y="10"/>
                  </a:cubicBezTo>
                  <a:cubicBezTo>
                    <a:pt x="11" y="14"/>
                    <a:pt x="11" y="17"/>
                    <a:pt x="8" y="19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îšlîďê"/>
            <p:cNvSpPr/>
            <p:nvPr/>
          </p:nvSpPr>
          <p:spPr bwMode="auto">
            <a:xfrm>
              <a:off x="6616196" y="3674424"/>
              <a:ext cx="77914" cy="169375"/>
            </a:xfrm>
            <a:custGeom>
              <a:avLst/>
              <a:gdLst>
                <a:gd name="T0" fmla="*/ 0 w 11"/>
                <a:gd name="T1" fmla="*/ 18 h 24"/>
                <a:gd name="T2" fmla="*/ 2 w 11"/>
                <a:gd name="T3" fmla="*/ 2 h 24"/>
                <a:gd name="T4" fmla="*/ 9 w 11"/>
                <a:gd name="T5" fmla="*/ 2 h 24"/>
                <a:gd name="T6" fmla="*/ 10 w 11"/>
                <a:gd name="T7" fmla="*/ 18 h 24"/>
                <a:gd name="T8" fmla="*/ 0 w 11"/>
                <a:gd name="T9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4">
                  <a:moveTo>
                    <a:pt x="0" y="18"/>
                  </a:moveTo>
                  <a:cubicBezTo>
                    <a:pt x="0" y="13"/>
                    <a:pt x="0" y="7"/>
                    <a:pt x="2" y="2"/>
                  </a:cubicBezTo>
                  <a:cubicBezTo>
                    <a:pt x="3" y="0"/>
                    <a:pt x="8" y="0"/>
                    <a:pt x="9" y="2"/>
                  </a:cubicBezTo>
                  <a:cubicBezTo>
                    <a:pt x="11" y="7"/>
                    <a:pt x="11" y="13"/>
                    <a:pt x="10" y="18"/>
                  </a:cubicBezTo>
                  <a:cubicBezTo>
                    <a:pt x="10" y="24"/>
                    <a:pt x="1" y="24"/>
                    <a:pt x="0" y="18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ṧļiḓè"/>
            <p:cNvSpPr/>
            <p:nvPr/>
          </p:nvSpPr>
          <p:spPr bwMode="auto">
            <a:xfrm>
              <a:off x="6968496" y="4863441"/>
              <a:ext cx="464090" cy="399726"/>
            </a:xfrm>
            <a:custGeom>
              <a:avLst/>
              <a:gdLst>
                <a:gd name="T0" fmla="*/ 0 w 66"/>
                <a:gd name="T1" fmla="*/ 24 h 57"/>
                <a:gd name="T2" fmla="*/ 0 w 66"/>
                <a:gd name="T3" fmla="*/ 24 h 57"/>
                <a:gd name="T4" fmla="*/ 0 w 66"/>
                <a:gd name="T5" fmla="*/ 24 h 57"/>
                <a:gd name="T6" fmla="*/ 6 w 66"/>
                <a:gd name="T7" fmla="*/ 30 h 57"/>
                <a:gd name="T8" fmla="*/ 22 w 66"/>
                <a:gd name="T9" fmla="*/ 40 h 57"/>
                <a:gd name="T10" fmla="*/ 46 w 66"/>
                <a:gd name="T11" fmla="*/ 50 h 57"/>
                <a:gd name="T12" fmla="*/ 57 w 66"/>
                <a:gd name="T13" fmla="*/ 54 h 57"/>
                <a:gd name="T14" fmla="*/ 63 w 66"/>
                <a:gd name="T15" fmla="*/ 57 h 57"/>
                <a:gd name="T16" fmla="*/ 63 w 66"/>
                <a:gd name="T17" fmla="*/ 56 h 57"/>
                <a:gd name="T18" fmla="*/ 65 w 66"/>
                <a:gd name="T19" fmla="*/ 50 h 57"/>
                <a:gd name="T20" fmla="*/ 66 w 66"/>
                <a:gd name="T21" fmla="*/ 36 h 57"/>
                <a:gd name="T22" fmla="*/ 64 w 66"/>
                <a:gd name="T23" fmla="*/ 27 h 57"/>
                <a:gd name="T24" fmla="*/ 62 w 66"/>
                <a:gd name="T25" fmla="*/ 18 h 57"/>
                <a:gd name="T26" fmla="*/ 46 w 66"/>
                <a:gd name="T27" fmla="*/ 10 h 57"/>
                <a:gd name="T28" fmla="*/ 28 w 66"/>
                <a:gd name="T29" fmla="*/ 1 h 57"/>
                <a:gd name="T30" fmla="*/ 25 w 66"/>
                <a:gd name="T31" fmla="*/ 0 h 57"/>
                <a:gd name="T32" fmla="*/ 10 w 66"/>
                <a:gd name="T33" fmla="*/ 9 h 57"/>
                <a:gd name="T34" fmla="*/ 0 w 66"/>
                <a:gd name="T35" fmla="*/ 2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7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" y="26"/>
                    <a:pt x="4" y="28"/>
                    <a:pt x="6" y="30"/>
                  </a:cubicBezTo>
                  <a:cubicBezTo>
                    <a:pt x="11" y="33"/>
                    <a:pt x="17" y="37"/>
                    <a:pt x="22" y="40"/>
                  </a:cubicBezTo>
                  <a:cubicBezTo>
                    <a:pt x="29" y="44"/>
                    <a:pt x="37" y="47"/>
                    <a:pt x="46" y="50"/>
                  </a:cubicBezTo>
                  <a:cubicBezTo>
                    <a:pt x="49" y="51"/>
                    <a:pt x="53" y="53"/>
                    <a:pt x="57" y="54"/>
                  </a:cubicBezTo>
                  <a:cubicBezTo>
                    <a:pt x="59" y="55"/>
                    <a:pt x="61" y="56"/>
                    <a:pt x="63" y="57"/>
                  </a:cubicBezTo>
                  <a:cubicBezTo>
                    <a:pt x="63" y="57"/>
                    <a:pt x="63" y="57"/>
                    <a:pt x="63" y="56"/>
                  </a:cubicBezTo>
                  <a:cubicBezTo>
                    <a:pt x="64" y="54"/>
                    <a:pt x="65" y="52"/>
                    <a:pt x="65" y="50"/>
                  </a:cubicBezTo>
                  <a:cubicBezTo>
                    <a:pt x="66" y="45"/>
                    <a:pt x="66" y="40"/>
                    <a:pt x="66" y="36"/>
                  </a:cubicBezTo>
                  <a:cubicBezTo>
                    <a:pt x="66" y="32"/>
                    <a:pt x="65" y="29"/>
                    <a:pt x="64" y="27"/>
                  </a:cubicBezTo>
                  <a:cubicBezTo>
                    <a:pt x="63" y="24"/>
                    <a:pt x="62" y="20"/>
                    <a:pt x="62" y="18"/>
                  </a:cubicBezTo>
                  <a:cubicBezTo>
                    <a:pt x="56" y="15"/>
                    <a:pt x="51" y="12"/>
                    <a:pt x="46" y="10"/>
                  </a:cubicBezTo>
                  <a:cubicBezTo>
                    <a:pt x="40" y="7"/>
                    <a:pt x="34" y="3"/>
                    <a:pt x="28" y="1"/>
                  </a:cubicBezTo>
                  <a:cubicBezTo>
                    <a:pt x="27" y="0"/>
                    <a:pt x="26" y="0"/>
                    <a:pt x="25" y="0"/>
                  </a:cubicBezTo>
                  <a:cubicBezTo>
                    <a:pt x="20" y="3"/>
                    <a:pt x="14" y="5"/>
                    <a:pt x="10" y="9"/>
                  </a:cubicBezTo>
                  <a:cubicBezTo>
                    <a:pt x="5" y="13"/>
                    <a:pt x="2" y="18"/>
                    <a:pt x="0" y="24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îsḻïďé"/>
            <p:cNvSpPr/>
            <p:nvPr/>
          </p:nvSpPr>
          <p:spPr bwMode="auto">
            <a:xfrm>
              <a:off x="6968496" y="4863441"/>
              <a:ext cx="240514" cy="250676"/>
            </a:xfrm>
            <a:custGeom>
              <a:avLst/>
              <a:gdLst>
                <a:gd name="T0" fmla="*/ 0 w 34"/>
                <a:gd name="T1" fmla="*/ 24 h 36"/>
                <a:gd name="T2" fmla="*/ 0 w 34"/>
                <a:gd name="T3" fmla="*/ 24 h 36"/>
                <a:gd name="T4" fmla="*/ 0 w 34"/>
                <a:gd name="T5" fmla="*/ 24 h 36"/>
                <a:gd name="T6" fmla="*/ 6 w 34"/>
                <a:gd name="T7" fmla="*/ 30 h 36"/>
                <a:gd name="T8" fmla="*/ 14 w 34"/>
                <a:gd name="T9" fmla="*/ 36 h 36"/>
                <a:gd name="T10" fmla="*/ 34 w 34"/>
                <a:gd name="T11" fmla="*/ 3 h 36"/>
                <a:gd name="T12" fmla="*/ 28 w 34"/>
                <a:gd name="T13" fmla="*/ 1 h 36"/>
                <a:gd name="T14" fmla="*/ 25 w 34"/>
                <a:gd name="T15" fmla="*/ 0 h 36"/>
                <a:gd name="T16" fmla="*/ 10 w 34"/>
                <a:gd name="T17" fmla="*/ 9 h 36"/>
                <a:gd name="T18" fmla="*/ 0 w 34"/>
                <a:gd name="T1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6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" y="26"/>
                    <a:pt x="4" y="28"/>
                    <a:pt x="6" y="30"/>
                  </a:cubicBezTo>
                  <a:cubicBezTo>
                    <a:pt x="9" y="32"/>
                    <a:pt x="11" y="34"/>
                    <a:pt x="14" y="36"/>
                  </a:cubicBezTo>
                  <a:cubicBezTo>
                    <a:pt x="17" y="20"/>
                    <a:pt x="28" y="10"/>
                    <a:pt x="34" y="3"/>
                  </a:cubicBezTo>
                  <a:cubicBezTo>
                    <a:pt x="32" y="2"/>
                    <a:pt x="30" y="2"/>
                    <a:pt x="28" y="1"/>
                  </a:cubicBezTo>
                  <a:cubicBezTo>
                    <a:pt x="27" y="0"/>
                    <a:pt x="26" y="0"/>
                    <a:pt x="25" y="0"/>
                  </a:cubicBezTo>
                  <a:cubicBezTo>
                    <a:pt x="20" y="3"/>
                    <a:pt x="14" y="5"/>
                    <a:pt x="10" y="9"/>
                  </a:cubicBezTo>
                  <a:cubicBezTo>
                    <a:pt x="5" y="13"/>
                    <a:pt x="2" y="18"/>
                    <a:pt x="0" y="24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iş1íďê"/>
            <p:cNvSpPr/>
            <p:nvPr/>
          </p:nvSpPr>
          <p:spPr bwMode="auto">
            <a:xfrm>
              <a:off x="6097908" y="5347853"/>
              <a:ext cx="542001" cy="287939"/>
            </a:xfrm>
            <a:custGeom>
              <a:avLst/>
              <a:gdLst>
                <a:gd name="T0" fmla="*/ 3 w 77"/>
                <a:gd name="T1" fmla="*/ 19 h 41"/>
                <a:gd name="T2" fmla="*/ 3 w 77"/>
                <a:gd name="T3" fmla="*/ 19 h 41"/>
                <a:gd name="T4" fmla="*/ 0 w 77"/>
                <a:gd name="T5" fmla="*/ 34 h 41"/>
                <a:gd name="T6" fmla="*/ 0 w 77"/>
                <a:gd name="T7" fmla="*/ 35 h 41"/>
                <a:gd name="T8" fmla="*/ 1 w 77"/>
                <a:gd name="T9" fmla="*/ 36 h 41"/>
                <a:gd name="T10" fmla="*/ 5 w 77"/>
                <a:gd name="T11" fmla="*/ 38 h 41"/>
                <a:gd name="T12" fmla="*/ 9 w 77"/>
                <a:gd name="T13" fmla="*/ 37 h 41"/>
                <a:gd name="T14" fmla="*/ 21 w 77"/>
                <a:gd name="T15" fmla="*/ 37 h 41"/>
                <a:gd name="T16" fmla="*/ 41 w 77"/>
                <a:gd name="T17" fmla="*/ 37 h 41"/>
                <a:gd name="T18" fmla="*/ 73 w 77"/>
                <a:gd name="T19" fmla="*/ 38 h 41"/>
                <a:gd name="T20" fmla="*/ 76 w 77"/>
                <a:gd name="T21" fmla="*/ 32 h 41"/>
                <a:gd name="T22" fmla="*/ 70 w 77"/>
                <a:gd name="T23" fmla="*/ 17 h 41"/>
                <a:gd name="T24" fmla="*/ 59 w 77"/>
                <a:gd name="T25" fmla="*/ 5 h 41"/>
                <a:gd name="T26" fmla="*/ 54 w 77"/>
                <a:gd name="T27" fmla="*/ 1 h 41"/>
                <a:gd name="T28" fmla="*/ 46 w 77"/>
                <a:gd name="T29" fmla="*/ 4 h 41"/>
                <a:gd name="T30" fmla="*/ 35 w 77"/>
                <a:gd name="T31" fmla="*/ 5 h 41"/>
                <a:gd name="T32" fmla="*/ 19 w 77"/>
                <a:gd name="T33" fmla="*/ 0 h 41"/>
                <a:gd name="T34" fmla="*/ 13 w 77"/>
                <a:gd name="T35" fmla="*/ 6 h 41"/>
                <a:gd name="T36" fmla="*/ 3 w 77"/>
                <a:gd name="T37" fmla="*/ 1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41">
                  <a:moveTo>
                    <a:pt x="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23"/>
                    <a:pt x="0" y="29"/>
                    <a:pt x="0" y="34"/>
                  </a:cubicBezTo>
                  <a:cubicBezTo>
                    <a:pt x="0" y="33"/>
                    <a:pt x="0" y="34"/>
                    <a:pt x="0" y="35"/>
                  </a:cubicBezTo>
                  <a:cubicBezTo>
                    <a:pt x="1" y="35"/>
                    <a:pt x="1" y="36"/>
                    <a:pt x="1" y="36"/>
                  </a:cubicBezTo>
                  <a:cubicBezTo>
                    <a:pt x="3" y="36"/>
                    <a:pt x="4" y="37"/>
                    <a:pt x="5" y="38"/>
                  </a:cubicBezTo>
                  <a:cubicBezTo>
                    <a:pt x="6" y="38"/>
                    <a:pt x="7" y="37"/>
                    <a:pt x="9" y="37"/>
                  </a:cubicBezTo>
                  <a:cubicBezTo>
                    <a:pt x="12" y="37"/>
                    <a:pt x="16" y="37"/>
                    <a:pt x="21" y="37"/>
                  </a:cubicBezTo>
                  <a:cubicBezTo>
                    <a:pt x="27" y="37"/>
                    <a:pt x="34" y="37"/>
                    <a:pt x="41" y="37"/>
                  </a:cubicBezTo>
                  <a:cubicBezTo>
                    <a:pt x="52" y="38"/>
                    <a:pt x="63" y="41"/>
                    <a:pt x="73" y="38"/>
                  </a:cubicBezTo>
                  <a:cubicBezTo>
                    <a:pt x="76" y="37"/>
                    <a:pt x="77" y="36"/>
                    <a:pt x="76" y="32"/>
                  </a:cubicBezTo>
                  <a:cubicBezTo>
                    <a:pt x="75" y="27"/>
                    <a:pt x="73" y="22"/>
                    <a:pt x="70" y="17"/>
                  </a:cubicBezTo>
                  <a:cubicBezTo>
                    <a:pt x="67" y="13"/>
                    <a:pt x="63" y="9"/>
                    <a:pt x="59" y="5"/>
                  </a:cubicBezTo>
                  <a:cubicBezTo>
                    <a:pt x="58" y="4"/>
                    <a:pt x="56" y="3"/>
                    <a:pt x="54" y="1"/>
                  </a:cubicBezTo>
                  <a:cubicBezTo>
                    <a:pt x="51" y="2"/>
                    <a:pt x="49" y="3"/>
                    <a:pt x="46" y="4"/>
                  </a:cubicBezTo>
                  <a:cubicBezTo>
                    <a:pt x="43" y="5"/>
                    <a:pt x="39" y="5"/>
                    <a:pt x="35" y="5"/>
                  </a:cubicBezTo>
                  <a:cubicBezTo>
                    <a:pt x="30" y="5"/>
                    <a:pt x="23" y="4"/>
                    <a:pt x="19" y="0"/>
                  </a:cubicBezTo>
                  <a:cubicBezTo>
                    <a:pt x="17" y="2"/>
                    <a:pt x="15" y="4"/>
                    <a:pt x="13" y="6"/>
                  </a:cubicBezTo>
                  <a:cubicBezTo>
                    <a:pt x="9" y="9"/>
                    <a:pt x="5" y="14"/>
                    <a:pt x="3" y="19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îṥliḑe"/>
            <p:cNvSpPr/>
            <p:nvPr/>
          </p:nvSpPr>
          <p:spPr bwMode="auto">
            <a:xfrm>
              <a:off x="6341808" y="5354628"/>
              <a:ext cx="298101" cy="281164"/>
            </a:xfrm>
            <a:custGeom>
              <a:avLst/>
              <a:gdLst>
                <a:gd name="T0" fmla="*/ 6 w 42"/>
                <a:gd name="T1" fmla="*/ 36 h 40"/>
                <a:gd name="T2" fmla="*/ 38 w 42"/>
                <a:gd name="T3" fmla="*/ 37 h 40"/>
                <a:gd name="T4" fmla="*/ 41 w 42"/>
                <a:gd name="T5" fmla="*/ 31 h 40"/>
                <a:gd name="T6" fmla="*/ 35 w 42"/>
                <a:gd name="T7" fmla="*/ 16 h 40"/>
                <a:gd name="T8" fmla="*/ 24 w 42"/>
                <a:gd name="T9" fmla="*/ 4 h 40"/>
                <a:gd name="T10" fmla="*/ 19 w 42"/>
                <a:gd name="T11" fmla="*/ 0 h 40"/>
                <a:gd name="T12" fmla="*/ 11 w 42"/>
                <a:gd name="T13" fmla="*/ 3 h 40"/>
                <a:gd name="T14" fmla="*/ 0 w 42"/>
                <a:gd name="T15" fmla="*/ 4 h 40"/>
                <a:gd name="T16" fmla="*/ 6 w 42"/>
                <a:gd name="T17" fmla="*/ 3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40">
                  <a:moveTo>
                    <a:pt x="6" y="36"/>
                  </a:moveTo>
                  <a:cubicBezTo>
                    <a:pt x="17" y="37"/>
                    <a:pt x="28" y="40"/>
                    <a:pt x="38" y="37"/>
                  </a:cubicBezTo>
                  <a:cubicBezTo>
                    <a:pt x="41" y="36"/>
                    <a:pt x="42" y="35"/>
                    <a:pt x="41" y="31"/>
                  </a:cubicBezTo>
                  <a:cubicBezTo>
                    <a:pt x="40" y="26"/>
                    <a:pt x="38" y="21"/>
                    <a:pt x="35" y="16"/>
                  </a:cubicBezTo>
                  <a:cubicBezTo>
                    <a:pt x="32" y="12"/>
                    <a:pt x="28" y="8"/>
                    <a:pt x="24" y="4"/>
                  </a:cubicBezTo>
                  <a:cubicBezTo>
                    <a:pt x="23" y="3"/>
                    <a:pt x="21" y="2"/>
                    <a:pt x="19" y="0"/>
                  </a:cubicBezTo>
                  <a:cubicBezTo>
                    <a:pt x="16" y="1"/>
                    <a:pt x="14" y="2"/>
                    <a:pt x="11" y="3"/>
                  </a:cubicBezTo>
                  <a:cubicBezTo>
                    <a:pt x="8" y="4"/>
                    <a:pt x="4" y="4"/>
                    <a:pt x="0" y="4"/>
                  </a:cubicBezTo>
                  <a:cubicBezTo>
                    <a:pt x="0" y="4"/>
                    <a:pt x="13" y="12"/>
                    <a:pt x="6" y="36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š1ídé"/>
            <p:cNvSpPr/>
            <p:nvPr/>
          </p:nvSpPr>
          <p:spPr bwMode="auto">
            <a:xfrm>
              <a:off x="4709029" y="4067375"/>
              <a:ext cx="325201" cy="430214"/>
            </a:xfrm>
            <a:custGeom>
              <a:avLst/>
              <a:gdLst>
                <a:gd name="T0" fmla="*/ 38 w 46"/>
                <a:gd name="T1" fmla="*/ 57 h 61"/>
                <a:gd name="T2" fmla="*/ 38 w 46"/>
                <a:gd name="T3" fmla="*/ 57 h 61"/>
                <a:gd name="T4" fmla="*/ 45 w 46"/>
                <a:gd name="T5" fmla="*/ 50 h 61"/>
                <a:gd name="T6" fmla="*/ 46 w 46"/>
                <a:gd name="T7" fmla="*/ 43 h 61"/>
                <a:gd name="T8" fmla="*/ 44 w 46"/>
                <a:gd name="T9" fmla="*/ 35 h 61"/>
                <a:gd name="T10" fmla="*/ 39 w 46"/>
                <a:gd name="T11" fmla="*/ 15 h 61"/>
                <a:gd name="T12" fmla="*/ 37 w 46"/>
                <a:gd name="T13" fmla="*/ 8 h 61"/>
                <a:gd name="T14" fmla="*/ 32 w 46"/>
                <a:gd name="T15" fmla="*/ 5 h 61"/>
                <a:gd name="T16" fmla="*/ 22 w 46"/>
                <a:gd name="T17" fmla="*/ 1 h 61"/>
                <a:gd name="T18" fmla="*/ 8 w 46"/>
                <a:gd name="T19" fmla="*/ 1 h 61"/>
                <a:gd name="T20" fmla="*/ 0 w 46"/>
                <a:gd name="T21" fmla="*/ 3 h 61"/>
                <a:gd name="T22" fmla="*/ 2 w 46"/>
                <a:gd name="T23" fmla="*/ 24 h 61"/>
                <a:gd name="T24" fmla="*/ 8 w 46"/>
                <a:gd name="T25" fmla="*/ 47 h 61"/>
                <a:gd name="T26" fmla="*/ 10 w 46"/>
                <a:gd name="T27" fmla="*/ 58 h 61"/>
                <a:gd name="T28" fmla="*/ 11 w 46"/>
                <a:gd name="T29" fmla="*/ 61 h 61"/>
                <a:gd name="T30" fmla="*/ 38 w 46"/>
                <a:gd name="T31" fmla="*/ 5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61">
                  <a:moveTo>
                    <a:pt x="38" y="57"/>
                  </a:moveTo>
                  <a:cubicBezTo>
                    <a:pt x="38" y="57"/>
                    <a:pt x="38" y="57"/>
                    <a:pt x="38" y="57"/>
                  </a:cubicBezTo>
                  <a:cubicBezTo>
                    <a:pt x="41" y="56"/>
                    <a:pt x="43" y="53"/>
                    <a:pt x="45" y="50"/>
                  </a:cubicBezTo>
                  <a:cubicBezTo>
                    <a:pt x="45" y="48"/>
                    <a:pt x="46" y="45"/>
                    <a:pt x="46" y="43"/>
                  </a:cubicBezTo>
                  <a:cubicBezTo>
                    <a:pt x="45" y="40"/>
                    <a:pt x="45" y="37"/>
                    <a:pt x="44" y="35"/>
                  </a:cubicBezTo>
                  <a:cubicBezTo>
                    <a:pt x="43" y="28"/>
                    <a:pt x="41" y="22"/>
                    <a:pt x="39" y="15"/>
                  </a:cubicBezTo>
                  <a:cubicBezTo>
                    <a:pt x="38" y="13"/>
                    <a:pt x="38" y="10"/>
                    <a:pt x="37" y="8"/>
                  </a:cubicBezTo>
                  <a:cubicBezTo>
                    <a:pt x="35" y="7"/>
                    <a:pt x="34" y="6"/>
                    <a:pt x="32" y="5"/>
                  </a:cubicBezTo>
                  <a:cubicBezTo>
                    <a:pt x="29" y="3"/>
                    <a:pt x="26" y="2"/>
                    <a:pt x="22" y="1"/>
                  </a:cubicBezTo>
                  <a:cubicBezTo>
                    <a:pt x="17" y="1"/>
                    <a:pt x="13" y="0"/>
                    <a:pt x="8" y="1"/>
                  </a:cubicBezTo>
                  <a:cubicBezTo>
                    <a:pt x="6" y="1"/>
                    <a:pt x="3" y="3"/>
                    <a:pt x="0" y="3"/>
                  </a:cubicBezTo>
                  <a:cubicBezTo>
                    <a:pt x="0" y="10"/>
                    <a:pt x="2" y="17"/>
                    <a:pt x="2" y="24"/>
                  </a:cubicBezTo>
                  <a:cubicBezTo>
                    <a:pt x="3" y="32"/>
                    <a:pt x="5" y="39"/>
                    <a:pt x="8" y="47"/>
                  </a:cubicBezTo>
                  <a:cubicBezTo>
                    <a:pt x="9" y="51"/>
                    <a:pt x="9" y="55"/>
                    <a:pt x="10" y="58"/>
                  </a:cubicBezTo>
                  <a:cubicBezTo>
                    <a:pt x="11" y="59"/>
                    <a:pt x="11" y="60"/>
                    <a:pt x="11" y="61"/>
                  </a:cubicBezTo>
                  <a:cubicBezTo>
                    <a:pt x="20" y="60"/>
                    <a:pt x="29" y="59"/>
                    <a:pt x="38" y="57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ŝ1ïḓê"/>
            <p:cNvSpPr/>
            <p:nvPr/>
          </p:nvSpPr>
          <p:spPr bwMode="auto">
            <a:xfrm>
              <a:off x="4736129" y="4263851"/>
              <a:ext cx="298101" cy="233739"/>
            </a:xfrm>
            <a:custGeom>
              <a:avLst/>
              <a:gdLst>
                <a:gd name="T0" fmla="*/ 34 w 42"/>
                <a:gd name="T1" fmla="*/ 29 h 33"/>
                <a:gd name="T2" fmla="*/ 34 w 42"/>
                <a:gd name="T3" fmla="*/ 29 h 33"/>
                <a:gd name="T4" fmla="*/ 41 w 42"/>
                <a:gd name="T5" fmla="*/ 22 h 33"/>
                <a:gd name="T6" fmla="*/ 42 w 42"/>
                <a:gd name="T7" fmla="*/ 15 h 33"/>
                <a:gd name="T8" fmla="*/ 40 w 42"/>
                <a:gd name="T9" fmla="*/ 7 h 33"/>
                <a:gd name="T10" fmla="*/ 39 w 42"/>
                <a:gd name="T11" fmla="*/ 0 h 33"/>
                <a:gd name="T12" fmla="*/ 0 w 42"/>
                <a:gd name="T13" fmla="*/ 3 h 33"/>
                <a:gd name="T14" fmla="*/ 4 w 42"/>
                <a:gd name="T15" fmla="*/ 19 h 33"/>
                <a:gd name="T16" fmla="*/ 6 w 42"/>
                <a:gd name="T17" fmla="*/ 30 h 33"/>
                <a:gd name="T18" fmla="*/ 7 w 42"/>
                <a:gd name="T19" fmla="*/ 33 h 33"/>
                <a:gd name="T20" fmla="*/ 34 w 42"/>
                <a:gd name="T21" fmla="*/ 2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33">
                  <a:moveTo>
                    <a:pt x="34" y="29"/>
                  </a:moveTo>
                  <a:cubicBezTo>
                    <a:pt x="34" y="29"/>
                    <a:pt x="34" y="29"/>
                    <a:pt x="34" y="29"/>
                  </a:cubicBezTo>
                  <a:cubicBezTo>
                    <a:pt x="37" y="28"/>
                    <a:pt x="39" y="25"/>
                    <a:pt x="41" y="22"/>
                  </a:cubicBezTo>
                  <a:cubicBezTo>
                    <a:pt x="41" y="20"/>
                    <a:pt x="42" y="17"/>
                    <a:pt x="42" y="15"/>
                  </a:cubicBezTo>
                  <a:cubicBezTo>
                    <a:pt x="41" y="12"/>
                    <a:pt x="41" y="9"/>
                    <a:pt x="40" y="7"/>
                  </a:cubicBezTo>
                  <a:cubicBezTo>
                    <a:pt x="40" y="5"/>
                    <a:pt x="39" y="2"/>
                    <a:pt x="39" y="0"/>
                  </a:cubicBezTo>
                  <a:cubicBezTo>
                    <a:pt x="26" y="2"/>
                    <a:pt x="13" y="3"/>
                    <a:pt x="0" y="3"/>
                  </a:cubicBezTo>
                  <a:cubicBezTo>
                    <a:pt x="1" y="9"/>
                    <a:pt x="2" y="14"/>
                    <a:pt x="4" y="19"/>
                  </a:cubicBezTo>
                  <a:cubicBezTo>
                    <a:pt x="5" y="23"/>
                    <a:pt x="5" y="27"/>
                    <a:pt x="6" y="30"/>
                  </a:cubicBezTo>
                  <a:cubicBezTo>
                    <a:pt x="7" y="31"/>
                    <a:pt x="7" y="32"/>
                    <a:pt x="7" y="33"/>
                  </a:cubicBezTo>
                  <a:cubicBezTo>
                    <a:pt x="16" y="32"/>
                    <a:pt x="25" y="31"/>
                    <a:pt x="34" y="29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ïṥ1ïdé"/>
            <p:cNvSpPr/>
            <p:nvPr/>
          </p:nvSpPr>
          <p:spPr bwMode="auto">
            <a:xfrm>
              <a:off x="6250345" y="4609376"/>
              <a:ext cx="182925" cy="687665"/>
            </a:xfrm>
            <a:custGeom>
              <a:avLst/>
              <a:gdLst>
                <a:gd name="T0" fmla="*/ 2 w 26"/>
                <a:gd name="T1" fmla="*/ 19 h 98"/>
                <a:gd name="T2" fmla="*/ 2 w 26"/>
                <a:gd name="T3" fmla="*/ 19 h 98"/>
                <a:gd name="T4" fmla="*/ 2 w 26"/>
                <a:gd name="T5" fmla="*/ 30 h 98"/>
                <a:gd name="T6" fmla="*/ 5 w 26"/>
                <a:gd name="T7" fmla="*/ 31 h 98"/>
                <a:gd name="T8" fmla="*/ 12 w 26"/>
                <a:gd name="T9" fmla="*/ 32 h 98"/>
                <a:gd name="T10" fmla="*/ 22 w 26"/>
                <a:gd name="T11" fmla="*/ 32 h 98"/>
                <a:gd name="T12" fmla="*/ 23 w 26"/>
                <a:gd name="T13" fmla="*/ 21 h 98"/>
                <a:gd name="T14" fmla="*/ 23 w 26"/>
                <a:gd name="T15" fmla="*/ 18 h 98"/>
                <a:gd name="T16" fmla="*/ 13 w 26"/>
                <a:gd name="T17" fmla="*/ 19 h 98"/>
                <a:gd name="T18" fmla="*/ 2 w 26"/>
                <a:gd name="T19" fmla="*/ 18 h 98"/>
                <a:gd name="T20" fmla="*/ 2 w 26"/>
                <a:gd name="T21" fmla="*/ 18 h 98"/>
                <a:gd name="T22" fmla="*/ 2 w 26"/>
                <a:gd name="T23" fmla="*/ 19 h 98"/>
                <a:gd name="T24" fmla="*/ 1 w 26"/>
                <a:gd name="T25" fmla="*/ 15 h 98"/>
                <a:gd name="T26" fmla="*/ 1 w 26"/>
                <a:gd name="T27" fmla="*/ 15 h 98"/>
                <a:gd name="T28" fmla="*/ 2 w 26"/>
                <a:gd name="T29" fmla="*/ 15 h 98"/>
                <a:gd name="T30" fmla="*/ 12 w 26"/>
                <a:gd name="T31" fmla="*/ 12 h 98"/>
                <a:gd name="T32" fmla="*/ 23 w 26"/>
                <a:gd name="T33" fmla="*/ 12 h 98"/>
                <a:gd name="T34" fmla="*/ 24 w 26"/>
                <a:gd name="T35" fmla="*/ 1 h 98"/>
                <a:gd name="T36" fmla="*/ 11 w 26"/>
                <a:gd name="T37" fmla="*/ 0 h 98"/>
                <a:gd name="T38" fmla="*/ 0 w 26"/>
                <a:gd name="T39" fmla="*/ 0 h 98"/>
                <a:gd name="T40" fmla="*/ 1 w 26"/>
                <a:gd name="T41" fmla="*/ 15 h 98"/>
                <a:gd name="T42" fmla="*/ 24 w 26"/>
                <a:gd name="T43" fmla="*/ 74 h 98"/>
                <a:gd name="T44" fmla="*/ 24 w 26"/>
                <a:gd name="T45" fmla="*/ 74 h 98"/>
                <a:gd name="T46" fmla="*/ 23 w 26"/>
                <a:gd name="T47" fmla="*/ 60 h 98"/>
                <a:gd name="T48" fmla="*/ 12 w 26"/>
                <a:gd name="T49" fmla="*/ 61 h 98"/>
                <a:gd name="T50" fmla="*/ 4 w 26"/>
                <a:gd name="T51" fmla="*/ 60 h 98"/>
                <a:gd name="T52" fmla="*/ 4 w 26"/>
                <a:gd name="T53" fmla="*/ 73 h 98"/>
                <a:gd name="T54" fmla="*/ 4 w 26"/>
                <a:gd name="T55" fmla="*/ 78 h 98"/>
                <a:gd name="T56" fmla="*/ 15 w 26"/>
                <a:gd name="T57" fmla="*/ 77 h 98"/>
                <a:gd name="T58" fmla="*/ 24 w 26"/>
                <a:gd name="T59" fmla="*/ 77 h 98"/>
                <a:gd name="T60" fmla="*/ 24 w 26"/>
                <a:gd name="T61" fmla="*/ 74 h 98"/>
                <a:gd name="T62" fmla="*/ 3 w 26"/>
                <a:gd name="T63" fmla="*/ 46 h 98"/>
                <a:gd name="T64" fmla="*/ 3 w 26"/>
                <a:gd name="T65" fmla="*/ 46 h 98"/>
                <a:gd name="T66" fmla="*/ 4 w 26"/>
                <a:gd name="T67" fmla="*/ 54 h 98"/>
                <a:gd name="T68" fmla="*/ 12 w 26"/>
                <a:gd name="T69" fmla="*/ 54 h 98"/>
                <a:gd name="T70" fmla="*/ 23 w 26"/>
                <a:gd name="T71" fmla="*/ 55 h 98"/>
                <a:gd name="T72" fmla="*/ 22 w 26"/>
                <a:gd name="T73" fmla="*/ 48 h 98"/>
                <a:gd name="T74" fmla="*/ 22 w 26"/>
                <a:gd name="T75" fmla="*/ 37 h 98"/>
                <a:gd name="T76" fmla="*/ 3 w 26"/>
                <a:gd name="T77" fmla="*/ 37 h 98"/>
                <a:gd name="T78" fmla="*/ 3 w 26"/>
                <a:gd name="T79" fmla="*/ 46 h 98"/>
                <a:gd name="T80" fmla="*/ 25 w 26"/>
                <a:gd name="T81" fmla="*/ 97 h 98"/>
                <a:gd name="T82" fmla="*/ 25 w 26"/>
                <a:gd name="T83" fmla="*/ 97 h 98"/>
                <a:gd name="T84" fmla="*/ 25 w 26"/>
                <a:gd name="T85" fmla="*/ 96 h 98"/>
                <a:gd name="T86" fmla="*/ 25 w 26"/>
                <a:gd name="T87" fmla="*/ 86 h 98"/>
                <a:gd name="T88" fmla="*/ 24 w 26"/>
                <a:gd name="T89" fmla="*/ 83 h 98"/>
                <a:gd name="T90" fmla="*/ 15 w 26"/>
                <a:gd name="T91" fmla="*/ 84 h 98"/>
                <a:gd name="T92" fmla="*/ 5 w 26"/>
                <a:gd name="T93" fmla="*/ 84 h 98"/>
                <a:gd name="T94" fmla="*/ 5 w 26"/>
                <a:gd name="T95" fmla="*/ 87 h 98"/>
                <a:gd name="T96" fmla="*/ 5 w 26"/>
                <a:gd name="T97" fmla="*/ 95 h 98"/>
                <a:gd name="T98" fmla="*/ 7 w 26"/>
                <a:gd name="T99" fmla="*/ 96 h 98"/>
                <a:gd name="T100" fmla="*/ 15 w 26"/>
                <a:gd name="T101" fmla="*/ 98 h 98"/>
                <a:gd name="T102" fmla="*/ 24 w 26"/>
                <a:gd name="T103" fmla="*/ 97 h 98"/>
                <a:gd name="T104" fmla="*/ 25 w 26"/>
                <a:gd name="T105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" h="98">
                  <a:moveTo>
                    <a:pt x="2" y="1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2" y="23"/>
                    <a:pt x="2" y="27"/>
                    <a:pt x="2" y="30"/>
                  </a:cubicBezTo>
                  <a:cubicBezTo>
                    <a:pt x="3" y="30"/>
                    <a:pt x="4" y="31"/>
                    <a:pt x="5" y="31"/>
                  </a:cubicBezTo>
                  <a:cubicBezTo>
                    <a:pt x="7" y="31"/>
                    <a:pt x="10" y="32"/>
                    <a:pt x="12" y="32"/>
                  </a:cubicBezTo>
                  <a:cubicBezTo>
                    <a:pt x="15" y="32"/>
                    <a:pt x="19" y="32"/>
                    <a:pt x="22" y="32"/>
                  </a:cubicBezTo>
                  <a:cubicBezTo>
                    <a:pt x="22" y="28"/>
                    <a:pt x="23" y="25"/>
                    <a:pt x="23" y="21"/>
                  </a:cubicBezTo>
                  <a:cubicBezTo>
                    <a:pt x="23" y="20"/>
                    <a:pt x="23" y="19"/>
                    <a:pt x="23" y="18"/>
                  </a:cubicBezTo>
                  <a:cubicBezTo>
                    <a:pt x="20" y="18"/>
                    <a:pt x="17" y="19"/>
                    <a:pt x="13" y="19"/>
                  </a:cubicBezTo>
                  <a:cubicBezTo>
                    <a:pt x="10" y="19"/>
                    <a:pt x="5" y="21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lose/>
                  <a:moveTo>
                    <a:pt x="1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4" y="12"/>
                    <a:pt x="8" y="12"/>
                    <a:pt x="12" y="12"/>
                  </a:cubicBezTo>
                  <a:cubicBezTo>
                    <a:pt x="16" y="12"/>
                    <a:pt x="20" y="12"/>
                    <a:pt x="23" y="12"/>
                  </a:cubicBezTo>
                  <a:cubicBezTo>
                    <a:pt x="24" y="8"/>
                    <a:pt x="24" y="4"/>
                    <a:pt x="24" y="1"/>
                  </a:cubicBezTo>
                  <a:cubicBezTo>
                    <a:pt x="20" y="0"/>
                    <a:pt x="15" y="0"/>
                    <a:pt x="11" y="0"/>
                  </a:cubicBezTo>
                  <a:cubicBezTo>
                    <a:pt x="7" y="0"/>
                    <a:pt x="4" y="0"/>
                    <a:pt x="0" y="0"/>
                  </a:cubicBezTo>
                  <a:cubicBezTo>
                    <a:pt x="1" y="5"/>
                    <a:pt x="1" y="10"/>
                    <a:pt x="1" y="15"/>
                  </a:cubicBezTo>
                  <a:close/>
                  <a:moveTo>
                    <a:pt x="24" y="74"/>
                  </a:moveTo>
                  <a:cubicBezTo>
                    <a:pt x="24" y="74"/>
                    <a:pt x="24" y="74"/>
                    <a:pt x="24" y="74"/>
                  </a:cubicBezTo>
                  <a:cubicBezTo>
                    <a:pt x="23" y="69"/>
                    <a:pt x="23" y="65"/>
                    <a:pt x="23" y="60"/>
                  </a:cubicBezTo>
                  <a:cubicBezTo>
                    <a:pt x="19" y="61"/>
                    <a:pt x="16" y="61"/>
                    <a:pt x="12" y="61"/>
                  </a:cubicBezTo>
                  <a:cubicBezTo>
                    <a:pt x="10" y="61"/>
                    <a:pt x="7" y="61"/>
                    <a:pt x="4" y="60"/>
                  </a:cubicBezTo>
                  <a:cubicBezTo>
                    <a:pt x="4" y="65"/>
                    <a:pt x="4" y="69"/>
                    <a:pt x="4" y="73"/>
                  </a:cubicBezTo>
                  <a:cubicBezTo>
                    <a:pt x="5" y="75"/>
                    <a:pt x="4" y="77"/>
                    <a:pt x="4" y="78"/>
                  </a:cubicBezTo>
                  <a:cubicBezTo>
                    <a:pt x="8" y="77"/>
                    <a:pt x="12" y="78"/>
                    <a:pt x="15" y="77"/>
                  </a:cubicBezTo>
                  <a:cubicBezTo>
                    <a:pt x="18" y="77"/>
                    <a:pt x="21" y="77"/>
                    <a:pt x="24" y="77"/>
                  </a:cubicBezTo>
                  <a:cubicBezTo>
                    <a:pt x="24" y="76"/>
                    <a:pt x="24" y="75"/>
                    <a:pt x="24" y="74"/>
                  </a:cubicBezTo>
                  <a:close/>
                  <a:moveTo>
                    <a:pt x="3" y="46"/>
                  </a:moveTo>
                  <a:cubicBezTo>
                    <a:pt x="3" y="46"/>
                    <a:pt x="3" y="46"/>
                    <a:pt x="3" y="46"/>
                  </a:cubicBezTo>
                  <a:cubicBezTo>
                    <a:pt x="4" y="49"/>
                    <a:pt x="4" y="51"/>
                    <a:pt x="4" y="54"/>
                  </a:cubicBezTo>
                  <a:cubicBezTo>
                    <a:pt x="7" y="53"/>
                    <a:pt x="10" y="54"/>
                    <a:pt x="12" y="54"/>
                  </a:cubicBezTo>
                  <a:cubicBezTo>
                    <a:pt x="16" y="55"/>
                    <a:pt x="19" y="55"/>
                    <a:pt x="23" y="55"/>
                  </a:cubicBezTo>
                  <a:cubicBezTo>
                    <a:pt x="23" y="53"/>
                    <a:pt x="22" y="50"/>
                    <a:pt x="22" y="48"/>
                  </a:cubicBezTo>
                  <a:cubicBezTo>
                    <a:pt x="22" y="44"/>
                    <a:pt x="22" y="41"/>
                    <a:pt x="22" y="37"/>
                  </a:cubicBezTo>
                  <a:cubicBezTo>
                    <a:pt x="17" y="38"/>
                    <a:pt x="8" y="39"/>
                    <a:pt x="3" y="37"/>
                  </a:cubicBezTo>
                  <a:cubicBezTo>
                    <a:pt x="3" y="40"/>
                    <a:pt x="3" y="43"/>
                    <a:pt x="3" y="46"/>
                  </a:cubicBezTo>
                  <a:close/>
                  <a:moveTo>
                    <a:pt x="25" y="97"/>
                  </a:move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6"/>
                    <a:pt x="25" y="96"/>
                  </a:cubicBezTo>
                  <a:cubicBezTo>
                    <a:pt x="26" y="93"/>
                    <a:pt x="25" y="89"/>
                    <a:pt x="25" y="86"/>
                  </a:cubicBezTo>
                  <a:cubicBezTo>
                    <a:pt x="25" y="85"/>
                    <a:pt x="25" y="84"/>
                    <a:pt x="24" y="83"/>
                  </a:cubicBezTo>
                  <a:cubicBezTo>
                    <a:pt x="21" y="84"/>
                    <a:pt x="18" y="84"/>
                    <a:pt x="15" y="84"/>
                  </a:cubicBezTo>
                  <a:cubicBezTo>
                    <a:pt x="12" y="84"/>
                    <a:pt x="8" y="85"/>
                    <a:pt x="5" y="84"/>
                  </a:cubicBezTo>
                  <a:cubicBezTo>
                    <a:pt x="5" y="85"/>
                    <a:pt x="5" y="86"/>
                    <a:pt x="5" y="87"/>
                  </a:cubicBezTo>
                  <a:cubicBezTo>
                    <a:pt x="5" y="89"/>
                    <a:pt x="5" y="92"/>
                    <a:pt x="5" y="95"/>
                  </a:cubicBezTo>
                  <a:cubicBezTo>
                    <a:pt x="6" y="95"/>
                    <a:pt x="6" y="96"/>
                    <a:pt x="7" y="96"/>
                  </a:cubicBezTo>
                  <a:cubicBezTo>
                    <a:pt x="10" y="97"/>
                    <a:pt x="12" y="98"/>
                    <a:pt x="15" y="98"/>
                  </a:cubicBezTo>
                  <a:cubicBezTo>
                    <a:pt x="18" y="98"/>
                    <a:pt x="21" y="98"/>
                    <a:pt x="24" y="97"/>
                  </a:cubicBezTo>
                  <a:cubicBezTo>
                    <a:pt x="24" y="97"/>
                    <a:pt x="25" y="97"/>
                    <a:pt x="25" y="9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slîḓê"/>
            <p:cNvSpPr/>
            <p:nvPr/>
          </p:nvSpPr>
          <p:spPr bwMode="auto">
            <a:xfrm>
              <a:off x="6314708" y="4609376"/>
              <a:ext cx="118564" cy="687665"/>
            </a:xfrm>
            <a:custGeom>
              <a:avLst/>
              <a:gdLst>
                <a:gd name="T0" fmla="*/ 3 w 17"/>
                <a:gd name="T1" fmla="*/ 32 h 98"/>
                <a:gd name="T2" fmla="*/ 13 w 17"/>
                <a:gd name="T3" fmla="*/ 32 h 98"/>
                <a:gd name="T4" fmla="*/ 14 w 17"/>
                <a:gd name="T5" fmla="*/ 21 h 98"/>
                <a:gd name="T6" fmla="*/ 14 w 17"/>
                <a:gd name="T7" fmla="*/ 18 h 98"/>
                <a:gd name="T8" fmla="*/ 4 w 17"/>
                <a:gd name="T9" fmla="*/ 19 h 98"/>
                <a:gd name="T10" fmla="*/ 2 w 17"/>
                <a:gd name="T11" fmla="*/ 19 h 98"/>
                <a:gd name="T12" fmla="*/ 3 w 17"/>
                <a:gd name="T13" fmla="*/ 32 h 98"/>
                <a:gd name="T14" fmla="*/ 0 w 17"/>
                <a:gd name="T15" fmla="*/ 0 h 98"/>
                <a:gd name="T16" fmla="*/ 2 w 17"/>
                <a:gd name="T17" fmla="*/ 12 h 98"/>
                <a:gd name="T18" fmla="*/ 3 w 17"/>
                <a:gd name="T19" fmla="*/ 12 h 98"/>
                <a:gd name="T20" fmla="*/ 14 w 17"/>
                <a:gd name="T21" fmla="*/ 12 h 98"/>
                <a:gd name="T22" fmla="*/ 15 w 17"/>
                <a:gd name="T23" fmla="*/ 1 h 98"/>
                <a:gd name="T24" fmla="*/ 2 w 17"/>
                <a:gd name="T25" fmla="*/ 0 h 98"/>
                <a:gd name="T26" fmla="*/ 0 w 17"/>
                <a:gd name="T27" fmla="*/ 0 h 98"/>
                <a:gd name="T28" fmla="*/ 4 w 17"/>
                <a:gd name="T29" fmla="*/ 38 h 98"/>
                <a:gd name="T30" fmla="*/ 5 w 17"/>
                <a:gd name="T31" fmla="*/ 55 h 98"/>
                <a:gd name="T32" fmla="*/ 14 w 17"/>
                <a:gd name="T33" fmla="*/ 55 h 98"/>
                <a:gd name="T34" fmla="*/ 13 w 17"/>
                <a:gd name="T35" fmla="*/ 48 h 98"/>
                <a:gd name="T36" fmla="*/ 13 w 17"/>
                <a:gd name="T37" fmla="*/ 37 h 98"/>
                <a:gd name="T38" fmla="*/ 4 w 17"/>
                <a:gd name="T39" fmla="*/ 38 h 98"/>
                <a:gd name="T40" fmla="*/ 5 w 17"/>
                <a:gd name="T41" fmla="*/ 61 h 98"/>
                <a:gd name="T42" fmla="*/ 5 w 17"/>
                <a:gd name="T43" fmla="*/ 77 h 98"/>
                <a:gd name="T44" fmla="*/ 6 w 17"/>
                <a:gd name="T45" fmla="*/ 77 h 98"/>
                <a:gd name="T46" fmla="*/ 15 w 17"/>
                <a:gd name="T47" fmla="*/ 77 h 98"/>
                <a:gd name="T48" fmla="*/ 15 w 17"/>
                <a:gd name="T49" fmla="*/ 74 h 98"/>
                <a:gd name="T50" fmla="*/ 15 w 17"/>
                <a:gd name="T51" fmla="*/ 74 h 98"/>
                <a:gd name="T52" fmla="*/ 14 w 17"/>
                <a:gd name="T53" fmla="*/ 60 h 98"/>
                <a:gd name="T54" fmla="*/ 5 w 17"/>
                <a:gd name="T55" fmla="*/ 61 h 98"/>
                <a:gd name="T56" fmla="*/ 5 w 17"/>
                <a:gd name="T57" fmla="*/ 84 h 98"/>
                <a:gd name="T58" fmla="*/ 5 w 17"/>
                <a:gd name="T59" fmla="*/ 98 h 98"/>
                <a:gd name="T60" fmla="*/ 6 w 17"/>
                <a:gd name="T61" fmla="*/ 98 h 98"/>
                <a:gd name="T62" fmla="*/ 15 w 17"/>
                <a:gd name="T63" fmla="*/ 97 h 98"/>
                <a:gd name="T64" fmla="*/ 16 w 17"/>
                <a:gd name="T65" fmla="*/ 97 h 98"/>
                <a:gd name="T66" fmla="*/ 16 w 17"/>
                <a:gd name="T67" fmla="*/ 97 h 98"/>
                <a:gd name="T68" fmla="*/ 16 w 17"/>
                <a:gd name="T69" fmla="*/ 96 h 98"/>
                <a:gd name="T70" fmla="*/ 16 w 17"/>
                <a:gd name="T71" fmla="*/ 86 h 98"/>
                <a:gd name="T72" fmla="*/ 15 w 17"/>
                <a:gd name="T73" fmla="*/ 83 h 98"/>
                <a:gd name="T74" fmla="*/ 6 w 17"/>
                <a:gd name="T75" fmla="*/ 84 h 98"/>
                <a:gd name="T76" fmla="*/ 5 w 17"/>
                <a:gd name="T77" fmla="*/ 8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" h="98">
                  <a:moveTo>
                    <a:pt x="3" y="32"/>
                  </a:moveTo>
                  <a:cubicBezTo>
                    <a:pt x="7" y="32"/>
                    <a:pt x="10" y="32"/>
                    <a:pt x="13" y="32"/>
                  </a:cubicBezTo>
                  <a:cubicBezTo>
                    <a:pt x="13" y="28"/>
                    <a:pt x="14" y="25"/>
                    <a:pt x="14" y="21"/>
                  </a:cubicBezTo>
                  <a:cubicBezTo>
                    <a:pt x="14" y="20"/>
                    <a:pt x="14" y="19"/>
                    <a:pt x="14" y="18"/>
                  </a:cubicBezTo>
                  <a:cubicBezTo>
                    <a:pt x="11" y="18"/>
                    <a:pt x="8" y="19"/>
                    <a:pt x="4" y="19"/>
                  </a:cubicBezTo>
                  <a:cubicBezTo>
                    <a:pt x="4" y="19"/>
                    <a:pt x="3" y="19"/>
                    <a:pt x="2" y="19"/>
                  </a:cubicBezTo>
                  <a:cubicBezTo>
                    <a:pt x="3" y="23"/>
                    <a:pt x="3" y="28"/>
                    <a:pt x="3" y="32"/>
                  </a:cubicBezTo>
                  <a:close/>
                  <a:moveTo>
                    <a:pt x="0" y="0"/>
                  </a:moveTo>
                  <a:cubicBezTo>
                    <a:pt x="1" y="4"/>
                    <a:pt x="1" y="8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7" y="12"/>
                    <a:pt x="11" y="12"/>
                    <a:pt x="14" y="12"/>
                  </a:cubicBezTo>
                  <a:cubicBezTo>
                    <a:pt x="15" y="8"/>
                    <a:pt x="15" y="4"/>
                    <a:pt x="15" y="1"/>
                  </a:cubicBezTo>
                  <a:cubicBezTo>
                    <a:pt x="11" y="0"/>
                    <a:pt x="6" y="0"/>
                    <a:pt x="2" y="0"/>
                  </a:cubicBezTo>
                  <a:lnTo>
                    <a:pt x="0" y="0"/>
                  </a:lnTo>
                  <a:close/>
                  <a:moveTo>
                    <a:pt x="4" y="38"/>
                  </a:moveTo>
                  <a:cubicBezTo>
                    <a:pt x="4" y="44"/>
                    <a:pt x="4" y="49"/>
                    <a:pt x="5" y="55"/>
                  </a:cubicBezTo>
                  <a:cubicBezTo>
                    <a:pt x="8" y="55"/>
                    <a:pt x="11" y="55"/>
                    <a:pt x="14" y="55"/>
                  </a:cubicBezTo>
                  <a:cubicBezTo>
                    <a:pt x="14" y="53"/>
                    <a:pt x="13" y="50"/>
                    <a:pt x="13" y="48"/>
                  </a:cubicBezTo>
                  <a:cubicBezTo>
                    <a:pt x="13" y="44"/>
                    <a:pt x="13" y="41"/>
                    <a:pt x="13" y="37"/>
                  </a:cubicBezTo>
                  <a:cubicBezTo>
                    <a:pt x="11" y="38"/>
                    <a:pt x="7" y="38"/>
                    <a:pt x="4" y="38"/>
                  </a:cubicBezTo>
                  <a:close/>
                  <a:moveTo>
                    <a:pt x="5" y="61"/>
                  </a:moveTo>
                  <a:cubicBezTo>
                    <a:pt x="5" y="67"/>
                    <a:pt x="5" y="72"/>
                    <a:pt x="5" y="77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9" y="77"/>
                    <a:pt x="12" y="77"/>
                    <a:pt x="15" y="77"/>
                  </a:cubicBezTo>
                  <a:cubicBezTo>
                    <a:pt x="15" y="76"/>
                    <a:pt x="15" y="75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4" y="69"/>
                    <a:pt x="14" y="65"/>
                    <a:pt x="14" y="60"/>
                  </a:cubicBezTo>
                  <a:cubicBezTo>
                    <a:pt x="11" y="61"/>
                    <a:pt x="8" y="61"/>
                    <a:pt x="5" y="61"/>
                  </a:cubicBezTo>
                  <a:close/>
                  <a:moveTo>
                    <a:pt x="5" y="84"/>
                  </a:moveTo>
                  <a:cubicBezTo>
                    <a:pt x="5" y="89"/>
                    <a:pt x="5" y="93"/>
                    <a:pt x="5" y="98"/>
                  </a:cubicBezTo>
                  <a:cubicBezTo>
                    <a:pt x="5" y="98"/>
                    <a:pt x="6" y="98"/>
                    <a:pt x="6" y="98"/>
                  </a:cubicBezTo>
                  <a:cubicBezTo>
                    <a:pt x="9" y="98"/>
                    <a:pt x="12" y="98"/>
                    <a:pt x="15" y="97"/>
                  </a:cubicBezTo>
                  <a:cubicBezTo>
                    <a:pt x="15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6"/>
                    <a:pt x="16" y="96"/>
                  </a:cubicBezTo>
                  <a:cubicBezTo>
                    <a:pt x="17" y="93"/>
                    <a:pt x="16" y="89"/>
                    <a:pt x="16" y="86"/>
                  </a:cubicBezTo>
                  <a:cubicBezTo>
                    <a:pt x="16" y="85"/>
                    <a:pt x="16" y="84"/>
                    <a:pt x="15" y="83"/>
                  </a:cubicBezTo>
                  <a:cubicBezTo>
                    <a:pt x="12" y="84"/>
                    <a:pt x="9" y="84"/>
                    <a:pt x="6" y="84"/>
                  </a:cubicBezTo>
                  <a:lnTo>
                    <a:pt x="5" y="84"/>
                  </a:ln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î$ḻidè"/>
            <p:cNvSpPr/>
            <p:nvPr/>
          </p:nvSpPr>
          <p:spPr bwMode="auto">
            <a:xfrm>
              <a:off x="5203606" y="3295024"/>
              <a:ext cx="724927" cy="989152"/>
            </a:xfrm>
            <a:custGeom>
              <a:avLst/>
              <a:gdLst>
                <a:gd name="T0" fmla="*/ 6 w 103"/>
                <a:gd name="T1" fmla="*/ 139 h 141"/>
                <a:gd name="T2" fmla="*/ 14 w 103"/>
                <a:gd name="T3" fmla="*/ 139 h 141"/>
                <a:gd name="T4" fmla="*/ 43 w 103"/>
                <a:gd name="T5" fmla="*/ 130 h 141"/>
                <a:gd name="T6" fmla="*/ 45 w 103"/>
                <a:gd name="T7" fmla="*/ 112 h 141"/>
                <a:gd name="T8" fmla="*/ 25 w 103"/>
                <a:gd name="T9" fmla="*/ 109 h 141"/>
                <a:gd name="T10" fmla="*/ 31 w 103"/>
                <a:gd name="T11" fmla="*/ 130 h 141"/>
                <a:gd name="T12" fmla="*/ 20 w 103"/>
                <a:gd name="T13" fmla="*/ 117 h 141"/>
                <a:gd name="T14" fmla="*/ 0 w 103"/>
                <a:gd name="T15" fmla="*/ 114 h 141"/>
                <a:gd name="T16" fmla="*/ 6 w 103"/>
                <a:gd name="T17" fmla="*/ 139 h 141"/>
                <a:gd name="T18" fmla="*/ 85 w 103"/>
                <a:gd name="T19" fmla="*/ 11 h 141"/>
                <a:gd name="T20" fmla="*/ 93 w 103"/>
                <a:gd name="T21" fmla="*/ 18 h 141"/>
                <a:gd name="T22" fmla="*/ 101 w 103"/>
                <a:gd name="T23" fmla="*/ 6 h 141"/>
                <a:gd name="T24" fmla="*/ 87 w 103"/>
                <a:gd name="T25" fmla="*/ 9 h 141"/>
                <a:gd name="T26" fmla="*/ 98 w 103"/>
                <a:gd name="T27" fmla="*/ 42 h 141"/>
                <a:gd name="T28" fmla="*/ 98 w 103"/>
                <a:gd name="T29" fmla="*/ 37 h 141"/>
                <a:gd name="T30" fmla="*/ 88 w 103"/>
                <a:gd name="T31" fmla="*/ 22 h 141"/>
                <a:gd name="T32" fmla="*/ 80 w 103"/>
                <a:gd name="T33" fmla="*/ 15 h 141"/>
                <a:gd name="T34" fmla="*/ 83 w 103"/>
                <a:gd name="T35" fmla="*/ 34 h 141"/>
                <a:gd name="T36" fmla="*/ 98 w 103"/>
                <a:gd name="T37" fmla="*/ 42 h 141"/>
                <a:gd name="T38" fmla="*/ 81 w 103"/>
                <a:gd name="T39" fmla="*/ 77 h 141"/>
                <a:gd name="T40" fmla="*/ 57 w 103"/>
                <a:gd name="T41" fmla="*/ 56 h 141"/>
                <a:gd name="T42" fmla="*/ 73 w 103"/>
                <a:gd name="T43" fmla="*/ 62 h 141"/>
                <a:gd name="T44" fmla="*/ 90 w 103"/>
                <a:gd name="T45" fmla="*/ 51 h 141"/>
                <a:gd name="T46" fmla="*/ 72 w 103"/>
                <a:gd name="T47" fmla="*/ 34 h 141"/>
                <a:gd name="T48" fmla="*/ 57 w 103"/>
                <a:gd name="T49" fmla="*/ 47 h 141"/>
                <a:gd name="T50" fmla="*/ 51 w 103"/>
                <a:gd name="T51" fmla="*/ 80 h 141"/>
                <a:gd name="T52" fmla="*/ 64 w 103"/>
                <a:gd name="T53" fmla="*/ 89 h 141"/>
                <a:gd name="T54" fmla="*/ 74 w 103"/>
                <a:gd name="T55" fmla="*/ 103 h 141"/>
                <a:gd name="T56" fmla="*/ 71 w 103"/>
                <a:gd name="T57" fmla="*/ 109 h 141"/>
                <a:gd name="T58" fmla="*/ 73 w 103"/>
                <a:gd name="T59" fmla="*/ 106 h 141"/>
                <a:gd name="T60" fmla="*/ 52 w 103"/>
                <a:gd name="T61" fmla="*/ 88 h 141"/>
                <a:gd name="T62" fmla="*/ 41 w 103"/>
                <a:gd name="T63" fmla="*/ 98 h 141"/>
                <a:gd name="T64" fmla="*/ 49 w 103"/>
                <a:gd name="T65" fmla="*/ 107 h 141"/>
                <a:gd name="T66" fmla="*/ 71 w 103"/>
                <a:gd name="T67" fmla="*/ 10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3" h="141">
                  <a:moveTo>
                    <a:pt x="6" y="139"/>
                  </a:moveTo>
                  <a:cubicBezTo>
                    <a:pt x="6" y="139"/>
                    <a:pt x="6" y="139"/>
                    <a:pt x="6" y="139"/>
                  </a:cubicBezTo>
                  <a:cubicBezTo>
                    <a:pt x="6" y="140"/>
                    <a:pt x="6" y="140"/>
                    <a:pt x="6" y="141"/>
                  </a:cubicBezTo>
                  <a:cubicBezTo>
                    <a:pt x="8" y="140"/>
                    <a:pt x="11" y="139"/>
                    <a:pt x="14" y="139"/>
                  </a:cubicBezTo>
                  <a:cubicBezTo>
                    <a:pt x="18" y="138"/>
                    <a:pt x="22" y="137"/>
                    <a:pt x="25" y="136"/>
                  </a:cubicBezTo>
                  <a:cubicBezTo>
                    <a:pt x="32" y="135"/>
                    <a:pt x="37" y="133"/>
                    <a:pt x="43" y="130"/>
                  </a:cubicBezTo>
                  <a:cubicBezTo>
                    <a:pt x="46" y="129"/>
                    <a:pt x="49" y="127"/>
                    <a:pt x="52" y="125"/>
                  </a:cubicBezTo>
                  <a:cubicBezTo>
                    <a:pt x="50" y="121"/>
                    <a:pt x="47" y="117"/>
                    <a:pt x="45" y="112"/>
                  </a:cubicBezTo>
                  <a:cubicBezTo>
                    <a:pt x="43" y="109"/>
                    <a:pt x="39" y="106"/>
                    <a:pt x="37" y="102"/>
                  </a:cubicBezTo>
                  <a:cubicBezTo>
                    <a:pt x="33" y="105"/>
                    <a:pt x="29" y="107"/>
                    <a:pt x="25" y="109"/>
                  </a:cubicBezTo>
                  <a:cubicBezTo>
                    <a:pt x="25" y="110"/>
                    <a:pt x="25" y="111"/>
                    <a:pt x="25" y="111"/>
                  </a:cubicBezTo>
                  <a:cubicBezTo>
                    <a:pt x="28" y="118"/>
                    <a:pt x="29" y="124"/>
                    <a:pt x="31" y="130"/>
                  </a:cubicBezTo>
                  <a:cubicBezTo>
                    <a:pt x="32" y="133"/>
                    <a:pt x="27" y="135"/>
                    <a:pt x="26" y="133"/>
                  </a:cubicBezTo>
                  <a:cubicBezTo>
                    <a:pt x="23" y="128"/>
                    <a:pt x="22" y="122"/>
                    <a:pt x="20" y="117"/>
                  </a:cubicBezTo>
                  <a:cubicBezTo>
                    <a:pt x="19" y="115"/>
                    <a:pt x="19" y="113"/>
                    <a:pt x="18" y="111"/>
                  </a:cubicBezTo>
                  <a:cubicBezTo>
                    <a:pt x="13" y="113"/>
                    <a:pt x="6" y="115"/>
                    <a:pt x="0" y="114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4" y="123"/>
                    <a:pt x="5" y="131"/>
                    <a:pt x="6" y="139"/>
                  </a:cubicBezTo>
                  <a:close/>
                  <a:moveTo>
                    <a:pt x="85" y="11"/>
                  </a:move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8" y="13"/>
                    <a:pt x="91" y="15"/>
                    <a:pt x="93" y="18"/>
                  </a:cubicBezTo>
                  <a:cubicBezTo>
                    <a:pt x="95" y="20"/>
                    <a:pt x="97" y="23"/>
                    <a:pt x="98" y="25"/>
                  </a:cubicBezTo>
                  <a:cubicBezTo>
                    <a:pt x="98" y="19"/>
                    <a:pt x="99" y="13"/>
                    <a:pt x="101" y="6"/>
                  </a:cubicBezTo>
                  <a:cubicBezTo>
                    <a:pt x="101" y="4"/>
                    <a:pt x="102" y="2"/>
                    <a:pt x="103" y="0"/>
                  </a:cubicBezTo>
                  <a:cubicBezTo>
                    <a:pt x="97" y="2"/>
                    <a:pt x="92" y="6"/>
                    <a:pt x="87" y="9"/>
                  </a:cubicBezTo>
                  <a:cubicBezTo>
                    <a:pt x="86" y="9"/>
                    <a:pt x="86" y="10"/>
                    <a:pt x="85" y="11"/>
                  </a:cubicBezTo>
                  <a:close/>
                  <a:moveTo>
                    <a:pt x="98" y="42"/>
                  </a:moveTo>
                  <a:cubicBezTo>
                    <a:pt x="98" y="42"/>
                    <a:pt x="98" y="42"/>
                    <a:pt x="98" y="42"/>
                  </a:cubicBezTo>
                  <a:cubicBezTo>
                    <a:pt x="98" y="41"/>
                    <a:pt x="98" y="39"/>
                    <a:pt x="98" y="37"/>
                  </a:cubicBezTo>
                  <a:cubicBezTo>
                    <a:pt x="98" y="37"/>
                    <a:pt x="98" y="36"/>
                    <a:pt x="98" y="36"/>
                  </a:cubicBezTo>
                  <a:cubicBezTo>
                    <a:pt x="95" y="30"/>
                    <a:pt x="92" y="26"/>
                    <a:pt x="88" y="22"/>
                  </a:cubicBezTo>
                  <a:cubicBezTo>
                    <a:pt x="85" y="19"/>
                    <a:pt x="83" y="17"/>
                    <a:pt x="81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6" y="18"/>
                    <a:pt x="72" y="21"/>
                    <a:pt x="69" y="25"/>
                  </a:cubicBezTo>
                  <a:cubicBezTo>
                    <a:pt x="74" y="25"/>
                    <a:pt x="79" y="30"/>
                    <a:pt x="83" y="34"/>
                  </a:cubicBezTo>
                  <a:cubicBezTo>
                    <a:pt x="87" y="37"/>
                    <a:pt x="90" y="42"/>
                    <a:pt x="93" y="46"/>
                  </a:cubicBezTo>
                  <a:cubicBezTo>
                    <a:pt x="95" y="45"/>
                    <a:pt x="96" y="44"/>
                    <a:pt x="98" y="42"/>
                  </a:cubicBezTo>
                  <a:close/>
                  <a:moveTo>
                    <a:pt x="81" y="77"/>
                  </a:moveTo>
                  <a:cubicBezTo>
                    <a:pt x="81" y="77"/>
                    <a:pt x="81" y="77"/>
                    <a:pt x="81" y="77"/>
                  </a:cubicBezTo>
                  <a:cubicBezTo>
                    <a:pt x="78" y="75"/>
                    <a:pt x="74" y="72"/>
                    <a:pt x="72" y="69"/>
                  </a:cubicBezTo>
                  <a:cubicBezTo>
                    <a:pt x="67" y="65"/>
                    <a:pt x="61" y="61"/>
                    <a:pt x="57" y="56"/>
                  </a:cubicBezTo>
                  <a:cubicBezTo>
                    <a:pt x="57" y="54"/>
                    <a:pt x="57" y="53"/>
                    <a:pt x="59" y="53"/>
                  </a:cubicBezTo>
                  <a:cubicBezTo>
                    <a:pt x="65" y="53"/>
                    <a:pt x="70" y="58"/>
                    <a:pt x="73" y="62"/>
                  </a:cubicBezTo>
                  <a:cubicBezTo>
                    <a:pt x="76" y="65"/>
                    <a:pt x="79" y="68"/>
                    <a:pt x="82" y="71"/>
                  </a:cubicBezTo>
                  <a:cubicBezTo>
                    <a:pt x="84" y="64"/>
                    <a:pt x="86" y="57"/>
                    <a:pt x="90" y="51"/>
                  </a:cubicBezTo>
                  <a:cubicBezTo>
                    <a:pt x="86" y="47"/>
                    <a:pt x="83" y="44"/>
                    <a:pt x="80" y="40"/>
                  </a:cubicBezTo>
                  <a:cubicBezTo>
                    <a:pt x="77" y="38"/>
                    <a:pt x="75" y="36"/>
                    <a:pt x="72" y="34"/>
                  </a:cubicBezTo>
                  <a:cubicBezTo>
                    <a:pt x="70" y="32"/>
                    <a:pt x="68" y="31"/>
                    <a:pt x="67" y="28"/>
                  </a:cubicBezTo>
                  <a:cubicBezTo>
                    <a:pt x="62" y="34"/>
                    <a:pt x="59" y="40"/>
                    <a:pt x="57" y="47"/>
                  </a:cubicBezTo>
                  <a:cubicBezTo>
                    <a:pt x="54" y="56"/>
                    <a:pt x="54" y="65"/>
                    <a:pt x="52" y="73"/>
                  </a:cubicBezTo>
                  <a:cubicBezTo>
                    <a:pt x="52" y="76"/>
                    <a:pt x="51" y="78"/>
                    <a:pt x="51" y="80"/>
                  </a:cubicBezTo>
                  <a:cubicBezTo>
                    <a:pt x="52" y="81"/>
                    <a:pt x="53" y="82"/>
                    <a:pt x="54" y="82"/>
                  </a:cubicBezTo>
                  <a:cubicBezTo>
                    <a:pt x="57" y="84"/>
                    <a:pt x="61" y="87"/>
                    <a:pt x="64" y="89"/>
                  </a:cubicBezTo>
                  <a:cubicBezTo>
                    <a:pt x="66" y="91"/>
                    <a:pt x="67" y="93"/>
                    <a:pt x="69" y="96"/>
                  </a:cubicBezTo>
                  <a:cubicBezTo>
                    <a:pt x="70" y="98"/>
                    <a:pt x="72" y="101"/>
                    <a:pt x="74" y="103"/>
                  </a:cubicBezTo>
                  <a:cubicBezTo>
                    <a:pt x="78" y="95"/>
                    <a:pt x="79" y="86"/>
                    <a:pt x="81" y="77"/>
                  </a:cubicBezTo>
                  <a:close/>
                  <a:moveTo>
                    <a:pt x="71" y="109"/>
                  </a:moveTo>
                  <a:cubicBezTo>
                    <a:pt x="71" y="109"/>
                    <a:pt x="71" y="109"/>
                    <a:pt x="71" y="109"/>
                  </a:cubicBezTo>
                  <a:cubicBezTo>
                    <a:pt x="71" y="108"/>
                    <a:pt x="72" y="107"/>
                    <a:pt x="73" y="106"/>
                  </a:cubicBezTo>
                  <a:cubicBezTo>
                    <a:pt x="68" y="104"/>
                    <a:pt x="65" y="99"/>
                    <a:pt x="62" y="96"/>
                  </a:cubicBezTo>
                  <a:cubicBezTo>
                    <a:pt x="59" y="93"/>
                    <a:pt x="56" y="91"/>
                    <a:pt x="52" y="88"/>
                  </a:cubicBezTo>
                  <a:cubicBezTo>
                    <a:pt x="51" y="88"/>
                    <a:pt x="50" y="87"/>
                    <a:pt x="49" y="86"/>
                  </a:cubicBezTo>
                  <a:cubicBezTo>
                    <a:pt x="47" y="91"/>
                    <a:pt x="44" y="95"/>
                    <a:pt x="41" y="98"/>
                  </a:cubicBezTo>
                  <a:cubicBezTo>
                    <a:pt x="41" y="98"/>
                    <a:pt x="41" y="98"/>
                    <a:pt x="41" y="98"/>
                  </a:cubicBezTo>
                  <a:cubicBezTo>
                    <a:pt x="44" y="100"/>
                    <a:pt x="47" y="104"/>
                    <a:pt x="49" y="107"/>
                  </a:cubicBezTo>
                  <a:cubicBezTo>
                    <a:pt x="52" y="112"/>
                    <a:pt x="54" y="118"/>
                    <a:pt x="56" y="123"/>
                  </a:cubicBezTo>
                  <a:cubicBezTo>
                    <a:pt x="62" y="119"/>
                    <a:pt x="67" y="114"/>
                    <a:pt x="71" y="10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ŝlíḋê"/>
            <p:cNvSpPr/>
            <p:nvPr/>
          </p:nvSpPr>
          <p:spPr bwMode="auto">
            <a:xfrm>
              <a:off x="5237481" y="3447462"/>
              <a:ext cx="653790" cy="836715"/>
            </a:xfrm>
            <a:custGeom>
              <a:avLst/>
              <a:gdLst>
                <a:gd name="T0" fmla="*/ 1 w 93"/>
                <a:gd name="T1" fmla="*/ 117 h 119"/>
                <a:gd name="T2" fmla="*/ 1 w 93"/>
                <a:gd name="T3" fmla="*/ 117 h 119"/>
                <a:gd name="T4" fmla="*/ 1 w 93"/>
                <a:gd name="T5" fmla="*/ 119 h 119"/>
                <a:gd name="T6" fmla="*/ 9 w 93"/>
                <a:gd name="T7" fmla="*/ 117 h 119"/>
                <a:gd name="T8" fmla="*/ 20 w 93"/>
                <a:gd name="T9" fmla="*/ 114 h 119"/>
                <a:gd name="T10" fmla="*/ 38 w 93"/>
                <a:gd name="T11" fmla="*/ 108 h 119"/>
                <a:gd name="T12" fmla="*/ 47 w 93"/>
                <a:gd name="T13" fmla="*/ 103 h 119"/>
                <a:gd name="T14" fmla="*/ 40 w 93"/>
                <a:gd name="T15" fmla="*/ 92 h 119"/>
                <a:gd name="T16" fmla="*/ 24 w 93"/>
                <a:gd name="T17" fmla="*/ 101 h 119"/>
                <a:gd name="T18" fmla="*/ 26 w 93"/>
                <a:gd name="T19" fmla="*/ 108 h 119"/>
                <a:gd name="T20" fmla="*/ 21 w 93"/>
                <a:gd name="T21" fmla="*/ 111 h 119"/>
                <a:gd name="T22" fmla="*/ 18 w 93"/>
                <a:gd name="T23" fmla="*/ 103 h 119"/>
                <a:gd name="T24" fmla="*/ 12 w 93"/>
                <a:gd name="T25" fmla="*/ 105 h 119"/>
                <a:gd name="T26" fmla="*/ 0 w 93"/>
                <a:gd name="T27" fmla="*/ 110 h 119"/>
                <a:gd name="T28" fmla="*/ 1 w 93"/>
                <a:gd name="T29" fmla="*/ 117 h 119"/>
                <a:gd name="T30" fmla="*/ 45 w 93"/>
                <a:gd name="T31" fmla="*/ 88 h 119"/>
                <a:gd name="T32" fmla="*/ 54 w 93"/>
                <a:gd name="T33" fmla="*/ 71 h 119"/>
                <a:gd name="T34" fmla="*/ 57 w 93"/>
                <a:gd name="T35" fmla="*/ 74 h 119"/>
                <a:gd name="T36" fmla="*/ 68 w 93"/>
                <a:gd name="T37" fmla="*/ 84 h 119"/>
                <a:gd name="T38" fmla="*/ 66 w 93"/>
                <a:gd name="T39" fmla="*/ 87 h 119"/>
                <a:gd name="T40" fmla="*/ 66 w 93"/>
                <a:gd name="T41" fmla="*/ 87 h 119"/>
                <a:gd name="T42" fmla="*/ 51 w 93"/>
                <a:gd name="T43" fmla="*/ 101 h 119"/>
                <a:gd name="T44" fmla="*/ 45 w 93"/>
                <a:gd name="T45" fmla="*/ 88 h 119"/>
                <a:gd name="T46" fmla="*/ 56 w 93"/>
                <a:gd name="T47" fmla="*/ 65 h 119"/>
                <a:gd name="T48" fmla="*/ 61 w 93"/>
                <a:gd name="T49" fmla="*/ 42 h 119"/>
                <a:gd name="T50" fmla="*/ 67 w 93"/>
                <a:gd name="T51" fmla="*/ 47 h 119"/>
                <a:gd name="T52" fmla="*/ 76 w 93"/>
                <a:gd name="T53" fmla="*/ 55 h 119"/>
                <a:gd name="T54" fmla="*/ 76 w 93"/>
                <a:gd name="T55" fmla="*/ 55 h 119"/>
                <a:gd name="T56" fmla="*/ 69 w 93"/>
                <a:gd name="T57" fmla="*/ 81 h 119"/>
                <a:gd name="T58" fmla="*/ 64 w 93"/>
                <a:gd name="T59" fmla="*/ 74 h 119"/>
                <a:gd name="T60" fmla="*/ 59 w 93"/>
                <a:gd name="T61" fmla="*/ 67 h 119"/>
                <a:gd name="T62" fmla="*/ 56 w 93"/>
                <a:gd name="T63" fmla="*/ 65 h 119"/>
                <a:gd name="T64" fmla="*/ 63 w 93"/>
                <a:gd name="T65" fmla="*/ 35 h 119"/>
                <a:gd name="T66" fmla="*/ 74 w 93"/>
                <a:gd name="T67" fmla="*/ 17 h 119"/>
                <a:gd name="T68" fmla="*/ 75 w 93"/>
                <a:gd name="T69" fmla="*/ 18 h 119"/>
                <a:gd name="T70" fmla="*/ 85 w 93"/>
                <a:gd name="T71" fmla="*/ 29 h 119"/>
                <a:gd name="T72" fmla="*/ 77 w 93"/>
                <a:gd name="T73" fmla="*/ 49 h 119"/>
                <a:gd name="T74" fmla="*/ 68 w 93"/>
                <a:gd name="T75" fmla="*/ 40 h 119"/>
                <a:gd name="T76" fmla="*/ 63 w 93"/>
                <a:gd name="T77" fmla="*/ 35 h 119"/>
                <a:gd name="T78" fmla="*/ 78 w 93"/>
                <a:gd name="T79" fmla="*/ 12 h 119"/>
                <a:gd name="T80" fmla="*/ 87 w 93"/>
                <a:gd name="T81" fmla="*/ 5 h 119"/>
                <a:gd name="T82" fmla="*/ 93 w 93"/>
                <a:gd name="T83" fmla="*/ 14 h 119"/>
                <a:gd name="T84" fmla="*/ 93 w 93"/>
                <a:gd name="T85" fmla="*/ 15 h 119"/>
                <a:gd name="T86" fmla="*/ 93 w 93"/>
                <a:gd name="T87" fmla="*/ 20 h 119"/>
                <a:gd name="T88" fmla="*/ 93 w 93"/>
                <a:gd name="T89" fmla="*/ 20 h 119"/>
                <a:gd name="T90" fmla="*/ 88 w 93"/>
                <a:gd name="T91" fmla="*/ 24 h 119"/>
                <a:gd name="T92" fmla="*/ 78 w 93"/>
                <a:gd name="T93" fmla="*/ 12 h 119"/>
                <a:gd name="T94" fmla="*/ 92 w 93"/>
                <a:gd name="T95" fmla="*/ 1 h 119"/>
                <a:gd name="T96" fmla="*/ 93 w 93"/>
                <a:gd name="T97" fmla="*/ 0 h 119"/>
                <a:gd name="T98" fmla="*/ 93 w 93"/>
                <a:gd name="T99" fmla="*/ 3 h 119"/>
                <a:gd name="T100" fmla="*/ 92 w 93"/>
                <a:gd name="T101" fmla="*/ 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3" h="119">
                  <a:moveTo>
                    <a:pt x="1" y="117"/>
                  </a:moveTo>
                  <a:cubicBezTo>
                    <a:pt x="1" y="117"/>
                    <a:pt x="1" y="117"/>
                    <a:pt x="1" y="117"/>
                  </a:cubicBezTo>
                  <a:cubicBezTo>
                    <a:pt x="1" y="118"/>
                    <a:pt x="1" y="118"/>
                    <a:pt x="1" y="119"/>
                  </a:cubicBezTo>
                  <a:cubicBezTo>
                    <a:pt x="3" y="118"/>
                    <a:pt x="6" y="117"/>
                    <a:pt x="9" y="117"/>
                  </a:cubicBezTo>
                  <a:cubicBezTo>
                    <a:pt x="13" y="116"/>
                    <a:pt x="17" y="115"/>
                    <a:pt x="20" y="114"/>
                  </a:cubicBezTo>
                  <a:cubicBezTo>
                    <a:pt x="27" y="113"/>
                    <a:pt x="32" y="111"/>
                    <a:pt x="38" y="108"/>
                  </a:cubicBezTo>
                  <a:cubicBezTo>
                    <a:pt x="41" y="107"/>
                    <a:pt x="44" y="105"/>
                    <a:pt x="47" y="103"/>
                  </a:cubicBezTo>
                  <a:cubicBezTo>
                    <a:pt x="45" y="99"/>
                    <a:pt x="43" y="95"/>
                    <a:pt x="40" y="92"/>
                  </a:cubicBezTo>
                  <a:cubicBezTo>
                    <a:pt x="36" y="94"/>
                    <a:pt x="31" y="97"/>
                    <a:pt x="24" y="101"/>
                  </a:cubicBezTo>
                  <a:cubicBezTo>
                    <a:pt x="24" y="103"/>
                    <a:pt x="25" y="106"/>
                    <a:pt x="26" y="108"/>
                  </a:cubicBezTo>
                  <a:cubicBezTo>
                    <a:pt x="27" y="111"/>
                    <a:pt x="22" y="113"/>
                    <a:pt x="21" y="111"/>
                  </a:cubicBezTo>
                  <a:cubicBezTo>
                    <a:pt x="20" y="108"/>
                    <a:pt x="19" y="106"/>
                    <a:pt x="18" y="103"/>
                  </a:cubicBezTo>
                  <a:cubicBezTo>
                    <a:pt x="16" y="104"/>
                    <a:pt x="14" y="105"/>
                    <a:pt x="12" y="105"/>
                  </a:cubicBezTo>
                  <a:cubicBezTo>
                    <a:pt x="8" y="107"/>
                    <a:pt x="4" y="108"/>
                    <a:pt x="0" y="110"/>
                  </a:cubicBezTo>
                  <a:cubicBezTo>
                    <a:pt x="0" y="112"/>
                    <a:pt x="0" y="114"/>
                    <a:pt x="1" y="117"/>
                  </a:cubicBezTo>
                  <a:close/>
                  <a:moveTo>
                    <a:pt x="45" y="88"/>
                  </a:moveTo>
                  <a:cubicBezTo>
                    <a:pt x="50" y="83"/>
                    <a:pt x="53" y="77"/>
                    <a:pt x="54" y="71"/>
                  </a:cubicBezTo>
                  <a:cubicBezTo>
                    <a:pt x="55" y="72"/>
                    <a:pt x="56" y="73"/>
                    <a:pt x="57" y="74"/>
                  </a:cubicBezTo>
                  <a:cubicBezTo>
                    <a:pt x="60" y="77"/>
                    <a:pt x="63" y="82"/>
                    <a:pt x="68" y="84"/>
                  </a:cubicBezTo>
                  <a:cubicBezTo>
                    <a:pt x="67" y="85"/>
                    <a:pt x="66" y="86"/>
                    <a:pt x="66" y="87"/>
                  </a:cubicBezTo>
                  <a:cubicBezTo>
                    <a:pt x="66" y="87"/>
                    <a:pt x="66" y="87"/>
                    <a:pt x="66" y="87"/>
                  </a:cubicBezTo>
                  <a:cubicBezTo>
                    <a:pt x="62" y="92"/>
                    <a:pt x="57" y="97"/>
                    <a:pt x="51" y="101"/>
                  </a:cubicBezTo>
                  <a:cubicBezTo>
                    <a:pt x="49" y="96"/>
                    <a:pt x="47" y="92"/>
                    <a:pt x="45" y="88"/>
                  </a:cubicBezTo>
                  <a:close/>
                  <a:moveTo>
                    <a:pt x="56" y="65"/>
                  </a:moveTo>
                  <a:cubicBezTo>
                    <a:pt x="57" y="58"/>
                    <a:pt x="58" y="51"/>
                    <a:pt x="61" y="42"/>
                  </a:cubicBezTo>
                  <a:cubicBezTo>
                    <a:pt x="63" y="44"/>
                    <a:pt x="65" y="45"/>
                    <a:pt x="67" y="47"/>
                  </a:cubicBezTo>
                  <a:cubicBezTo>
                    <a:pt x="69" y="50"/>
                    <a:pt x="73" y="53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4" y="64"/>
                    <a:pt x="73" y="73"/>
                    <a:pt x="69" y="81"/>
                  </a:cubicBezTo>
                  <a:cubicBezTo>
                    <a:pt x="67" y="79"/>
                    <a:pt x="65" y="76"/>
                    <a:pt x="64" y="74"/>
                  </a:cubicBezTo>
                  <a:cubicBezTo>
                    <a:pt x="62" y="71"/>
                    <a:pt x="61" y="69"/>
                    <a:pt x="59" y="67"/>
                  </a:cubicBezTo>
                  <a:cubicBezTo>
                    <a:pt x="58" y="66"/>
                    <a:pt x="57" y="65"/>
                    <a:pt x="56" y="65"/>
                  </a:cubicBezTo>
                  <a:close/>
                  <a:moveTo>
                    <a:pt x="63" y="35"/>
                  </a:moveTo>
                  <a:cubicBezTo>
                    <a:pt x="66" y="28"/>
                    <a:pt x="70" y="22"/>
                    <a:pt x="74" y="17"/>
                  </a:cubicBezTo>
                  <a:cubicBezTo>
                    <a:pt x="74" y="17"/>
                    <a:pt x="74" y="18"/>
                    <a:pt x="75" y="18"/>
                  </a:cubicBezTo>
                  <a:cubicBezTo>
                    <a:pt x="78" y="22"/>
                    <a:pt x="81" y="25"/>
                    <a:pt x="85" y="29"/>
                  </a:cubicBezTo>
                  <a:cubicBezTo>
                    <a:pt x="81" y="35"/>
                    <a:pt x="79" y="42"/>
                    <a:pt x="77" y="49"/>
                  </a:cubicBezTo>
                  <a:cubicBezTo>
                    <a:pt x="74" y="46"/>
                    <a:pt x="71" y="43"/>
                    <a:pt x="68" y="40"/>
                  </a:cubicBezTo>
                  <a:cubicBezTo>
                    <a:pt x="67" y="39"/>
                    <a:pt x="65" y="37"/>
                    <a:pt x="63" y="35"/>
                  </a:cubicBezTo>
                  <a:close/>
                  <a:moveTo>
                    <a:pt x="78" y="12"/>
                  </a:moveTo>
                  <a:cubicBezTo>
                    <a:pt x="81" y="9"/>
                    <a:pt x="84" y="7"/>
                    <a:pt x="87" y="5"/>
                  </a:cubicBezTo>
                  <a:cubicBezTo>
                    <a:pt x="89" y="7"/>
                    <a:pt x="91" y="10"/>
                    <a:pt x="93" y="14"/>
                  </a:cubicBezTo>
                  <a:cubicBezTo>
                    <a:pt x="93" y="14"/>
                    <a:pt x="93" y="15"/>
                    <a:pt x="93" y="15"/>
                  </a:cubicBezTo>
                  <a:cubicBezTo>
                    <a:pt x="93" y="17"/>
                    <a:pt x="93" y="19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1" y="22"/>
                    <a:pt x="90" y="23"/>
                    <a:pt x="88" y="24"/>
                  </a:cubicBezTo>
                  <a:cubicBezTo>
                    <a:pt x="85" y="21"/>
                    <a:pt x="82" y="16"/>
                    <a:pt x="78" y="12"/>
                  </a:cubicBezTo>
                  <a:close/>
                  <a:moveTo>
                    <a:pt x="92" y="1"/>
                  </a:moveTo>
                  <a:cubicBezTo>
                    <a:pt x="92" y="1"/>
                    <a:pt x="93" y="0"/>
                    <a:pt x="93" y="0"/>
                  </a:cubicBezTo>
                  <a:cubicBezTo>
                    <a:pt x="93" y="1"/>
                    <a:pt x="93" y="2"/>
                    <a:pt x="93" y="3"/>
                  </a:cubicBezTo>
                  <a:cubicBezTo>
                    <a:pt x="93" y="3"/>
                    <a:pt x="92" y="2"/>
                    <a:pt x="92" y="1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$1íḑe"/>
            <p:cNvSpPr/>
            <p:nvPr/>
          </p:nvSpPr>
          <p:spPr bwMode="auto">
            <a:xfrm>
              <a:off x="6843160" y="3342449"/>
              <a:ext cx="667340" cy="1412592"/>
            </a:xfrm>
            <a:custGeom>
              <a:avLst/>
              <a:gdLst>
                <a:gd name="T0" fmla="*/ 11 w 95"/>
                <a:gd name="T1" fmla="*/ 47 h 201"/>
                <a:gd name="T2" fmla="*/ 39 w 95"/>
                <a:gd name="T3" fmla="*/ 30 h 201"/>
                <a:gd name="T4" fmla="*/ 18 w 95"/>
                <a:gd name="T5" fmla="*/ 11 h 201"/>
                <a:gd name="T6" fmla="*/ 3 w 95"/>
                <a:gd name="T7" fmla="*/ 29 h 201"/>
                <a:gd name="T8" fmla="*/ 0 w 95"/>
                <a:gd name="T9" fmla="*/ 40 h 201"/>
                <a:gd name="T10" fmla="*/ 0 w 95"/>
                <a:gd name="T11" fmla="*/ 0 h 201"/>
                <a:gd name="T12" fmla="*/ 1 w 95"/>
                <a:gd name="T13" fmla="*/ 21 h 201"/>
                <a:gd name="T14" fmla="*/ 13 w 95"/>
                <a:gd name="T15" fmla="*/ 8 h 201"/>
                <a:gd name="T16" fmla="*/ 62 w 95"/>
                <a:gd name="T17" fmla="*/ 60 h 201"/>
                <a:gd name="T18" fmla="*/ 44 w 95"/>
                <a:gd name="T19" fmla="*/ 73 h 201"/>
                <a:gd name="T20" fmla="*/ 42 w 95"/>
                <a:gd name="T21" fmla="*/ 93 h 201"/>
                <a:gd name="T22" fmla="*/ 73 w 95"/>
                <a:gd name="T23" fmla="*/ 84 h 201"/>
                <a:gd name="T24" fmla="*/ 69 w 95"/>
                <a:gd name="T25" fmla="*/ 73 h 201"/>
                <a:gd name="T26" fmla="*/ 86 w 95"/>
                <a:gd name="T27" fmla="*/ 119 h 201"/>
                <a:gd name="T28" fmla="*/ 81 w 95"/>
                <a:gd name="T29" fmla="*/ 119 h 201"/>
                <a:gd name="T30" fmla="*/ 61 w 95"/>
                <a:gd name="T31" fmla="*/ 122 h 201"/>
                <a:gd name="T32" fmla="*/ 57 w 95"/>
                <a:gd name="T33" fmla="*/ 140 h 201"/>
                <a:gd name="T34" fmla="*/ 92 w 95"/>
                <a:gd name="T35" fmla="*/ 139 h 201"/>
                <a:gd name="T36" fmla="*/ 94 w 95"/>
                <a:gd name="T37" fmla="*/ 148 h 201"/>
                <a:gd name="T38" fmla="*/ 93 w 95"/>
                <a:gd name="T39" fmla="*/ 147 h 201"/>
                <a:gd name="T40" fmla="*/ 85 w 95"/>
                <a:gd name="T41" fmla="*/ 146 h 201"/>
                <a:gd name="T42" fmla="*/ 58 w 95"/>
                <a:gd name="T43" fmla="*/ 147 h 201"/>
                <a:gd name="T44" fmla="*/ 79 w 95"/>
                <a:gd name="T45" fmla="*/ 162 h 201"/>
                <a:gd name="T46" fmla="*/ 95 w 95"/>
                <a:gd name="T47" fmla="*/ 168 h 201"/>
                <a:gd name="T48" fmla="*/ 92 w 95"/>
                <a:gd name="T49" fmla="*/ 187 h 201"/>
                <a:gd name="T50" fmla="*/ 94 w 95"/>
                <a:gd name="T51" fmla="*/ 174 h 201"/>
                <a:gd name="T52" fmla="*/ 78 w 95"/>
                <a:gd name="T53" fmla="*/ 168 h 201"/>
                <a:gd name="T54" fmla="*/ 60 w 95"/>
                <a:gd name="T55" fmla="*/ 171 h 201"/>
                <a:gd name="T56" fmla="*/ 65 w 95"/>
                <a:gd name="T57" fmla="*/ 174 h 201"/>
                <a:gd name="T58" fmla="*/ 92 w 95"/>
                <a:gd name="T59" fmla="*/ 187 h 201"/>
                <a:gd name="T60" fmla="*/ 58 w 95"/>
                <a:gd name="T61" fmla="*/ 186 h 201"/>
                <a:gd name="T62" fmla="*/ 83 w 95"/>
                <a:gd name="T63" fmla="*/ 198 h 201"/>
                <a:gd name="T64" fmla="*/ 91 w 95"/>
                <a:gd name="T65" fmla="*/ 193 h 201"/>
                <a:gd name="T66" fmla="*/ 74 w 95"/>
                <a:gd name="T67" fmla="*/ 185 h 201"/>
                <a:gd name="T68" fmla="*/ 59 w 95"/>
                <a:gd name="T69" fmla="*/ 181 h 201"/>
                <a:gd name="T70" fmla="*/ 58 w 95"/>
                <a:gd name="T71" fmla="*/ 186 h 201"/>
                <a:gd name="T72" fmla="*/ 46 w 95"/>
                <a:gd name="T73" fmla="*/ 101 h 201"/>
                <a:gd name="T74" fmla="*/ 59 w 95"/>
                <a:gd name="T75" fmla="*/ 115 h 201"/>
                <a:gd name="T76" fmla="*/ 84 w 95"/>
                <a:gd name="T77" fmla="*/ 114 h 201"/>
                <a:gd name="T78" fmla="*/ 75 w 95"/>
                <a:gd name="T79" fmla="*/ 88 h 201"/>
                <a:gd name="T80" fmla="*/ 55 w 95"/>
                <a:gd name="T81" fmla="*/ 95 h 201"/>
                <a:gd name="T82" fmla="*/ 45 w 95"/>
                <a:gd name="T83" fmla="*/ 100 h 201"/>
                <a:gd name="T84" fmla="*/ 31 w 95"/>
                <a:gd name="T85" fmla="*/ 72 h 201"/>
                <a:gd name="T86" fmla="*/ 44 w 95"/>
                <a:gd name="T87" fmla="*/ 65 h 201"/>
                <a:gd name="T88" fmla="*/ 43 w 95"/>
                <a:gd name="T89" fmla="*/ 33 h 201"/>
                <a:gd name="T90" fmla="*/ 21 w 95"/>
                <a:gd name="T91" fmla="*/ 57 h 201"/>
                <a:gd name="T92" fmla="*/ 31 w 95"/>
                <a:gd name="T93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201">
                  <a:moveTo>
                    <a:pt x="11" y="47"/>
                  </a:moveTo>
                  <a:cubicBezTo>
                    <a:pt x="11" y="47"/>
                    <a:pt x="11" y="47"/>
                    <a:pt x="11" y="47"/>
                  </a:cubicBezTo>
                  <a:cubicBezTo>
                    <a:pt x="14" y="49"/>
                    <a:pt x="16" y="51"/>
                    <a:pt x="18" y="53"/>
                  </a:cubicBezTo>
                  <a:cubicBezTo>
                    <a:pt x="21" y="43"/>
                    <a:pt x="31" y="36"/>
                    <a:pt x="39" y="30"/>
                  </a:cubicBezTo>
                  <a:cubicBezTo>
                    <a:pt x="36" y="27"/>
                    <a:pt x="33" y="24"/>
                    <a:pt x="30" y="21"/>
                  </a:cubicBezTo>
                  <a:cubicBezTo>
                    <a:pt x="26" y="17"/>
                    <a:pt x="22" y="14"/>
                    <a:pt x="18" y="11"/>
                  </a:cubicBezTo>
                  <a:cubicBezTo>
                    <a:pt x="15" y="15"/>
                    <a:pt x="12" y="18"/>
                    <a:pt x="8" y="22"/>
                  </a:cubicBezTo>
                  <a:cubicBezTo>
                    <a:pt x="6" y="24"/>
                    <a:pt x="5" y="27"/>
                    <a:pt x="3" y="29"/>
                  </a:cubicBezTo>
                  <a:cubicBezTo>
                    <a:pt x="2" y="31"/>
                    <a:pt x="1" y="33"/>
                    <a:pt x="0" y="35"/>
                  </a:cubicBezTo>
                  <a:cubicBezTo>
                    <a:pt x="0" y="37"/>
                    <a:pt x="0" y="38"/>
                    <a:pt x="0" y="40"/>
                  </a:cubicBezTo>
                  <a:cubicBezTo>
                    <a:pt x="4" y="42"/>
                    <a:pt x="8" y="45"/>
                    <a:pt x="11" y="47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2" y="14"/>
                    <a:pt x="1" y="21"/>
                  </a:cubicBezTo>
                  <a:cubicBezTo>
                    <a:pt x="2" y="20"/>
                    <a:pt x="3" y="19"/>
                    <a:pt x="3" y="18"/>
                  </a:cubicBezTo>
                  <a:cubicBezTo>
                    <a:pt x="6" y="15"/>
                    <a:pt x="10" y="11"/>
                    <a:pt x="13" y="8"/>
                  </a:cubicBezTo>
                  <a:cubicBezTo>
                    <a:pt x="9" y="5"/>
                    <a:pt x="5" y="2"/>
                    <a:pt x="0" y="0"/>
                  </a:cubicBezTo>
                  <a:close/>
                  <a:moveTo>
                    <a:pt x="62" y="60"/>
                  </a:moveTo>
                  <a:cubicBezTo>
                    <a:pt x="62" y="60"/>
                    <a:pt x="62" y="60"/>
                    <a:pt x="62" y="60"/>
                  </a:cubicBezTo>
                  <a:cubicBezTo>
                    <a:pt x="56" y="64"/>
                    <a:pt x="50" y="69"/>
                    <a:pt x="44" y="73"/>
                  </a:cubicBezTo>
                  <a:cubicBezTo>
                    <a:pt x="41" y="74"/>
                    <a:pt x="38" y="76"/>
                    <a:pt x="35" y="78"/>
                  </a:cubicBezTo>
                  <a:cubicBezTo>
                    <a:pt x="38" y="83"/>
                    <a:pt x="40" y="88"/>
                    <a:pt x="42" y="93"/>
                  </a:cubicBezTo>
                  <a:cubicBezTo>
                    <a:pt x="45" y="92"/>
                    <a:pt x="48" y="90"/>
                    <a:pt x="50" y="90"/>
                  </a:cubicBezTo>
                  <a:cubicBezTo>
                    <a:pt x="57" y="87"/>
                    <a:pt x="65" y="86"/>
                    <a:pt x="73" y="84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72" y="80"/>
                    <a:pt x="70" y="77"/>
                    <a:pt x="69" y="73"/>
                  </a:cubicBezTo>
                  <a:cubicBezTo>
                    <a:pt x="67" y="68"/>
                    <a:pt x="65" y="64"/>
                    <a:pt x="62" y="60"/>
                  </a:cubicBezTo>
                  <a:close/>
                  <a:moveTo>
                    <a:pt x="86" y="119"/>
                  </a:moveTo>
                  <a:cubicBezTo>
                    <a:pt x="86" y="119"/>
                    <a:pt x="86" y="119"/>
                    <a:pt x="86" y="119"/>
                  </a:cubicBezTo>
                  <a:cubicBezTo>
                    <a:pt x="84" y="119"/>
                    <a:pt x="83" y="119"/>
                    <a:pt x="81" y="119"/>
                  </a:cubicBezTo>
                  <a:cubicBezTo>
                    <a:pt x="78" y="119"/>
                    <a:pt x="76" y="120"/>
                    <a:pt x="73" y="120"/>
                  </a:cubicBezTo>
                  <a:cubicBezTo>
                    <a:pt x="69" y="120"/>
                    <a:pt x="65" y="121"/>
                    <a:pt x="61" y="122"/>
                  </a:cubicBezTo>
                  <a:cubicBezTo>
                    <a:pt x="59" y="123"/>
                    <a:pt x="56" y="124"/>
                    <a:pt x="54" y="124"/>
                  </a:cubicBezTo>
                  <a:cubicBezTo>
                    <a:pt x="55" y="129"/>
                    <a:pt x="56" y="134"/>
                    <a:pt x="57" y="140"/>
                  </a:cubicBezTo>
                  <a:cubicBezTo>
                    <a:pt x="67" y="138"/>
                    <a:pt x="84" y="138"/>
                    <a:pt x="92" y="141"/>
                  </a:cubicBezTo>
                  <a:cubicBezTo>
                    <a:pt x="92" y="140"/>
                    <a:pt x="92" y="140"/>
                    <a:pt x="92" y="139"/>
                  </a:cubicBezTo>
                  <a:cubicBezTo>
                    <a:pt x="90" y="132"/>
                    <a:pt x="88" y="126"/>
                    <a:pt x="86" y="119"/>
                  </a:cubicBezTo>
                  <a:close/>
                  <a:moveTo>
                    <a:pt x="94" y="148"/>
                  </a:moveTo>
                  <a:cubicBezTo>
                    <a:pt x="94" y="148"/>
                    <a:pt x="94" y="148"/>
                    <a:pt x="94" y="148"/>
                  </a:cubicBezTo>
                  <a:cubicBezTo>
                    <a:pt x="93" y="148"/>
                    <a:pt x="93" y="148"/>
                    <a:pt x="93" y="147"/>
                  </a:cubicBezTo>
                  <a:cubicBezTo>
                    <a:pt x="93" y="147"/>
                    <a:pt x="91" y="147"/>
                    <a:pt x="91" y="146"/>
                  </a:cubicBezTo>
                  <a:cubicBezTo>
                    <a:pt x="89" y="146"/>
                    <a:pt x="87" y="146"/>
                    <a:pt x="85" y="146"/>
                  </a:cubicBezTo>
                  <a:cubicBezTo>
                    <a:pt x="80" y="146"/>
                    <a:pt x="75" y="146"/>
                    <a:pt x="70" y="146"/>
                  </a:cubicBezTo>
                  <a:cubicBezTo>
                    <a:pt x="66" y="147"/>
                    <a:pt x="62" y="147"/>
                    <a:pt x="58" y="147"/>
                  </a:cubicBezTo>
                  <a:cubicBezTo>
                    <a:pt x="59" y="152"/>
                    <a:pt x="59" y="156"/>
                    <a:pt x="60" y="160"/>
                  </a:cubicBezTo>
                  <a:cubicBezTo>
                    <a:pt x="66" y="160"/>
                    <a:pt x="72" y="161"/>
                    <a:pt x="79" y="162"/>
                  </a:cubicBezTo>
                  <a:cubicBezTo>
                    <a:pt x="82" y="162"/>
                    <a:pt x="85" y="163"/>
                    <a:pt x="89" y="164"/>
                  </a:cubicBezTo>
                  <a:cubicBezTo>
                    <a:pt x="91" y="165"/>
                    <a:pt x="93" y="167"/>
                    <a:pt x="95" y="168"/>
                  </a:cubicBezTo>
                  <a:cubicBezTo>
                    <a:pt x="95" y="161"/>
                    <a:pt x="95" y="155"/>
                    <a:pt x="94" y="148"/>
                  </a:cubicBezTo>
                  <a:close/>
                  <a:moveTo>
                    <a:pt x="92" y="187"/>
                  </a:moveTo>
                  <a:cubicBezTo>
                    <a:pt x="92" y="187"/>
                    <a:pt x="92" y="187"/>
                    <a:pt x="92" y="187"/>
                  </a:cubicBezTo>
                  <a:cubicBezTo>
                    <a:pt x="93" y="183"/>
                    <a:pt x="94" y="179"/>
                    <a:pt x="94" y="174"/>
                  </a:cubicBezTo>
                  <a:cubicBezTo>
                    <a:pt x="94" y="174"/>
                    <a:pt x="94" y="174"/>
                    <a:pt x="94" y="173"/>
                  </a:cubicBezTo>
                  <a:cubicBezTo>
                    <a:pt x="89" y="171"/>
                    <a:pt x="84" y="169"/>
                    <a:pt x="78" y="168"/>
                  </a:cubicBezTo>
                  <a:cubicBezTo>
                    <a:pt x="72" y="167"/>
                    <a:pt x="65" y="167"/>
                    <a:pt x="60" y="165"/>
                  </a:cubicBezTo>
                  <a:cubicBezTo>
                    <a:pt x="60" y="167"/>
                    <a:pt x="60" y="169"/>
                    <a:pt x="60" y="171"/>
                  </a:cubicBezTo>
                  <a:cubicBezTo>
                    <a:pt x="60" y="172"/>
                    <a:pt x="60" y="173"/>
                    <a:pt x="60" y="173"/>
                  </a:cubicBezTo>
                  <a:cubicBezTo>
                    <a:pt x="62" y="174"/>
                    <a:pt x="64" y="174"/>
                    <a:pt x="65" y="174"/>
                  </a:cubicBezTo>
                  <a:cubicBezTo>
                    <a:pt x="70" y="174"/>
                    <a:pt x="75" y="176"/>
                    <a:pt x="79" y="179"/>
                  </a:cubicBezTo>
                  <a:cubicBezTo>
                    <a:pt x="83" y="183"/>
                    <a:pt x="88" y="184"/>
                    <a:pt x="92" y="187"/>
                  </a:cubicBezTo>
                  <a:close/>
                  <a:moveTo>
                    <a:pt x="58" y="186"/>
                  </a:moveTo>
                  <a:cubicBezTo>
                    <a:pt x="58" y="186"/>
                    <a:pt x="58" y="186"/>
                    <a:pt x="58" y="186"/>
                  </a:cubicBezTo>
                  <a:cubicBezTo>
                    <a:pt x="62" y="188"/>
                    <a:pt x="66" y="189"/>
                    <a:pt x="70" y="191"/>
                  </a:cubicBezTo>
                  <a:cubicBezTo>
                    <a:pt x="74" y="193"/>
                    <a:pt x="78" y="196"/>
                    <a:pt x="83" y="198"/>
                  </a:cubicBezTo>
                  <a:cubicBezTo>
                    <a:pt x="85" y="199"/>
                    <a:pt x="87" y="200"/>
                    <a:pt x="89" y="201"/>
                  </a:cubicBezTo>
                  <a:cubicBezTo>
                    <a:pt x="90" y="199"/>
                    <a:pt x="90" y="196"/>
                    <a:pt x="91" y="193"/>
                  </a:cubicBezTo>
                  <a:cubicBezTo>
                    <a:pt x="89" y="192"/>
                    <a:pt x="87" y="192"/>
                    <a:pt x="85" y="191"/>
                  </a:cubicBezTo>
                  <a:cubicBezTo>
                    <a:pt x="81" y="189"/>
                    <a:pt x="77" y="188"/>
                    <a:pt x="74" y="185"/>
                  </a:cubicBezTo>
                  <a:cubicBezTo>
                    <a:pt x="70" y="182"/>
                    <a:pt x="66" y="181"/>
                    <a:pt x="61" y="181"/>
                  </a:cubicBezTo>
                  <a:cubicBezTo>
                    <a:pt x="60" y="181"/>
                    <a:pt x="59" y="181"/>
                    <a:pt x="59" y="181"/>
                  </a:cubicBezTo>
                  <a:cubicBezTo>
                    <a:pt x="58" y="183"/>
                    <a:pt x="58" y="185"/>
                    <a:pt x="57" y="186"/>
                  </a:cubicBezTo>
                  <a:cubicBezTo>
                    <a:pt x="57" y="186"/>
                    <a:pt x="57" y="186"/>
                    <a:pt x="58" y="186"/>
                  </a:cubicBezTo>
                  <a:close/>
                  <a:moveTo>
                    <a:pt x="46" y="101"/>
                  </a:moveTo>
                  <a:cubicBezTo>
                    <a:pt x="46" y="101"/>
                    <a:pt x="46" y="101"/>
                    <a:pt x="46" y="101"/>
                  </a:cubicBezTo>
                  <a:cubicBezTo>
                    <a:pt x="48" y="107"/>
                    <a:pt x="50" y="112"/>
                    <a:pt x="52" y="118"/>
                  </a:cubicBezTo>
                  <a:cubicBezTo>
                    <a:pt x="54" y="117"/>
                    <a:pt x="57" y="116"/>
                    <a:pt x="59" y="115"/>
                  </a:cubicBezTo>
                  <a:cubicBezTo>
                    <a:pt x="64" y="114"/>
                    <a:pt x="68" y="114"/>
                    <a:pt x="73" y="113"/>
                  </a:cubicBezTo>
                  <a:cubicBezTo>
                    <a:pt x="77" y="113"/>
                    <a:pt x="81" y="113"/>
                    <a:pt x="84" y="114"/>
                  </a:cubicBezTo>
                  <a:cubicBezTo>
                    <a:pt x="83" y="111"/>
                    <a:pt x="82" y="108"/>
                    <a:pt x="81" y="104"/>
                  </a:cubicBezTo>
                  <a:cubicBezTo>
                    <a:pt x="79" y="99"/>
                    <a:pt x="77" y="94"/>
                    <a:pt x="75" y="88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68" y="90"/>
                    <a:pt x="61" y="92"/>
                    <a:pt x="55" y="95"/>
                  </a:cubicBezTo>
                  <a:cubicBezTo>
                    <a:pt x="52" y="96"/>
                    <a:pt x="49" y="98"/>
                    <a:pt x="45" y="99"/>
                  </a:cubicBezTo>
                  <a:cubicBezTo>
                    <a:pt x="45" y="99"/>
                    <a:pt x="45" y="100"/>
                    <a:pt x="45" y="100"/>
                  </a:cubicBezTo>
                  <a:cubicBezTo>
                    <a:pt x="45" y="100"/>
                    <a:pt x="45" y="101"/>
                    <a:pt x="46" y="101"/>
                  </a:cubicBezTo>
                  <a:close/>
                  <a:moveTo>
                    <a:pt x="31" y="72"/>
                  </a:moveTo>
                  <a:cubicBezTo>
                    <a:pt x="31" y="72"/>
                    <a:pt x="31" y="72"/>
                    <a:pt x="31" y="72"/>
                  </a:cubicBezTo>
                  <a:cubicBezTo>
                    <a:pt x="35" y="69"/>
                    <a:pt x="40" y="67"/>
                    <a:pt x="44" y="65"/>
                  </a:cubicBezTo>
                  <a:cubicBezTo>
                    <a:pt x="49" y="61"/>
                    <a:pt x="54" y="58"/>
                    <a:pt x="60" y="56"/>
                  </a:cubicBezTo>
                  <a:cubicBezTo>
                    <a:pt x="55" y="48"/>
                    <a:pt x="49" y="40"/>
                    <a:pt x="43" y="33"/>
                  </a:cubicBezTo>
                  <a:cubicBezTo>
                    <a:pt x="39" y="37"/>
                    <a:pt x="35" y="41"/>
                    <a:pt x="31" y="45"/>
                  </a:cubicBezTo>
                  <a:cubicBezTo>
                    <a:pt x="27" y="48"/>
                    <a:pt x="25" y="53"/>
                    <a:pt x="21" y="57"/>
                  </a:cubicBezTo>
                  <a:cubicBezTo>
                    <a:pt x="23" y="59"/>
                    <a:pt x="24" y="60"/>
                    <a:pt x="25" y="62"/>
                  </a:cubicBezTo>
                  <a:cubicBezTo>
                    <a:pt x="27" y="65"/>
                    <a:pt x="30" y="68"/>
                    <a:pt x="31" y="72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îśliḍè"/>
            <p:cNvSpPr/>
            <p:nvPr/>
          </p:nvSpPr>
          <p:spPr bwMode="auto">
            <a:xfrm>
              <a:off x="6843160" y="3477949"/>
              <a:ext cx="504740" cy="1209341"/>
            </a:xfrm>
            <a:custGeom>
              <a:avLst/>
              <a:gdLst>
                <a:gd name="T0" fmla="*/ 11 w 72"/>
                <a:gd name="T1" fmla="*/ 28 h 172"/>
                <a:gd name="T2" fmla="*/ 28 w 72"/>
                <a:gd name="T3" fmla="*/ 19 h 172"/>
                <a:gd name="T4" fmla="*/ 3 w 72"/>
                <a:gd name="T5" fmla="*/ 10 h 172"/>
                <a:gd name="T6" fmla="*/ 0 w 72"/>
                <a:gd name="T7" fmla="*/ 21 h 172"/>
                <a:gd name="T8" fmla="*/ 1 w 72"/>
                <a:gd name="T9" fmla="*/ 0 h 172"/>
                <a:gd name="T10" fmla="*/ 1 w 72"/>
                <a:gd name="T11" fmla="*/ 2 h 172"/>
                <a:gd name="T12" fmla="*/ 33 w 72"/>
                <a:gd name="T13" fmla="*/ 24 h 172"/>
                <a:gd name="T14" fmla="*/ 47 w 72"/>
                <a:gd name="T15" fmla="*/ 43 h 172"/>
                <a:gd name="T16" fmla="*/ 31 w 72"/>
                <a:gd name="T17" fmla="*/ 53 h 172"/>
                <a:gd name="T18" fmla="*/ 25 w 72"/>
                <a:gd name="T19" fmla="*/ 43 h 172"/>
                <a:gd name="T20" fmla="*/ 31 w 72"/>
                <a:gd name="T21" fmla="*/ 26 h 172"/>
                <a:gd name="T22" fmla="*/ 51 w 72"/>
                <a:gd name="T23" fmla="*/ 49 h 172"/>
                <a:gd name="T24" fmla="*/ 50 w 72"/>
                <a:gd name="T25" fmla="*/ 71 h 172"/>
                <a:gd name="T26" fmla="*/ 35 w 72"/>
                <a:gd name="T27" fmla="*/ 59 h 172"/>
                <a:gd name="T28" fmla="*/ 51 w 72"/>
                <a:gd name="T29" fmla="*/ 49 h 172"/>
                <a:gd name="T30" fmla="*/ 67 w 72"/>
                <a:gd name="T31" fmla="*/ 95 h 172"/>
                <a:gd name="T32" fmla="*/ 52 w 72"/>
                <a:gd name="T33" fmla="*/ 99 h 172"/>
                <a:gd name="T34" fmla="*/ 46 w 72"/>
                <a:gd name="T35" fmla="*/ 82 h 172"/>
                <a:gd name="T36" fmla="*/ 45 w 72"/>
                <a:gd name="T37" fmla="*/ 80 h 172"/>
                <a:gd name="T38" fmla="*/ 62 w 72"/>
                <a:gd name="T39" fmla="*/ 73 h 172"/>
                <a:gd name="T40" fmla="*/ 71 w 72"/>
                <a:gd name="T41" fmla="*/ 119 h 172"/>
                <a:gd name="T42" fmla="*/ 54 w 72"/>
                <a:gd name="T43" fmla="*/ 105 h 172"/>
                <a:gd name="T44" fmla="*/ 69 w 72"/>
                <a:gd name="T45" fmla="*/ 101 h 172"/>
                <a:gd name="T46" fmla="*/ 72 w 72"/>
                <a:gd name="T47" fmla="*/ 142 h 172"/>
                <a:gd name="T48" fmla="*/ 58 w 72"/>
                <a:gd name="T49" fmla="*/ 128 h 172"/>
                <a:gd name="T50" fmla="*/ 72 w 72"/>
                <a:gd name="T51" fmla="*/ 127 h 172"/>
                <a:gd name="T52" fmla="*/ 71 w 72"/>
                <a:gd name="T53" fmla="*/ 156 h 172"/>
                <a:gd name="T54" fmla="*/ 60 w 72"/>
                <a:gd name="T55" fmla="*/ 154 h 172"/>
                <a:gd name="T56" fmla="*/ 60 w 72"/>
                <a:gd name="T57" fmla="*/ 146 h 172"/>
                <a:gd name="T58" fmla="*/ 71 w 72"/>
                <a:gd name="T59" fmla="*/ 164 h 172"/>
                <a:gd name="T60" fmla="*/ 58 w 72"/>
                <a:gd name="T61" fmla="*/ 167 h 172"/>
                <a:gd name="T62" fmla="*/ 57 w 72"/>
                <a:gd name="T63" fmla="*/ 167 h 172"/>
                <a:gd name="T64" fmla="*/ 61 w 72"/>
                <a:gd name="T65" fmla="*/ 16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72">
                  <a:moveTo>
                    <a:pt x="11" y="28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4" y="30"/>
                    <a:pt x="16" y="32"/>
                    <a:pt x="18" y="34"/>
                  </a:cubicBezTo>
                  <a:cubicBezTo>
                    <a:pt x="20" y="29"/>
                    <a:pt x="24" y="24"/>
                    <a:pt x="28" y="19"/>
                  </a:cubicBezTo>
                  <a:cubicBezTo>
                    <a:pt x="22" y="13"/>
                    <a:pt x="15" y="8"/>
                    <a:pt x="8" y="4"/>
                  </a:cubicBezTo>
                  <a:cubicBezTo>
                    <a:pt x="6" y="6"/>
                    <a:pt x="4" y="8"/>
                    <a:pt x="3" y="10"/>
                  </a:cubicBezTo>
                  <a:cubicBezTo>
                    <a:pt x="2" y="12"/>
                    <a:pt x="1" y="14"/>
                    <a:pt x="0" y="16"/>
                  </a:cubicBezTo>
                  <a:cubicBezTo>
                    <a:pt x="0" y="18"/>
                    <a:pt x="0" y="19"/>
                    <a:pt x="0" y="21"/>
                  </a:cubicBezTo>
                  <a:cubicBezTo>
                    <a:pt x="4" y="23"/>
                    <a:pt x="8" y="26"/>
                    <a:pt x="11" y="28"/>
                  </a:cubicBezTo>
                  <a:close/>
                  <a:moveTo>
                    <a:pt x="1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1" y="0"/>
                  </a:lnTo>
                  <a:close/>
                  <a:moveTo>
                    <a:pt x="33" y="24"/>
                  </a:moveTo>
                  <a:cubicBezTo>
                    <a:pt x="37" y="28"/>
                    <a:pt x="41" y="33"/>
                    <a:pt x="44" y="38"/>
                  </a:cubicBezTo>
                  <a:cubicBezTo>
                    <a:pt x="45" y="40"/>
                    <a:pt x="46" y="42"/>
                    <a:pt x="47" y="43"/>
                  </a:cubicBezTo>
                  <a:cubicBezTo>
                    <a:pt x="46" y="44"/>
                    <a:pt x="45" y="45"/>
                    <a:pt x="44" y="46"/>
                  </a:cubicBezTo>
                  <a:cubicBezTo>
                    <a:pt x="40" y="48"/>
                    <a:pt x="35" y="50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0" y="49"/>
                    <a:pt x="27" y="46"/>
                    <a:pt x="25" y="43"/>
                  </a:cubicBezTo>
                  <a:cubicBezTo>
                    <a:pt x="24" y="41"/>
                    <a:pt x="23" y="40"/>
                    <a:pt x="21" y="38"/>
                  </a:cubicBezTo>
                  <a:cubicBezTo>
                    <a:pt x="25" y="34"/>
                    <a:pt x="27" y="29"/>
                    <a:pt x="31" y="26"/>
                  </a:cubicBezTo>
                  <a:lnTo>
                    <a:pt x="33" y="24"/>
                  </a:lnTo>
                  <a:close/>
                  <a:moveTo>
                    <a:pt x="51" y="49"/>
                  </a:moveTo>
                  <a:cubicBezTo>
                    <a:pt x="54" y="55"/>
                    <a:pt x="57" y="62"/>
                    <a:pt x="60" y="68"/>
                  </a:cubicBezTo>
                  <a:cubicBezTo>
                    <a:pt x="56" y="69"/>
                    <a:pt x="53" y="69"/>
                    <a:pt x="50" y="71"/>
                  </a:cubicBezTo>
                  <a:cubicBezTo>
                    <a:pt x="48" y="71"/>
                    <a:pt x="45" y="73"/>
                    <a:pt x="42" y="74"/>
                  </a:cubicBezTo>
                  <a:cubicBezTo>
                    <a:pt x="40" y="69"/>
                    <a:pt x="38" y="64"/>
                    <a:pt x="35" y="59"/>
                  </a:cubicBezTo>
                  <a:cubicBezTo>
                    <a:pt x="38" y="57"/>
                    <a:pt x="41" y="55"/>
                    <a:pt x="44" y="54"/>
                  </a:cubicBezTo>
                  <a:cubicBezTo>
                    <a:pt x="46" y="52"/>
                    <a:pt x="49" y="51"/>
                    <a:pt x="51" y="49"/>
                  </a:cubicBezTo>
                  <a:close/>
                  <a:moveTo>
                    <a:pt x="62" y="73"/>
                  </a:moveTo>
                  <a:cubicBezTo>
                    <a:pt x="64" y="81"/>
                    <a:pt x="66" y="88"/>
                    <a:pt x="67" y="95"/>
                  </a:cubicBezTo>
                  <a:cubicBezTo>
                    <a:pt x="65" y="95"/>
                    <a:pt x="62" y="96"/>
                    <a:pt x="59" y="96"/>
                  </a:cubicBezTo>
                  <a:cubicBezTo>
                    <a:pt x="57" y="97"/>
                    <a:pt x="54" y="98"/>
                    <a:pt x="52" y="99"/>
                  </a:cubicBezTo>
                  <a:cubicBezTo>
                    <a:pt x="50" y="93"/>
                    <a:pt x="48" y="88"/>
                    <a:pt x="46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5" y="82"/>
                    <a:pt x="45" y="81"/>
                    <a:pt x="45" y="81"/>
                  </a:cubicBezTo>
                  <a:cubicBezTo>
                    <a:pt x="45" y="81"/>
                    <a:pt x="45" y="80"/>
                    <a:pt x="45" y="80"/>
                  </a:cubicBezTo>
                  <a:cubicBezTo>
                    <a:pt x="49" y="79"/>
                    <a:pt x="52" y="77"/>
                    <a:pt x="55" y="76"/>
                  </a:cubicBezTo>
                  <a:cubicBezTo>
                    <a:pt x="57" y="75"/>
                    <a:pt x="59" y="74"/>
                    <a:pt x="62" y="73"/>
                  </a:cubicBezTo>
                  <a:close/>
                  <a:moveTo>
                    <a:pt x="69" y="101"/>
                  </a:moveTo>
                  <a:cubicBezTo>
                    <a:pt x="70" y="108"/>
                    <a:pt x="71" y="114"/>
                    <a:pt x="71" y="119"/>
                  </a:cubicBezTo>
                  <a:cubicBezTo>
                    <a:pt x="66" y="119"/>
                    <a:pt x="61" y="120"/>
                    <a:pt x="57" y="121"/>
                  </a:cubicBezTo>
                  <a:cubicBezTo>
                    <a:pt x="56" y="115"/>
                    <a:pt x="55" y="110"/>
                    <a:pt x="54" y="105"/>
                  </a:cubicBezTo>
                  <a:cubicBezTo>
                    <a:pt x="56" y="105"/>
                    <a:pt x="59" y="104"/>
                    <a:pt x="61" y="103"/>
                  </a:cubicBezTo>
                  <a:cubicBezTo>
                    <a:pt x="64" y="103"/>
                    <a:pt x="66" y="102"/>
                    <a:pt x="69" y="101"/>
                  </a:cubicBezTo>
                  <a:close/>
                  <a:moveTo>
                    <a:pt x="72" y="127"/>
                  </a:moveTo>
                  <a:cubicBezTo>
                    <a:pt x="72" y="132"/>
                    <a:pt x="72" y="137"/>
                    <a:pt x="72" y="142"/>
                  </a:cubicBezTo>
                  <a:cubicBezTo>
                    <a:pt x="68" y="141"/>
                    <a:pt x="64" y="141"/>
                    <a:pt x="60" y="141"/>
                  </a:cubicBezTo>
                  <a:cubicBezTo>
                    <a:pt x="59" y="137"/>
                    <a:pt x="59" y="133"/>
                    <a:pt x="58" y="128"/>
                  </a:cubicBezTo>
                  <a:cubicBezTo>
                    <a:pt x="62" y="128"/>
                    <a:pt x="66" y="128"/>
                    <a:pt x="70" y="127"/>
                  </a:cubicBezTo>
                  <a:lnTo>
                    <a:pt x="72" y="127"/>
                  </a:lnTo>
                  <a:close/>
                  <a:moveTo>
                    <a:pt x="72" y="148"/>
                  </a:moveTo>
                  <a:cubicBezTo>
                    <a:pt x="72" y="151"/>
                    <a:pt x="71" y="154"/>
                    <a:pt x="71" y="156"/>
                  </a:cubicBezTo>
                  <a:cubicBezTo>
                    <a:pt x="69" y="156"/>
                    <a:pt x="67" y="155"/>
                    <a:pt x="65" y="155"/>
                  </a:cubicBezTo>
                  <a:cubicBezTo>
                    <a:pt x="64" y="155"/>
                    <a:pt x="62" y="155"/>
                    <a:pt x="60" y="154"/>
                  </a:cubicBezTo>
                  <a:cubicBezTo>
                    <a:pt x="60" y="154"/>
                    <a:pt x="60" y="153"/>
                    <a:pt x="60" y="152"/>
                  </a:cubicBezTo>
                  <a:cubicBezTo>
                    <a:pt x="60" y="150"/>
                    <a:pt x="60" y="148"/>
                    <a:pt x="60" y="146"/>
                  </a:cubicBezTo>
                  <a:cubicBezTo>
                    <a:pt x="63" y="148"/>
                    <a:pt x="67" y="148"/>
                    <a:pt x="72" y="148"/>
                  </a:cubicBezTo>
                  <a:close/>
                  <a:moveTo>
                    <a:pt x="71" y="164"/>
                  </a:moveTo>
                  <a:cubicBezTo>
                    <a:pt x="70" y="167"/>
                    <a:pt x="70" y="170"/>
                    <a:pt x="69" y="172"/>
                  </a:cubicBezTo>
                  <a:cubicBezTo>
                    <a:pt x="66" y="170"/>
                    <a:pt x="62" y="169"/>
                    <a:pt x="58" y="167"/>
                  </a:cubicBezTo>
                  <a:cubicBezTo>
                    <a:pt x="58" y="167"/>
                    <a:pt x="58" y="167"/>
                    <a:pt x="58" y="167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8" y="166"/>
                    <a:pt x="58" y="164"/>
                    <a:pt x="59" y="162"/>
                  </a:cubicBezTo>
                  <a:cubicBezTo>
                    <a:pt x="59" y="162"/>
                    <a:pt x="60" y="162"/>
                    <a:pt x="61" y="162"/>
                  </a:cubicBezTo>
                  <a:cubicBezTo>
                    <a:pt x="65" y="162"/>
                    <a:pt x="68" y="163"/>
                    <a:pt x="71" y="164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ïṣļîďè"/>
            <p:cNvSpPr/>
            <p:nvPr/>
          </p:nvSpPr>
          <p:spPr bwMode="auto">
            <a:xfrm>
              <a:off x="6257120" y="3098548"/>
              <a:ext cx="254064" cy="81300"/>
            </a:xfrm>
            <a:custGeom>
              <a:avLst/>
              <a:gdLst>
                <a:gd name="T0" fmla="*/ 35 w 36"/>
                <a:gd name="T1" fmla="*/ 5 h 12"/>
                <a:gd name="T2" fmla="*/ 35 w 36"/>
                <a:gd name="T3" fmla="*/ 5 h 12"/>
                <a:gd name="T4" fmla="*/ 35 w 36"/>
                <a:gd name="T5" fmla="*/ 0 h 12"/>
                <a:gd name="T6" fmla="*/ 6 w 36"/>
                <a:gd name="T7" fmla="*/ 0 h 12"/>
                <a:gd name="T8" fmla="*/ 0 w 36"/>
                <a:gd name="T9" fmla="*/ 1 h 12"/>
                <a:gd name="T10" fmla="*/ 0 w 36"/>
                <a:gd name="T11" fmla="*/ 4 h 12"/>
                <a:gd name="T12" fmla="*/ 0 w 36"/>
                <a:gd name="T13" fmla="*/ 11 h 12"/>
                <a:gd name="T14" fmla="*/ 14 w 36"/>
                <a:gd name="T15" fmla="*/ 12 h 12"/>
                <a:gd name="T16" fmla="*/ 36 w 36"/>
                <a:gd name="T17" fmla="*/ 12 h 12"/>
                <a:gd name="T18" fmla="*/ 35 w 36"/>
                <a:gd name="T1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2">
                  <a:moveTo>
                    <a:pt x="35" y="5"/>
                  </a:moveTo>
                  <a:cubicBezTo>
                    <a:pt x="35" y="5"/>
                    <a:pt x="35" y="5"/>
                    <a:pt x="35" y="5"/>
                  </a:cubicBezTo>
                  <a:cubicBezTo>
                    <a:pt x="35" y="3"/>
                    <a:pt x="35" y="2"/>
                    <a:pt x="35" y="0"/>
                  </a:cubicBezTo>
                  <a:cubicBezTo>
                    <a:pt x="25" y="0"/>
                    <a:pt x="1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6"/>
                    <a:pt x="0" y="9"/>
                    <a:pt x="0" y="11"/>
                  </a:cubicBezTo>
                  <a:cubicBezTo>
                    <a:pt x="5" y="12"/>
                    <a:pt x="9" y="12"/>
                    <a:pt x="14" y="12"/>
                  </a:cubicBezTo>
                  <a:cubicBezTo>
                    <a:pt x="21" y="12"/>
                    <a:pt x="29" y="12"/>
                    <a:pt x="36" y="12"/>
                  </a:cubicBezTo>
                  <a:cubicBezTo>
                    <a:pt x="36" y="10"/>
                    <a:pt x="36" y="7"/>
                    <a:pt x="35" y="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S1iḓê"/>
            <p:cNvSpPr/>
            <p:nvPr/>
          </p:nvSpPr>
          <p:spPr bwMode="auto">
            <a:xfrm>
              <a:off x="5596557" y="1486095"/>
              <a:ext cx="1554867" cy="1520992"/>
            </a:xfrm>
            <a:custGeom>
              <a:avLst/>
              <a:gdLst>
                <a:gd name="T0" fmla="*/ 169 w 221"/>
                <a:gd name="T1" fmla="*/ 215 h 216"/>
                <a:gd name="T2" fmla="*/ 169 w 221"/>
                <a:gd name="T3" fmla="*/ 215 h 216"/>
                <a:gd name="T4" fmla="*/ 188 w 221"/>
                <a:gd name="T5" fmla="*/ 215 h 216"/>
                <a:gd name="T6" fmla="*/ 188 w 221"/>
                <a:gd name="T7" fmla="*/ 191 h 216"/>
                <a:gd name="T8" fmla="*/ 188 w 221"/>
                <a:gd name="T9" fmla="*/ 164 h 216"/>
                <a:gd name="T10" fmla="*/ 189 w 221"/>
                <a:gd name="T11" fmla="*/ 127 h 216"/>
                <a:gd name="T12" fmla="*/ 189 w 221"/>
                <a:gd name="T13" fmla="*/ 122 h 216"/>
                <a:gd name="T14" fmla="*/ 189 w 221"/>
                <a:gd name="T15" fmla="*/ 108 h 216"/>
                <a:gd name="T16" fmla="*/ 184 w 221"/>
                <a:gd name="T17" fmla="*/ 54 h 216"/>
                <a:gd name="T18" fmla="*/ 179 w 221"/>
                <a:gd name="T19" fmla="*/ 30 h 216"/>
                <a:gd name="T20" fmla="*/ 174 w 221"/>
                <a:gd name="T21" fmla="*/ 18 h 216"/>
                <a:gd name="T22" fmla="*/ 174 w 221"/>
                <a:gd name="T23" fmla="*/ 18 h 216"/>
                <a:gd name="T24" fmla="*/ 159 w 221"/>
                <a:gd name="T25" fmla="*/ 10 h 216"/>
                <a:gd name="T26" fmla="*/ 108 w 221"/>
                <a:gd name="T27" fmla="*/ 1 h 216"/>
                <a:gd name="T28" fmla="*/ 25 w 221"/>
                <a:gd name="T29" fmla="*/ 45 h 216"/>
                <a:gd name="T30" fmla="*/ 2 w 221"/>
                <a:gd name="T31" fmla="*/ 121 h 216"/>
                <a:gd name="T32" fmla="*/ 1 w 221"/>
                <a:gd name="T33" fmla="*/ 166 h 216"/>
                <a:gd name="T34" fmla="*/ 0 w 221"/>
                <a:gd name="T35" fmla="*/ 209 h 216"/>
                <a:gd name="T36" fmla="*/ 1 w 221"/>
                <a:gd name="T37" fmla="*/ 212 h 216"/>
                <a:gd name="T38" fmla="*/ 4 w 221"/>
                <a:gd name="T39" fmla="*/ 212 h 216"/>
                <a:gd name="T40" fmla="*/ 16 w 221"/>
                <a:gd name="T41" fmla="*/ 213 h 216"/>
                <a:gd name="T42" fmla="*/ 47 w 221"/>
                <a:gd name="T43" fmla="*/ 216 h 216"/>
                <a:gd name="T44" fmla="*/ 77 w 221"/>
                <a:gd name="T45" fmla="*/ 215 h 216"/>
                <a:gd name="T46" fmla="*/ 108 w 221"/>
                <a:gd name="T47" fmla="*/ 214 h 216"/>
                <a:gd name="T48" fmla="*/ 169 w 221"/>
                <a:gd name="T49" fmla="*/ 215 h 216"/>
                <a:gd name="T50" fmla="*/ 184 w 221"/>
                <a:gd name="T51" fmla="*/ 26 h 216"/>
                <a:gd name="T52" fmla="*/ 184 w 221"/>
                <a:gd name="T53" fmla="*/ 26 h 216"/>
                <a:gd name="T54" fmla="*/ 188 w 221"/>
                <a:gd name="T55" fmla="*/ 42 h 216"/>
                <a:gd name="T56" fmla="*/ 192 w 221"/>
                <a:gd name="T57" fmla="*/ 39 h 216"/>
                <a:gd name="T58" fmla="*/ 194 w 221"/>
                <a:gd name="T59" fmla="*/ 40 h 216"/>
                <a:gd name="T60" fmla="*/ 192 w 221"/>
                <a:gd name="T61" fmla="*/ 34 h 216"/>
                <a:gd name="T62" fmla="*/ 184 w 221"/>
                <a:gd name="T63" fmla="*/ 26 h 216"/>
                <a:gd name="T64" fmla="*/ 217 w 221"/>
                <a:gd name="T65" fmla="*/ 215 h 216"/>
                <a:gd name="T66" fmla="*/ 217 w 221"/>
                <a:gd name="T67" fmla="*/ 215 h 216"/>
                <a:gd name="T68" fmla="*/ 220 w 221"/>
                <a:gd name="T69" fmla="*/ 212 h 216"/>
                <a:gd name="T70" fmla="*/ 221 w 221"/>
                <a:gd name="T71" fmla="*/ 211 h 216"/>
                <a:gd name="T72" fmla="*/ 221 w 221"/>
                <a:gd name="T73" fmla="*/ 198 h 216"/>
                <a:gd name="T74" fmla="*/ 221 w 221"/>
                <a:gd name="T75" fmla="*/ 173 h 216"/>
                <a:gd name="T76" fmla="*/ 219 w 221"/>
                <a:gd name="T77" fmla="*/ 132 h 216"/>
                <a:gd name="T78" fmla="*/ 208 w 221"/>
                <a:gd name="T79" fmla="*/ 132 h 216"/>
                <a:gd name="T80" fmla="*/ 199 w 221"/>
                <a:gd name="T81" fmla="*/ 131 h 216"/>
                <a:gd name="T82" fmla="*/ 196 w 221"/>
                <a:gd name="T83" fmla="*/ 131 h 216"/>
                <a:gd name="T84" fmla="*/ 196 w 221"/>
                <a:gd name="T85" fmla="*/ 161 h 216"/>
                <a:gd name="T86" fmla="*/ 196 w 221"/>
                <a:gd name="T87" fmla="*/ 189 h 216"/>
                <a:gd name="T88" fmla="*/ 196 w 221"/>
                <a:gd name="T89" fmla="*/ 203 h 216"/>
                <a:gd name="T90" fmla="*/ 195 w 221"/>
                <a:gd name="T91" fmla="*/ 215 h 216"/>
                <a:gd name="T92" fmla="*/ 217 w 221"/>
                <a:gd name="T93" fmla="*/ 215 h 216"/>
                <a:gd name="T94" fmla="*/ 202 w 221"/>
                <a:gd name="T95" fmla="*/ 52 h 216"/>
                <a:gd name="T96" fmla="*/ 202 w 221"/>
                <a:gd name="T97" fmla="*/ 52 h 216"/>
                <a:gd name="T98" fmla="*/ 197 w 221"/>
                <a:gd name="T99" fmla="*/ 44 h 216"/>
                <a:gd name="T100" fmla="*/ 192 w 221"/>
                <a:gd name="T101" fmla="*/ 48 h 216"/>
                <a:gd name="T102" fmla="*/ 189 w 221"/>
                <a:gd name="T103" fmla="*/ 46 h 216"/>
                <a:gd name="T104" fmla="*/ 190 w 221"/>
                <a:gd name="T105" fmla="*/ 50 h 216"/>
                <a:gd name="T106" fmla="*/ 196 w 221"/>
                <a:gd name="T107" fmla="*/ 105 h 216"/>
                <a:gd name="T108" fmla="*/ 196 w 221"/>
                <a:gd name="T109" fmla="*/ 118 h 216"/>
                <a:gd name="T110" fmla="*/ 206 w 221"/>
                <a:gd name="T111" fmla="*/ 117 h 216"/>
                <a:gd name="T112" fmla="*/ 217 w 221"/>
                <a:gd name="T113" fmla="*/ 117 h 216"/>
                <a:gd name="T114" fmla="*/ 212 w 221"/>
                <a:gd name="T115" fmla="*/ 71 h 216"/>
                <a:gd name="T116" fmla="*/ 202 w 221"/>
                <a:gd name="T117" fmla="*/ 5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1" h="216">
                  <a:moveTo>
                    <a:pt x="169" y="215"/>
                  </a:moveTo>
                  <a:cubicBezTo>
                    <a:pt x="169" y="215"/>
                    <a:pt x="169" y="215"/>
                    <a:pt x="169" y="215"/>
                  </a:cubicBezTo>
                  <a:cubicBezTo>
                    <a:pt x="175" y="215"/>
                    <a:pt x="182" y="215"/>
                    <a:pt x="188" y="215"/>
                  </a:cubicBezTo>
                  <a:cubicBezTo>
                    <a:pt x="187" y="207"/>
                    <a:pt x="188" y="199"/>
                    <a:pt x="188" y="191"/>
                  </a:cubicBezTo>
                  <a:cubicBezTo>
                    <a:pt x="188" y="182"/>
                    <a:pt x="188" y="173"/>
                    <a:pt x="188" y="164"/>
                  </a:cubicBezTo>
                  <a:cubicBezTo>
                    <a:pt x="188" y="151"/>
                    <a:pt x="188" y="139"/>
                    <a:pt x="189" y="127"/>
                  </a:cubicBezTo>
                  <a:cubicBezTo>
                    <a:pt x="187" y="126"/>
                    <a:pt x="187" y="123"/>
                    <a:pt x="189" y="122"/>
                  </a:cubicBezTo>
                  <a:cubicBezTo>
                    <a:pt x="189" y="117"/>
                    <a:pt x="189" y="113"/>
                    <a:pt x="189" y="108"/>
                  </a:cubicBezTo>
                  <a:cubicBezTo>
                    <a:pt x="189" y="90"/>
                    <a:pt x="187" y="72"/>
                    <a:pt x="184" y="54"/>
                  </a:cubicBezTo>
                  <a:cubicBezTo>
                    <a:pt x="183" y="46"/>
                    <a:pt x="182" y="38"/>
                    <a:pt x="179" y="30"/>
                  </a:cubicBezTo>
                  <a:cubicBezTo>
                    <a:pt x="178" y="26"/>
                    <a:pt x="176" y="22"/>
                    <a:pt x="174" y="18"/>
                  </a:cubicBezTo>
                  <a:cubicBezTo>
                    <a:pt x="174" y="18"/>
                    <a:pt x="174" y="18"/>
                    <a:pt x="174" y="18"/>
                  </a:cubicBezTo>
                  <a:cubicBezTo>
                    <a:pt x="169" y="15"/>
                    <a:pt x="164" y="12"/>
                    <a:pt x="159" y="10"/>
                  </a:cubicBezTo>
                  <a:cubicBezTo>
                    <a:pt x="143" y="3"/>
                    <a:pt x="125" y="0"/>
                    <a:pt x="108" y="1"/>
                  </a:cubicBezTo>
                  <a:cubicBezTo>
                    <a:pt x="76" y="3"/>
                    <a:pt x="44" y="19"/>
                    <a:pt x="25" y="45"/>
                  </a:cubicBezTo>
                  <a:cubicBezTo>
                    <a:pt x="9" y="67"/>
                    <a:pt x="3" y="94"/>
                    <a:pt x="2" y="121"/>
                  </a:cubicBezTo>
                  <a:cubicBezTo>
                    <a:pt x="1" y="136"/>
                    <a:pt x="1" y="151"/>
                    <a:pt x="1" y="166"/>
                  </a:cubicBezTo>
                  <a:cubicBezTo>
                    <a:pt x="1" y="181"/>
                    <a:pt x="2" y="195"/>
                    <a:pt x="0" y="209"/>
                  </a:cubicBezTo>
                  <a:cubicBezTo>
                    <a:pt x="0" y="210"/>
                    <a:pt x="1" y="211"/>
                    <a:pt x="1" y="212"/>
                  </a:cubicBezTo>
                  <a:cubicBezTo>
                    <a:pt x="2" y="212"/>
                    <a:pt x="2" y="212"/>
                    <a:pt x="4" y="212"/>
                  </a:cubicBezTo>
                  <a:cubicBezTo>
                    <a:pt x="8" y="213"/>
                    <a:pt x="12" y="213"/>
                    <a:pt x="16" y="213"/>
                  </a:cubicBezTo>
                  <a:cubicBezTo>
                    <a:pt x="27" y="215"/>
                    <a:pt x="36" y="215"/>
                    <a:pt x="47" y="216"/>
                  </a:cubicBezTo>
                  <a:cubicBezTo>
                    <a:pt x="57" y="216"/>
                    <a:pt x="67" y="215"/>
                    <a:pt x="77" y="215"/>
                  </a:cubicBezTo>
                  <a:cubicBezTo>
                    <a:pt x="88" y="214"/>
                    <a:pt x="98" y="214"/>
                    <a:pt x="108" y="214"/>
                  </a:cubicBezTo>
                  <a:cubicBezTo>
                    <a:pt x="129" y="214"/>
                    <a:pt x="149" y="215"/>
                    <a:pt x="169" y="215"/>
                  </a:cubicBezTo>
                  <a:close/>
                  <a:moveTo>
                    <a:pt x="184" y="26"/>
                  </a:moveTo>
                  <a:cubicBezTo>
                    <a:pt x="184" y="26"/>
                    <a:pt x="184" y="26"/>
                    <a:pt x="184" y="26"/>
                  </a:cubicBezTo>
                  <a:cubicBezTo>
                    <a:pt x="186" y="31"/>
                    <a:pt x="187" y="37"/>
                    <a:pt x="188" y="42"/>
                  </a:cubicBezTo>
                  <a:cubicBezTo>
                    <a:pt x="189" y="40"/>
                    <a:pt x="191" y="39"/>
                    <a:pt x="192" y="39"/>
                  </a:cubicBezTo>
                  <a:cubicBezTo>
                    <a:pt x="193" y="39"/>
                    <a:pt x="194" y="39"/>
                    <a:pt x="194" y="40"/>
                  </a:cubicBezTo>
                  <a:cubicBezTo>
                    <a:pt x="194" y="38"/>
                    <a:pt x="193" y="36"/>
                    <a:pt x="192" y="34"/>
                  </a:cubicBezTo>
                  <a:cubicBezTo>
                    <a:pt x="189" y="31"/>
                    <a:pt x="187" y="28"/>
                    <a:pt x="184" y="26"/>
                  </a:cubicBezTo>
                  <a:close/>
                  <a:moveTo>
                    <a:pt x="217" y="215"/>
                  </a:moveTo>
                  <a:cubicBezTo>
                    <a:pt x="217" y="215"/>
                    <a:pt x="217" y="215"/>
                    <a:pt x="217" y="215"/>
                  </a:cubicBezTo>
                  <a:cubicBezTo>
                    <a:pt x="218" y="214"/>
                    <a:pt x="219" y="213"/>
                    <a:pt x="220" y="212"/>
                  </a:cubicBezTo>
                  <a:cubicBezTo>
                    <a:pt x="220" y="212"/>
                    <a:pt x="221" y="211"/>
                    <a:pt x="221" y="211"/>
                  </a:cubicBezTo>
                  <a:cubicBezTo>
                    <a:pt x="221" y="206"/>
                    <a:pt x="221" y="202"/>
                    <a:pt x="221" y="198"/>
                  </a:cubicBezTo>
                  <a:cubicBezTo>
                    <a:pt x="221" y="190"/>
                    <a:pt x="221" y="181"/>
                    <a:pt x="221" y="173"/>
                  </a:cubicBezTo>
                  <a:cubicBezTo>
                    <a:pt x="221" y="159"/>
                    <a:pt x="220" y="145"/>
                    <a:pt x="219" y="132"/>
                  </a:cubicBezTo>
                  <a:cubicBezTo>
                    <a:pt x="215" y="132"/>
                    <a:pt x="212" y="132"/>
                    <a:pt x="208" y="132"/>
                  </a:cubicBezTo>
                  <a:cubicBezTo>
                    <a:pt x="205" y="132"/>
                    <a:pt x="202" y="132"/>
                    <a:pt x="199" y="131"/>
                  </a:cubicBezTo>
                  <a:cubicBezTo>
                    <a:pt x="198" y="131"/>
                    <a:pt x="197" y="131"/>
                    <a:pt x="196" y="131"/>
                  </a:cubicBezTo>
                  <a:cubicBezTo>
                    <a:pt x="196" y="141"/>
                    <a:pt x="196" y="151"/>
                    <a:pt x="196" y="161"/>
                  </a:cubicBezTo>
                  <a:cubicBezTo>
                    <a:pt x="196" y="170"/>
                    <a:pt x="196" y="180"/>
                    <a:pt x="196" y="189"/>
                  </a:cubicBezTo>
                  <a:cubicBezTo>
                    <a:pt x="196" y="194"/>
                    <a:pt x="196" y="198"/>
                    <a:pt x="196" y="203"/>
                  </a:cubicBezTo>
                  <a:cubicBezTo>
                    <a:pt x="196" y="207"/>
                    <a:pt x="196" y="211"/>
                    <a:pt x="195" y="215"/>
                  </a:cubicBezTo>
                  <a:cubicBezTo>
                    <a:pt x="203" y="215"/>
                    <a:pt x="210" y="215"/>
                    <a:pt x="217" y="215"/>
                  </a:cubicBezTo>
                  <a:close/>
                  <a:moveTo>
                    <a:pt x="202" y="52"/>
                  </a:moveTo>
                  <a:cubicBezTo>
                    <a:pt x="202" y="52"/>
                    <a:pt x="202" y="52"/>
                    <a:pt x="202" y="52"/>
                  </a:cubicBezTo>
                  <a:cubicBezTo>
                    <a:pt x="200" y="50"/>
                    <a:pt x="198" y="47"/>
                    <a:pt x="197" y="44"/>
                  </a:cubicBezTo>
                  <a:cubicBezTo>
                    <a:pt x="197" y="46"/>
                    <a:pt x="195" y="48"/>
                    <a:pt x="192" y="48"/>
                  </a:cubicBezTo>
                  <a:cubicBezTo>
                    <a:pt x="191" y="48"/>
                    <a:pt x="190" y="47"/>
                    <a:pt x="189" y="46"/>
                  </a:cubicBezTo>
                  <a:cubicBezTo>
                    <a:pt x="189" y="47"/>
                    <a:pt x="190" y="49"/>
                    <a:pt x="190" y="50"/>
                  </a:cubicBezTo>
                  <a:cubicBezTo>
                    <a:pt x="193" y="68"/>
                    <a:pt x="195" y="87"/>
                    <a:pt x="196" y="105"/>
                  </a:cubicBezTo>
                  <a:cubicBezTo>
                    <a:pt x="196" y="110"/>
                    <a:pt x="196" y="114"/>
                    <a:pt x="196" y="118"/>
                  </a:cubicBezTo>
                  <a:cubicBezTo>
                    <a:pt x="199" y="117"/>
                    <a:pt x="203" y="117"/>
                    <a:pt x="206" y="117"/>
                  </a:cubicBezTo>
                  <a:cubicBezTo>
                    <a:pt x="210" y="117"/>
                    <a:pt x="214" y="117"/>
                    <a:pt x="217" y="117"/>
                  </a:cubicBezTo>
                  <a:cubicBezTo>
                    <a:pt x="216" y="101"/>
                    <a:pt x="216" y="86"/>
                    <a:pt x="212" y="71"/>
                  </a:cubicBezTo>
                  <a:cubicBezTo>
                    <a:pt x="209" y="65"/>
                    <a:pt x="206" y="58"/>
                    <a:pt x="202" y="52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sḷîdê"/>
            <p:cNvSpPr/>
            <p:nvPr/>
          </p:nvSpPr>
          <p:spPr bwMode="auto">
            <a:xfrm>
              <a:off x="5596557" y="1536908"/>
              <a:ext cx="542001" cy="1446467"/>
            </a:xfrm>
            <a:custGeom>
              <a:avLst/>
              <a:gdLst>
                <a:gd name="T0" fmla="*/ 77 w 77"/>
                <a:gd name="T1" fmla="*/ 0 h 206"/>
                <a:gd name="T2" fmla="*/ 25 w 77"/>
                <a:gd name="T3" fmla="*/ 38 h 206"/>
                <a:gd name="T4" fmla="*/ 2 w 77"/>
                <a:gd name="T5" fmla="*/ 114 h 206"/>
                <a:gd name="T6" fmla="*/ 1 w 77"/>
                <a:gd name="T7" fmla="*/ 159 h 206"/>
                <a:gd name="T8" fmla="*/ 0 w 77"/>
                <a:gd name="T9" fmla="*/ 202 h 206"/>
                <a:gd name="T10" fmla="*/ 1 w 77"/>
                <a:gd name="T11" fmla="*/ 205 h 206"/>
                <a:gd name="T12" fmla="*/ 4 w 77"/>
                <a:gd name="T13" fmla="*/ 205 h 206"/>
                <a:gd name="T14" fmla="*/ 14 w 77"/>
                <a:gd name="T15" fmla="*/ 206 h 206"/>
                <a:gd name="T16" fmla="*/ 21 w 77"/>
                <a:gd name="T17" fmla="*/ 80 h 206"/>
                <a:gd name="T18" fmla="*/ 77 w 77"/>
                <a:gd name="T19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206">
                  <a:moveTo>
                    <a:pt x="77" y="0"/>
                  </a:moveTo>
                  <a:cubicBezTo>
                    <a:pt x="56" y="7"/>
                    <a:pt x="37" y="20"/>
                    <a:pt x="25" y="38"/>
                  </a:cubicBezTo>
                  <a:cubicBezTo>
                    <a:pt x="9" y="60"/>
                    <a:pt x="3" y="87"/>
                    <a:pt x="2" y="114"/>
                  </a:cubicBezTo>
                  <a:cubicBezTo>
                    <a:pt x="1" y="129"/>
                    <a:pt x="1" y="144"/>
                    <a:pt x="1" y="159"/>
                  </a:cubicBezTo>
                  <a:cubicBezTo>
                    <a:pt x="1" y="174"/>
                    <a:pt x="2" y="188"/>
                    <a:pt x="0" y="202"/>
                  </a:cubicBezTo>
                  <a:cubicBezTo>
                    <a:pt x="0" y="203"/>
                    <a:pt x="1" y="204"/>
                    <a:pt x="1" y="205"/>
                  </a:cubicBezTo>
                  <a:cubicBezTo>
                    <a:pt x="2" y="205"/>
                    <a:pt x="2" y="205"/>
                    <a:pt x="4" y="205"/>
                  </a:cubicBezTo>
                  <a:cubicBezTo>
                    <a:pt x="7" y="206"/>
                    <a:pt x="11" y="206"/>
                    <a:pt x="14" y="206"/>
                  </a:cubicBezTo>
                  <a:cubicBezTo>
                    <a:pt x="14" y="179"/>
                    <a:pt x="15" y="122"/>
                    <a:pt x="21" y="80"/>
                  </a:cubicBezTo>
                  <a:cubicBezTo>
                    <a:pt x="30" y="23"/>
                    <a:pt x="77" y="0"/>
                    <a:pt x="7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îṥliḓê"/>
            <p:cNvSpPr/>
            <p:nvPr/>
          </p:nvSpPr>
          <p:spPr bwMode="auto">
            <a:xfrm>
              <a:off x="6538284" y="1499645"/>
              <a:ext cx="613140" cy="1497278"/>
            </a:xfrm>
            <a:custGeom>
              <a:avLst/>
              <a:gdLst>
                <a:gd name="T0" fmla="*/ 35 w 87"/>
                <a:gd name="T1" fmla="*/ 213 h 213"/>
                <a:gd name="T2" fmla="*/ 54 w 87"/>
                <a:gd name="T3" fmla="*/ 213 h 213"/>
                <a:gd name="T4" fmla="*/ 54 w 87"/>
                <a:gd name="T5" fmla="*/ 189 h 213"/>
                <a:gd name="T6" fmla="*/ 54 w 87"/>
                <a:gd name="T7" fmla="*/ 162 h 213"/>
                <a:gd name="T8" fmla="*/ 55 w 87"/>
                <a:gd name="T9" fmla="*/ 125 h 213"/>
                <a:gd name="T10" fmla="*/ 55 w 87"/>
                <a:gd name="T11" fmla="*/ 120 h 213"/>
                <a:gd name="T12" fmla="*/ 55 w 87"/>
                <a:gd name="T13" fmla="*/ 106 h 213"/>
                <a:gd name="T14" fmla="*/ 50 w 87"/>
                <a:gd name="T15" fmla="*/ 52 h 213"/>
                <a:gd name="T16" fmla="*/ 45 w 87"/>
                <a:gd name="T17" fmla="*/ 28 h 213"/>
                <a:gd name="T18" fmla="*/ 40 w 87"/>
                <a:gd name="T19" fmla="*/ 16 h 213"/>
                <a:gd name="T20" fmla="*/ 40 w 87"/>
                <a:gd name="T21" fmla="*/ 16 h 213"/>
                <a:gd name="T22" fmla="*/ 25 w 87"/>
                <a:gd name="T23" fmla="*/ 8 h 213"/>
                <a:gd name="T24" fmla="*/ 0 w 87"/>
                <a:gd name="T25" fmla="*/ 0 h 213"/>
                <a:gd name="T26" fmla="*/ 35 w 87"/>
                <a:gd name="T27" fmla="*/ 213 h 213"/>
                <a:gd name="T28" fmla="*/ 50 w 87"/>
                <a:gd name="T29" fmla="*/ 24 h 213"/>
                <a:gd name="T30" fmla="*/ 50 w 87"/>
                <a:gd name="T31" fmla="*/ 24 h 213"/>
                <a:gd name="T32" fmla="*/ 54 w 87"/>
                <a:gd name="T33" fmla="*/ 40 h 213"/>
                <a:gd name="T34" fmla="*/ 58 w 87"/>
                <a:gd name="T35" fmla="*/ 37 h 213"/>
                <a:gd name="T36" fmla="*/ 60 w 87"/>
                <a:gd name="T37" fmla="*/ 38 h 213"/>
                <a:gd name="T38" fmla="*/ 58 w 87"/>
                <a:gd name="T39" fmla="*/ 32 h 213"/>
                <a:gd name="T40" fmla="*/ 50 w 87"/>
                <a:gd name="T41" fmla="*/ 24 h 213"/>
                <a:gd name="T42" fmla="*/ 83 w 87"/>
                <a:gd name="T43" fmla="*/ 213 h 213"/>
                <a:gd name="T44" fmla="*/ 83 w 87"/>
                <a:gd name="T45" fmla="*/ 213 h 213"/>
                <a:gd name="T46" fmla="*/ 86 w 87"/>
                <a:gd name="T47" fmla="*/ 210 h 213"/>
                <a:gd name="T48" fmla="*/ 87 w 87"/>
                <a:gd name="T49" fmla="*/ 209 h 213"/>
                <a:gd name="T50" fmla="*/ 87 w 87"/>
                <a:gd name="T51" fmla="*/ 196 h 213"/>
                <a:gd name="T52" fmla="*/ 87 w 87"/>
                <a:gd name="T53" fmla="*/ 171 h 213"/>
                <a:gd name="T54" fmla="*/ 85 w 87"/>
                <a:gd name="T55" fmla="*/ 130 h 213"/>
                <a:gd name="T56" fmla="*/ 74 w 87"/>
                <a:gd name="T57" fmla="*/ 130 h 213"/>
                <a:gd name="T58" fmla="*/ 65 w 87"/>
                <a:gd name="T59" fmla="*/ 129 h 213"/>
                <a:gd name="T60" fmla="*/ 62 w 87"/>
                <a:gd name="T61" fmla="*/ 129 h 213"/>
                <a:gd name="T62" fmla="*/ 62 w 87"/>
                <a:gd name="T63" fmla="*/ 159 h 213"/>
                <a:gd name="T64" fmla="*/ 62 w 87"/>
                <a:gd name="T65" fmla="*/ 187 h 213"/>
                <a:gd name="T66" fmla="*/ 62 w 87"/>
                <a:gd name="T67" fmla="*/ 201 h 213"/>
                <a:gd name="T68" fmla="*/ 61 w 87"/>
                <a:gd name="T69" fmla="*/ 213 h 213"/>
                <a:gd name="T70" fmla="*/ 83 w 87"/>
                <a:gd name="T71" fmla="*/ 213 h 213"/>
                <a:gd name="T72" fmla="*/ 68 w 87"/>
                <a:gd name="T73" fmla="*/ 50 h 213"/>
                <a:gd name="T74" fmla="*/ 68 w 87"/>
                <a:gd name="T75" fmla="*/ 50 h 213"/>
                <a:gd name="T76" fmla="*/ 63 w 87"/>
                <a:gd name="T77" fmla="*/ 42 h 213"/>
                <a:gd name="T78" fmla="*/ 58 w 87"/>
                <a:gd name="T79" fmla="*/ 46 h 213"/>
                <a:gd name="T80" fmla="*/ 55 w 87"/>
                <a:gd name="T81" fmla="*/ 44 h 213"/>
                <a:gd name="T82" fmla="*/ 56 w 87"/>
                <a:gd name="T83" fmla="*/ 48 h 213"/>
                <a:gd name="T84" fmla="*/ 62 w 87"/>
                <a:gd name="T85" fmla="*/ 103 h 213"/>
                <a:gd name="T86" fmla="*/ 62 w 87"/>
                <a:gd name="T87" fmla="*/ 116 h 213"/>
                <a:gd name="T88" fmla="*/ 72 w 87"/>
                <a:gd name="T89" fmla="*/ 115 h 213"/>
                <a:gd name="T90" fmla="*/ 83 w 87"/>
                <a:gd name="T91" fmla="*/ 115 h 213"/>
                <a:gd name="T92" fmla="*/ 78 w 87"/>
                <a:gd name="T93" fmla="*/ 69 h 213"/>
                <a:gd name="T94" fmla="*/ 68 w 87"/>
                <a:gd name="T95" fmla="*/ 5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7" h="213">
                  <a:moveTo>
                    <a:pt x="35" y="213"/>
                  </a:moveTo>
                  <a:cubicBezTo>
                    <a:pt x="41" y="213"/>
                    <a:pt x="48" y="213"/>
                    <a:pt x="54" y="213"/>
                  </a:cubicBezTo>
                  <a:cubicBezTo>
                    <a:pt x="53" y="205"/>
                    <a:pt x="54" y="197"/>
                    <a:pt x="54" y="189"/>
                  </a:cubicBezTo>
                  <a:cubicBezTo>
                    <a:pt x="54" y="180"/>
                    <a:pt x="54" y="171"/>
                    <a:pt x="54" y="162"/>
                  </a:cubicBezTo>
                  <a:cubicBezTo>
                    <a:pt x="54" y="149"/>
                    <a:pt x="54" y="137"/>
                    <a:pt x="55" y="125"/>
                  </a:cubicBezTo>
                  <a:cubicBezTo>
                    <a:pt x="53" y="124"/>
                    <a:pt x="53" y="121"/>
                    <a:pt x="55" y="120"/>
                  </a:cubicBezTo>
                  <a:cubicBezTo>
                    <a:pt x="55" y="115"/>
                    <a:pt x="55" y="111"/>
                    <a:pt x="55" y="106"/>
                  </a:cubicBezTo>
                  <a:cubicBezTo>
                    <a:pt x="55" y="88"/>
                    <a:pt x="53" y="70"/>
                    <a:pt x="50" y="52"/>
                  </a:cubicBezTo>
                  <a:cubicBezTo>
                    <a:pt x="49" y="44"/>
                    <a:pt x="48" y="36"/>
                    <a:pt x="45" y="28"/>
                  </a:cubicBezTo>
                  <a:cubicBezTo>
                    <a:pt x="44" y="24"/>
                    <a:pt x="42" y="20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35" y="13"/>
                    <a:pt x="30" y="10"/>
                    <a:pt x="25" y="8"/>
                  </a:cubicBezTo>
                  <a:cubicBezTo>
                    <a:pt x="17" y="4"/>
                    <a:pt x="9" y="2"/>
                    <a:pt x="0" y="0"/>
                  </a:cubicBezTo>
                  <a:cubicBezTo>
                    <a:pt x="0" y="0"/>
                    <a:pt x="68" y="37"/>
                    <a:pt x="35" y="213"/>
                  </a:cubicBezTo>
                  <a:close/>
                  <a:moveTo>
                    <a:pt x="50" y="24"/>
                  </a:moveTo>
                  <a:cubicBezTo>
                    <a:pt x="50" y="24"/>
                    <a:pt x="50" y="24"/>
                    <a:pt x="50" y="24"/>
                  </a:cubicBezTo>
                  <a:cubicBezTo>
                    <a:pt x="52" y="29"/>
                    <a:pt x="53" y="35"/>
                    <a:pt x="54" y="40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9" y="37"/>
                    <a:pt x="60" y="37"/>
                    <a:pt x="60" y="38"/>
                  </a:cubicBezTo>
                  <a:cubicBezTo>
                    <a:pt x="60" y="36"/>
                    <a:pt x="59" y="34"/>
                    <a:pt x="58" y="32"/>
                  </a:cubicBezTo>
                  <a:cubicBezTo>
                    <a:pt x="55" y="29"/>
                    <a:pt x="53" y="26"/>
                    <a:pt x="50" y="24"/>
                  </a:cubicBezTo>
                  <a:close/>
                  <a:moveTo>
                    <a:pt x="83" y="213"/>
                  </a:moveTo>
                  <a:cubicBezTo>
                    <a:pt x="83" y="213"/>
                    <a:pt x="83" y="213"/>
                    <a:pt x="83" y="213"/>
                  </a:cubicBezTo>
                  <a:cubicBezTo>
                    <a:pt x="84" y="212"/>
                    <a:pt x="85" y="211"/>
                    <a:pt x="86" y="210"/>
                  </a:cubicBezTo>
                  <a:cubicBezTo>
                    <a:pt x="86" y="210"/>
                    <a:pt x="87" y="209"/>
                    <a:pt x="87" y="209"/>
                  </a:cubicBezTo>
                  <a:cubicBezTo>
                    <a:pt x="87" y="204"/>
                    <a:pt x="87" y="200"/>
                    <a:pt x="87" y="196"/>
                  </a:cubicBezTo>
                  <a:cubicBezTo>
                    <a:pt x="87" y="188"/>
                    <a:pt x="87" y="179"/>
                    <a:pt x="87" y="171"/>
                  </a:cubicBezTo>
                  <a:cubicBezTo>
                    <a:pt x="87" y="157"/>
                    <a:pt x="86" y="143"/>
                    <a:pt x="85" y="130"/>
                  </a:cubicBezTo>
                  <a:cubicBezTo>
                    <a:pt x="81" y="130"/>
                    <a:pt x="78" y="130"/>
                    <a:pt x="74" y="130"/>
                  </a:cubicBezTo>
                  <a:cubicBezTo>
                    <a:pt x="71" y="130"/>
                    <a:pt x="68" y="130"/>
                    <a:pt x="65" y="129"/>
                  </a:cubicBezTo>
                  <a:cubicBezTo>
                    <a:pt x="64" y="129"/>
                    <a:pt x="63" y="129"/>
                    <a:pt x="62" y="129"/>
                  </a:cubicBezTo>
                  <a:cubicBezTo>
                    <a:pt x="62" y="139"/>
                    <a:pt x="62" y="149"/>
                    <a:pt x="62" y="159"/>
                  </a:cubicBezTo>
                  <a:cubicBezTo>
                    <a:pt x="62" y="168"/>
                    <a:pt x="62" y="178"/>
                    <a:pt x="62" y="187"/>
                  </a:cubicBezTo>
                  <a:cubicBezTo>
                    <a:pt x="62" y="192"/>
                    <a:pt x="62" y="196"/>
                    <a:pt x="62" y="201"/>
                  </a:cubicBezTo>
                  <a:cubicBezTo>
                    <a:pt x="62" y="205"/>
                    <a:pt x="62" y="209"/>
                    <a:pt x="61" y="213"/>
                  </a:cubicBezTo>
                  <a:cubicBezTo>
                    <a:pt x="69" y="213"/>
                    <a:pt x="76" y="213"/>
                    <a:pt x="83" y="213"/>
                  </a:cubicBezTo>
                  <a:close/>
                  <a:moveTo>
                    <a:pt x="68" y="50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6" y="48"/>
                    <a:pt x="64" y="45"/>
                    <a:pt x="63" y="42"/>
                  </a:cubicBezTo>
                  <a:cubicBezTo>
                    <a:pt x="63" y="44"/>
                    <a:pt x="61" y="46"/>
                    <a:pt x="58" y="46"/>
                  </a:cubicBezTo>
                  <a:cubicBezTo>
                    <a:pt x="57" y="46"/>
                    <a:pt x="56" y="45"/>
                    <a:pt x="55" y="44"/>
                  </a:cubicBezTo>
                  <a:cubicBezTo>
                    <a:pt x="55" y="45"/>
                    <a:pt x="56" y="47"/>
                    <a:pt x="56" y="48"/>
                  </a:cubicBezTo>
                  <a:cubicBezTo>
                    <a:pt x="59" y="66"/>
                    <a:pt x="61" y="85"/>
                    <a:pt x="62" y="103"/>
                  </a:cubicBezTo>
                  <a:cubicBezTo>
                    <a:pt x="62" y="108"/>
                    <a:pt x="62" y="112"/>
                    <a:pt x="62" y="116"/>
                  </a:cubicBezTo>
                  <a:cubicBezTo>
                    <a:pt x="65" y="115"/>
                    <a:pt x="69" y="115"/>
                    <a:pt x="72" y="115"/>
                  </a:cubicBezTo>
                  <a:cubicBezTo>
                    <a:pt x="76" y="115"/>
                    <a:pt x="80" y="115"/>
                    <a:pt x="83" y="115"/>
                  </a:cubicBezTo>
                  <a:cubicBezTo>
                    <a:pt x="82" y="99"/>
                    <a:pt x="82" y="84"/>
                    <a:pt x="78" y="69"/>
                  </a:cubicBezTo>
                  <a:cubicBezTo>
                    <a:pt x="75" y="63"/>
                    <a:pt x="72" y="56"/>
                    <a:pt x="68" y="50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ŝļidé"/>
            <p:cNvSpPr/>
            <p:nvPr/>
          </p:nvSpPr>
          <p:spPr bwMode="auto">
            <a:xfrm>
              <a:off x="6067419" y="3525374"/>
              <a:ext cx="176150" cy="274389"/>
            </a:xfrm>
            <a:custGeom>
              <a:avLst/>
              <a:gdLst>
                <a:gd name="T0" fmla="*/ 23 w 25"/>
                <a:gd name="T1" fmla="*/ 37 h 39"/>
                <a:gd name="T2" fmla="*/ 23 w 25"/>
                <a:gd name="T3" fmla="*/ 37 h 39"/>
                <a:gd name="T4" fmla="*/ 24 w 25"/>
                <a:gd name="T5" fmla="*/ 23 h 39"/>
                <a:gd name="T6" fmla="*/ 24 w 25"/>
                <a:gd name="T7" fmla="*/ 10 h 39"/>
                <a:gd name="T8" fmla="*/ 25 w 25"/>
                <a:gd name="T9" fmla="*/ 2 h 39"/>
                <a:gd name="T10" fmla="*/ 11 w 25"/>
                <a:gd name="T11" fmla="*/ 1 h 39"/>
                <a:gd name="T12" fmla="*/ 4 w 25"/>
                <a:gd name="T13" fmla="*/ 1 h 39"/>
                <a:gd name="T14" fmla="*/ 2 w 25"/>
                <a:gd name="T15" fmla="*/ 7 h 39"/>
                <a:gd name="T16" fmla="*/ 1 w 25"/>
                <a:gd name="T17" fmla="*/ 20 h 39"/>
                <a:gd name="T18" fmla="*/ 1 w 25"/>
                <a:gd name="T19" fmla="*/ 32 h 39"/>
                <a:gd name="T20" fmla="*/ 1 w 25"/>
                <a:gd name="T21" fmla="*/ 36 h 39"/>
                <a:gd name="T22" fmla="*/ 3 w 25"/>
                <a:gd name="T23" fmla="*/ 36 h 39"/>
                <a:gd name="T24" fmla="*/ 12 w 25"/>
                <a:gd name="T25" fmla="*/ 37 h 39"/>
                <a:gd name="T26" fmla="*/ 23 w 25"/>
                <a:gd name="T27" fmla="*/ 39 h 39"/>
                <a:gd name="T28" fmla="*/ 23 w 25"/>
                <a:gd name="T29" fmla="*/ 3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39">
                  <a:moveTo>
                    <a:pt x="23" y="37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32"/>
                    <a:pt x="23" y="28"/>
                    <a:pt x="24" y="23"/>
                  </a:cubicBezTo>
                  <a:cubicBezTo>
                    <a:pt x="24" y="19"/>
                    <a:pt x="24" y="15"/>
                    <a:pt x="24" y="10"/>
                  </a:cubicBezTo>
                  <a:cubicBezTo>
                    <a:pt x="25" y="7"/>
                    <a:pt x="24" y="4"/>
                    <a:pt x="25" y="2"/>
                  </a:cubicBezTo>
                  <a:cubicBezTo>
                    <a:pt x="21" y="0"/>
                    <a:pt x="16" y="1"/>
                    <a:pt x="11" y="1"/>
                  </a:cubicBezTo>
                  <a:cubicBezTo>
                    <a:pt x="9" y="0"/>
                    <a:pt x="6" y="0"/>
                    <a:pt x="4" y="1"/>
                  </a:cubicBezTo>
                  <a:cubicBezTo>
                    <a:pt x="2" y="2"/>
                    <a:pt x="2" y="5"/>
                    <a:pt x="2" y="7"/>
                  </a:cubicBezTo>
                  <a:cubicBezTo>
                    <a:pt x="1" y="11"/>
                    <a:pt x="1" y="16"/>
                    <a:pt x="1" y="20"/>
                  </a:cubicBezTo>
                  <a:cubicBezTo>
                    <a:pt x="0" y="24"/>
                    <a:pt x="1" y="28"/>
                    <a:pt x="1" y="32"/>
                  </a:cubicBezTo>
                  <a:cubicBezTo>
                    <a:pt x="1" y="33"/>
                    <a:pt x="1" y="35"/>
                    <a:pt x="1" y="36"/>
                  </a:cubicBezTo>
                  <a:cubicBezTo>
                    <a:pt x="2" y="36"/>
                    <a:pt x="2" y="36"/>
                    <a:pt x="3" y="36"/>
                  </a:cubicBezTo>
                  <a:cubicBezTo>
                    <a:pt x="6" y="36"/>
                    <a:pt x="9" y="36"/>
                    <a:pt x="12" y="37"/>
                  </a:cubicBezTo>
                  <a:cubicBezTo>
                    <a:pt x="16" y="37"/>
                    <a:pt x="20" y="37"/>
                    <a:pt x="23" y="39"/>
                  </a:cubicBezTo>
                  <a:cubicBezTo>
                    <a:pt x="23" y="38"/>
                    <a:pt x="23" y="37"/>
                    <a:pt x="23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ṡḷîḋè"/>
            <p:cNvSpPr/>
            <p:nvPr/>
          </p:nvSpPr>
          <p:spPr bwMode="auto">
            <a:xfrm>
              <a:off x="6700884" y="3308574"/>
              <a:ext cx="64364" cy="287939"/>
            </a:xfrm>
            <a:custGeom>
              <a:avLst/>
              <a:gdLst>
                <a:gd name="T0" fmla="*/ 8 w 9"/>
                <a:gd name="T1" fmla="*/ 31 h 41"/>
                <a:gd name="T2" fmla="*/ 8 w 9"/>
                <a:gd name="T3" fmla="*/ 31 h 41"/>
                <a:gd name="T4" fmla="*/ 9 w 9"/>
                <a:gd name="T5" fmla="*/ 8 h 41"/>
                <a:gd name="T6" fmla="*/ 8 w 9"/>
                <a:gd name="T7" fmla="*/ 7 h 41"/>
                <a:gd name="T8" fmla="*/ 4 w 9"/>
                <a:gd name="T9" fmla="*/ 0 h 41"/>
                <a:gd name="T10" fmla="*/ 3 w 9"/>
                <a:gd name="T11" fmla="*/ 3 h 41"/>
                <a:gd name="T12" fmla="*/ 1 w 9"/>
                <a:gd name="T13" fmla="*/ 15 h 41"/>
                <a:gd name="T14" fmla="*/ 7 w 9"/>
                <a:gd name="T15" fmla="*/ 41 h 41"/>
                <a:gd name="T16" fmla="*/ 8 w 9"/>
                <a:gd name="T17" fmla="*/ 3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41">
                  <a:moveTo>
                    <a:pt x="8" y="31"/>
                  </a:moveTo>
                  <a:cubicBezTo>
                    <a:pt x="8" y="31"/>
                    <a:pt x="8" y="31"/>
                    <a:pt x="8" y="31"/>
                  </a:cubicBezTo>
                  <a:cubicBezTo>
                    <a:pt x="9" y="23"/>
                    <a:pt x="9" y="16"/>
                    <a:pt x="9" y="8"/>
                  </a:cubicBezTo>
                  <a:cubicBezTo>
                    <a:pt x="9" y="8"/>
                    <a:pt x="8" y="8"/>
                    <a:pt x="8" y="7"/>
                  </a:cubicBezTo>
                  <a:cubicBezTo>
                    <a:pt x="6" y="5"/>
                    <a:pt x="6" y="2"/>
                    <a:pt x="4" y="0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2" y="7"/>
                    <a:pt x="1" y="11"/>
                    <a:pt x="1" y="15"/>
                  </a:cubicBezTo>
                  <a:cubicBezTo>
                    <a:pt x="0" y="24"/>
                    <a:pt x="1" y="34"/>
                    <a:pt x="7" y="41"/>
                  </a:cubicBezTo>
                  <a:cubicBezTo>
                    <a:pt x="7" y="38"/>
                    <a:pt x="7" y="34"/>
                    <a:pt x="8" y="3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Sḷïḑe"/>
            <p:cNvSpPr/>
            <p:nvPr/>
          </p:nvSpPr>
          <p:spPr bwMode="auto">
            <a:xfrm>
              <a:off x="5996283" y="3295024"/>
              <a:ext cx="37264" cy="189700"/>
            </a:xfrm>
            <a:custGeom>
              <a:avLst/>
              <a:gdLst>
                <a:gd name="T0" fmla="*/ 5 w 5"/>
                <a:gd name="T1" fmla="*/ 0 h 27"/>
                <a:gd name="T2" fmla="*/ 5 w 5"/>
                <a:gd name="T3" fmla="*/ 0 h 27"/>
                <a:gd name="T4" fmla="*/ 4 w 5"/>
                <a:gd name="T5" fmla="*/ 1 h 27"/>
                <a:gd name="T6" fmla="*/ 2 w 5"/>
                <a:gd name="T7" fmla="*/ 8 h 27"/>
                <a:gd name="T8" fmla="*/ 2 w 5"/>
                <a:gd name="T9" fmla="*/ 9 h 27"/>
                <a:gd name="T10" fmla="*/ 2 w 5"/>
                <a:gd name="T11" fmla="*/ 11 h 27"/>
                <a:gd name="T12" fmla="*/ 1 w 5"/>
                <a:gd name="T13" fmla="*/ 15 h 27"/>
                <a:gd name="T14" fmla="*/ 0 w 5"/>
                <a:gd name="T15" fmla="*/ 27 h 27"/>
                <a:gd name="T16" fmla="*/ 0 w 5"/>
                <a:gd name="T17" fmla="*/ 26 h 27"/>
                <a:gd name="T18" fmla="*/ 5 w 5"/>
                <a:gd name="T19" fmla="*/ 11 h 27"/>
                <a:gd name="T20" fmla="*/ 5 w 5"/>
                <a:gd name="T2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27"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3"/>
                    <a:pt x="2" y="6"/>
                    <a:pt x="2" y="8"/>
                  </a:cubicBezTo>
                  <a:cubicBezTo>
                    <a:pt x="2" y="8"/>
                    <a:pt x="2" y="9"/>
                    <a:pt x="2" y="9"/>
                  </a:cubicBezTo>
                  <a:cubicBezTo>
                    <a:pt x="2" y="9"/>
                    <a:pt x="2" y="11"/>
                    <a:pt x="2" y="11"/>
                  </a:cubicBezTo>
                  <a:cubicBezTo>
                    <a:pt x="1" y="12"/>
                    <a:pt x="1" y="14"/>
                    <a:pt x="1" y="15"/>
                  </a:cubicBezTo>
                  <a:cubicBezTo>
                    <a:pt x="1" y="19"/>
                    <a:pt x="1" y="23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" y="22"/>
                    <a:pt x="4" y="16"/>
                    <a:pt x="5" y="11"/>
                  </a:cubicBezTo>
                  <a:cubicBezTo>
                    <a:pt x="5" y="7"/>
                    <a:pt x="5" y="4"/>
                    <a:pt x="5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ïSľiḓè"/>
            <p:cNvSpPr/>
            <p:nvPr/>
          </p:nvSpPr>
          <p:spPr bwMode="auto">
            <a:xfrm>
              <a:off x="5054555" y="4003014"/>
              <a:ext cx="105014" cy="386176"/>
            </a:xfrm>
            <a:custGeom>
              <a:avLst/>
              <a:gdLst>
                <a:gd name="T0" fmla="*/ 13 w 15"/>
                <a:gd name="T1" fmla="*/ 54 h 55"/>
                <a:gd name="T2" fmla="*/ 13 w 15"/>
                <a:gd name="T3" fmla="*/ 54 h 55"/>
                <a:gd name="T4" fmla="*/ 14 w 15"/>
                <a:gd name="T5" fmla="*/ 51 h 55"/>
                <a:gd name="T6" fmla="*/ 14 w 15"/>
                <a:gd name="T7" fmla="*/ 38 h 55"/>
                <a:gd name="T8" fmla="*/ 10 w 15"/>
                <a:gd name="T9" fmla="*/ 19 h 55"/>
                <a:gd name="T10" fmla="*/ 9 w 15"/>
                <a:gd name="T11" fmla="*/ 13 h 55"/>
                <a:gd name="T12" fmla="*/ 3 w 15"/>
                <a:gd name="T13" fmla="*/ 0 h 55"/>
                <a:gd name="T14" fmla="*/ 2 w 15"/>
                <a:gd name="T15" fmla="*/ 1 h 55"/>
                <a:gd name="T16" fmla="*/ 0 w 15"/>
                <a:gd name="T17" fmla="*/ 7 h 55"/>
                <a:gd name="T18" fmla="*/ 5 w 15"/>
                <a:gd name="T19" fmla="*/ 28 h 55"/>
                <a:gd name="T20" fmla="*/ 11 w 15"/>
                <a:gd name="T21" fmla="*/ 52 h 55"/>
                <a:gd name="T22" fmla="*/ 11 w 15"/>
                <a:gd name="T23" fmla="*/ 55 h 55"/>
                <a:gd name="T24" fmla="*/ 13 w 15"/>
                <a:gd name="T25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55">
                  <a:moveTo>
                    <a:pt x="13" y="54"/>
                  </a:move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14" y="53"/>
                    <a:pt x="14" y="51"/>
                  </a:cubicBezTo>
                  <a:cubicBezTo>
                    <a:pt x="15" y="48"/>
                    <a:pt x="14" y="42"/>
                    <a:pt x="14" y="38"/>
                  </a:cubicBezTo>
                  <a:cubicBezTo>
                    <a:pt x="13" y="32"/>
                    <a:pt x="12" y="25"/>
                    <a:pt x="10" y="19"/>
                  </a:cubicBezTo>
                  <a:cubicBezTo>
                    <a:pt x="10" y="17"/>
                    <a:pt x="9" y="15"/>
                    <a:pt x="9" y="13"/>
                  </a:cubicBezTo>
                  <a:cubicBezTo>
                    <a:pt x="6" y="9"/>
                    <a:pt x="5" y="4"/>
                    <a:pt x="3" y="0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4"/>
                    <a:pt x="3" y="21"/>
                    <a:pt x="5" y="28"/>
                  </a:cubicBezTo>
                  <a:cubicBezTo>
                    <a:pt x="7" y="36"/>
                    <a:pt x="8" y="44"/>
                    <a:pt x="11" y="52"/>
                  </a:cubicBezTo>
                  <a:cubicBezTo>
                    <a:pt x="11" y="53"/>
                    <a:pt x="11" y="54"/>
                    <a:pt x="11" y="55"/>
                  </a:cubicBezTo>
                  <a:cubicBezTo>
                    <a:pt x="12" y="54"/>
                    <a:pt x="12" y="54"/>
                    <a:pt x="13" y="54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íS1íḑê"/>
            <p:cNvSpPr/>
            <p:nvPr/>
          </p:nvSpPr>
          <p:spPr bwMode="auto">
            <a:xfrm>
              <a:off x="5105367" y="4236751"/>
              <a:ext cx="54200" cy="152439"/>
            </a:xfrm>
            <a:custGeom>
              <a:avLst/>
              <a:gdLst>
                <a:gd name="T0" fmla="*/ 6 w 8"/>
                <a:gd name="T1" fmla="*/ 21 h 22"/>
                <a:gd name="T2" fmla="*/ 6 w 8"/>
                <a:gd name="T3" fmla="*/ 21 h 22"/>
                <a:gd name="T4" fmla="*/ 7 w 8"/>
                <a:gd name="T5" fmla="*/ 18 h 22"/>
                <a:gd name="T6" fmla="*/ 7 w 8"/>
                <a:gd name="T7" fmla="*/ 5 h 22"/>
                <a:gd name="T8" fmla="*/ 6 w 8"/>
                <a:gd name="T9" fmla="*/ 0 h 22"/>
                <a:gd name="T10" fmla="*/ 0 w 8"/>
                <a:gd name="T11" fmla="*/ 2 h 22"/>
                <a:gd name="T12" fmla="*/ 4 w 8"/>
                <a:gd name="T13" fmla="*/ 19 h 22"/>
                <a:gd name="T14" fmla="*/ 4 w 8"/>
                <a:gd name="T15" fmla="*/ 22 h 22"/>
                <a:gd name="T16" fmla="*/ 6 w 8"/>
                <a:gd name="T17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22"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7" y="20"/>
                    <a:pt x="7" y="18"/>
                  </a:cubicBezTo>
                  <a:cubicBezTo>
                    <a:pt x="8" y="15"/>
                    <a:pt x="7" y="9"/>
                    <a:pt x="7" y="5"/>
                  </a:cubicBezTo>
                  <a:cubicBezTo>
                    <a:pt x="6" y="3"/>
                    <a:pt x="6" y="2"/>
                    <a:pt x="6" y="0"/>
                  </a:cubicBezTo>
                  <a:cubicBezTo>
                    <a:pt x="4" y="1"/>
                    <a:pt x="2" y="1"/>
                    <a:pt x="0" y="2"/>
                  </a:cubicBezTo>
                  <a:cubicBezTo>
                    <a:pt x="1" y="8"/>
                    <a:pt x="2" y="14"/>
                    <a:pt x="4" y="19"/>
                  </a:cubicBezTo>
                  <a:cubicBezTo>
                    <a:pt x="4" y="20"/>
                    <a:pt x="4" y="21"/>
                    <a:pt x="4" y="22"/>
                  </a:cubicBezTo>
                  <a:cubicBezTo>
                    <a:pt x="5" y="21"/>
                    <a:pt x="5" y="21"/>
                    <a:pt x="6" y="2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ŝḻîďe"/>
            <p:cNvSpPr/>
            <p:nvPr/>
          </p:nvSpPr>
          <p:spPr bwMode="auto">
            <a:xfrm>
              <a:off x="6216470" y="5706929"/>
              <a:ext cx="254064" cy="169375"/>
            </a:xfrm>
            <a:custGeom>
              <a:avLst/>
              <a:gdLst>
                <a:gd name="T0" fmla="*/ 21 w 36"/>
                <a:gd name="T1" fmla="*/ 21 h 24"/>
                <a:gd name="T2" fmla="*/ 21 w 36"/>
                <a:gd name="T3" fmla="*/ 21 h 24"/>
                <a:gd name="T4" fmla="*/ 34 w 36"/>
                <a:gd name="T5" fmla="*/ 8 h 24"/>
                <a:gd name="T6" fmla="*/ 36 w 36"/>
                <a:gd name="T7" fmla="*/ 1 h 24"/>
                <a:gd name="T8" fmla="*/ 33 w 36"/>
                <a:gd name="T9" fmla="*/ 1 h 24"/>
                <a:gd name="T10" fmla="*/ 11 w 36"/>
                <a:gd name="T11" fmla="*/ 0 h 24"/>
                <a:gd name="T12" fmla="*/ 0 w 36"/>
                <a:gd name="T13" fmla="*/ 0 h 24"/>
                <a:gd name="T14" fmla="*/ 21 w 36"/>
                <a:gd name="T15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4">
                  <a:moveTo>
                    <a:pt x="21" y="21"/>
                  </a:moveTo>
                  <a:cubicBezTo>
                    <a:pt x="21" y="21"/>
                    <a:pt x="21" y="21"/>
                    <a:pt x="21" y="21"/>
                  </a:cubicBezTo>
                  <a:cubicBezTo>
                    <a:pt x="28" y="19"/>
                    <a:pt x="32" y="14"/>
                    <a:pt x="34" y="8"/>
                  </a:cubicBezTo>
                  <a:cubicBezTo>
                    <a:pt x="35" y="7"/>
                    <a:pt x="35" y="4"/>
                    <a:pt x="36" y="1"/>
                  </a:cubicBezTo>
                  <a:cubicBezTo>
                    <a:pt x="35" y="1"/>
                    <a:pt x="34" y="1"/>
                    <a:pt x="33" y="1"/>
                  </a:cubicBezTo>
                  <a:cubicBezTo>
                    <a:pt x="26" y="0"/>
                    <a:pt x="18" y="0"/>
                    <a:pt x="11" y="0"/>
                  </a:cubicBezTo>
                  <a:cubicBezTo>
                    <a:pt x="7" y="0"/>
                    <a:pt x="4" y="0"/>
                    <a:pt x="0" y="0"/>
                  </a:cubicBezTo>
                  <a:cubicBezTo>
                    <a:pt x="4" y="11"/>
                    <a:pt x="9" y="24"/>
                    <a:pt x="21" y="2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ŝ1îḓè"/>
            <p:cNvSpPr/>
            <p:nvPr/>
          </p:nvSpPr>
          <p:spPr bwMode="auto">
            <a:xfrm>
              <a:off x="6301158" y="5706929"/>
              <a:ext cx="169375" cy="152439"/>
            </a:xfrm>
            <a:custGeom>
              <a:avLst/>
              <a:gdLst>
                <a:gd name="T0" fmla="*/ 9 w 24"/>
                <a:gd name="T1" fmla="*/ 21 h 22"/>
                <a:gd name="T2" fmla="*/ 9 w 24"/>
                <a:gd name="T3" fmla="*/ 21 h 22"/>
                <a:gd name="T4" fmla="*/ 22 w 24"/>
                <a:gd name="T5" fmla="*/ 8 h 22"/>
                <a:gd name="T6" fmla="*/ 24 w 24"/>
                <a:gd name="T7" fmla="*/ 1 h 22"/>
                <a:gd name="T8" fmla="*/ 21 w 24"/>
                <a:gd name="T9" fmla="*/ 1 h 22"/>
                <a:gd name="T10" fmla="*/ 8 w 24"/>
                <a:gd name="T11" fmla="*/ 0 h 22"/>
                <a:gd name="T12" fmla="*/ 0 w 24"/>
                <a:gd name="T13" fmla="*/ 20 h 22"/>
                <a:gd name="T14" fmla="*/ 9 w 24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2">
                  <a:moveTo>
                    <a:pt x="9" y="21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16" y="19"/>
                    <a:pt x="20" y="14"/>
                    <a:pt x="22" y="8"/>
                  </a:cubicBezTo>
                  <a:cubicBezTo>
                    <a:pt x="23" y="7"/>
                    <a:pt x="23" y="4"/>
                    <a:pt x="24" y="1"/>
                  </a:cubicBezTo>
                  <a:cubicBezTo>
                    <a:pt x="23" y="1"/>
                    <a:pt x="22" y="1"/>
                    <a:pt x="21" y="1"/>
                  </a:cubicBezTo>
                  <a:cubicBezTo>
                    <a:pt x="17" y="0"/>
                    <a:pt x="12" y="0"/>
                    <a:pt x="8" y="0"/>
                  </a:cubicBezTo>
                  <a:cubicBezTo>
                    <a:pt x="5" y="7"/>
                    <a:pt x="2" y="14"/>
                    <a:pt x="0" y="20"/>
                  </a:cubicBezTo>
                  <a:cubicBezTo>
                    <a:pt x="3" y="21"/>
                    <a:pt x="6" y="22"/>
                    <a:pt x="9" y="2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sḻíḓe"/>
            <p:cNvSpPr/>
            <p:nvPr/>
          </p:nvSpPr>
          <p:spPr bwMode="auto">
            <a:xfrm>
              <a:off x="7131097" y="4721165"/>
              <a:ext cx="392951" cy="233739"/>
            </a:xfrm>
            <a:custGeom>
              <a:avLst/>
              <a:gdLst>
                <a:gd name="T0" fmla="*/ 3 w 56"/>
                <a:gd name="T1" fmla="*/ 1 h 33"/>
                <a:gd name="T2" fmla="*/ 3 w 56"/>
                <a:gd name="T3" fmla="*/ 1 h 33"/>
                <a:gd name="T4" fmla="*/ 1 w 56"/>
                <a:gd name="T5" fmla="*/ 4 h 33"/>
                <a:gd name="T6" fmla="*/ 0 w 56"/>
                <a:gd name="T7" fmla="*/ 5 h 33"/>
                <a:gd name="T8" fmla="*/ 31 w 56"/>
                <a:gd name="T9" fmla="*/ 19 h 33"/>
                <a:gd name="T10" fmla="*/ 47 w 56"/>
                <a:gd name="T11" fmla="*/ 28 h 33"/>
                <a:gd name="T12" fmla="*/ 53 w 56"/>
                <a:gd name="T13" fmla="*/ 33 h 33"/>
                <a:gd name="T14" fmla="*/ 56 w 56"/>
                <a:gd name="T15" fmla="*/ 29 h 33"/>
                <a:gd name="T16" fmla="*/ 54 w 56"/>
                <a:gd name="T17" fmla="*/ 21 h 33"/>
                <a:gd name="T18" fmla="*/ 52 w 56"/>
                <a:gd name="T19" fmla="*/ 20 h 33"/>
                <a:gd name="T20" fmla="*/ 41 w 56"/>
                <a:gd name="T21" fmla="*/ 15 h 33"/>
                <a:gd name="T22" fmla="*/ 20 w 56"/>
                <a:gd name="T23" fmla="*/ 6 h 33"/>
                <a:gd name="T24" fmla="*/ 11 w 56"/>
                <a:gd name="T25" fmla="*/ 3 h 33"/>
                <a:gd name="T26" fmla="*/ 3 w 56"/>
                <a:gd name="T27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33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2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11" y="7"/>
                    <a:pt x="21" y="13"/>
                    <a:pt x="31" y="19"/>
                  </a:cubicBezTo>
                  <a:cubicBezTo>
                    <a:pt x="36" y="22"/>
                    <a:pt x="42" y="25"/>
                    <a:pt x="47" y="28"/>
                  </a:cubicBezTo>
                  <a:cubicBezTo>
                    <a:pt x="49" y="29"/>
                    <a:pt x="51" y="31"/>
                    <a:pt x="53" y="33"/>
                  </a:cubicBezTo>
                  <a:cubicBezTo>
                    <a:pt x="55" y="32"/>
                    <a:pt x="56" y="32"/>
                    <a:pt x="56" y="29"/>
                  </a:cubicBezTo>
                  <a:cubicBezTo>
                    <a:pt x="56" y="27"/>
                    <a:pt x="55" y="24"/>
                    <a:pt x="54" y="21"/>
                  </a:cubicBezTo>
                  <a:cubicBezTo>
                    <a:pt x="53" y="21"/>
                    <a:pt x="53" y="20"/>
                    <a:pt x="52" y="20"/>
                  </a:cubicBezTo>
                  <a:cubicBezTo>
                    <a:pt x="48" y="18"/>
                    <a:pt x="44" y="17"/>
                    <a:pt x="41" y="15"/>
                  </a:cubicBezTo>
                  <a:cubicBezTo>
                    <a:pt x="33" y="12"/>
                    <a:pt x="27" y="9"/>
                    <a:pt x="20" y="6"/>
                  </a:cubicBezTo>
                  <a:cubicBezTo>
                    <a:pt x="17" y="5"/>
                    <a:pt x="14" y="4"/>
                    <a:pt x="11" y="3"/>
                  </a:cubicBezTo>
                  <a:cubicBezTo>
                    <a:pt x="9" y="2"/>
                    <a:pt x="6" y="0"/>
                    <a:pt x="3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ṧḻiḍé"/>
            <p:cNvSpPr/>
            <p:nvPr/>
          </p:nvSpPr>
          <p:spPr bwMode="auto">
            <a:xfrm>
              <a:off x="7131097" y="4721165"/>
              <a:ext cx="155825" cy="77914"/>
            </a:xfrm>
            <a:custGeom>
              <a:avLst/>
              <a:gdLst>
                <a:gd name="T0" fmla="*/ 3 w 22"/>
                <a:gd name="T1" fmla="*/ 1 h 11"/>
                <a:gd name="T2" fmla="*/ 3 w 22"/>
                <a:gd name="T3" fmla="*/ 1 h 11"/>
                <a:gd name="T4" fmla="*/ 1 w 22"/>
                <a:gd name="T5" fmla="*/ 4 h 11"/>
                <a:gd name="T6" fmla="*/ 0 w 22"/>
                <a:gd name="T7" fmla="*/ 5 h 11"/>
                <a:gd name="T8" fmla="*/ 17 w 22"/>
                <a:gd name="T9" fmla="*/ 11 h 11"/>
                <a:gd name="T10" fmla="*/ 22 w 22"/>
                <a:gd name="T11" fmla="*/ 7 h 11"/>
                <a:gd name="T12" fmla="*/ 20 w 22"/>
                <a:gd name="T13" fmla="*/ 6 h 11"/>
                <a:gd name="T14" fmla="*/ 11 w 22"/>
                <a:gd name="T15" fmla="*/ 3 h 11"/>
                <a:gd name="T16" fmla="*/ 3 w 22"/>
                <a:gd name="T1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11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2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6" y="6"/>
                    <a:pt x="11" y="8"/>
                    <a:pt x="17" y="11"/>
                  </a:cubicBezTo>
                  <a:cubicBezTo>
                    <a:pt x="18" y="9"/>
                    <a:pt x="20" y="8"/>
                    <a:pt x="22" y="7"/>
                  </a:cubicBezTo>
                  <a:cubicBezTo>
                    <a:pt x="21" y="6"/>
                    <a:pt x="20" y="6"/>
                    <a:pt x="20" y="6"/>
                  </a:cubicBezTo>
                  <a:cubicBezTo>
                    <a:pt x="17" y="5"/>
                    <a:pt x="14" y="4"/>
                    <a:pt x="11" y="3"/>
                  </a:cubicBezTo>
                  <a:cubicBezTo>
                    <a:pt x="9" y="2"/>
                    <a:pt x="6" y="0"/>
                    <a:pt x="3" y="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íṥḻiḓê"/>
            <p:cNvSpPr/>
            <p:nvPr/>
          </p:nvSpPr>
          <p:spPr bwMode="auto">
            <a:xfrm>
              <a:off x="5989508" y="4446776"/>
              <a:ext cx="724927" cy="77914"/>
            </a:xfrm>
            <a:custGeom>
              <a:avLst/>
              <a:gdLst>
                <a:gd name="T0" fmla="*/ 21 w 103"/>
                <a:gd name="T1" fmla="*/ 7 h 11"/>
                <a:gd name="T2" fmla="*/ 21 w 103"/>
                <a:gd name="T3" fmla="*/ 7 h 11"/>
                <a:gd name="T4" fmla="*/ 56 w 103"/>
                <a:gd name="T5" fmla="*/ 8 h 11"/>
                <a:gd name="T6" fmla="*/ 92 w 103"/>
                <a:gd name="T7" fmla="*/ 9 h 11"/>
                <a:gd name="T8" fmla="*/ 102 w 103"/>
                <a:gd name="T9" fmla="*/ 9 h 11"/>
                <a:gd name="T10" fmla="*/ 103 w 103"/>
                <a:gd name="T11" fmla="*/ 7 h 11"/>
                <a:gd name="T12" fmla="*/ 103 w 103"/>
                <a:gd name="T13" fmla="*/ 2 h 11"/>
                <a:gd name="T14" fmla="*/ 103 w 103"/>
                <a:gd name="T15" fmla="*/ 0 h 11"/>
                <a:gd name="T16" fmla="*/ 96 w 103"/>
                <a:gd name="T17" fmla="*/ 0 h 11"/>
                <a:gd name="T18" fmla="*/ 85 w 103"/>
                <a:gd name="T19" fmla="*/ 1 h 11"/>
                <a:gd name="T20" fmla="*/ 57 w 103"/>
                <a:gd name="T21" fmla="*/ 2 h 11"/>
                <a:gd name="T22" fmla="*/ 29 w 103"/>
                <a:gd name="T23" fmla="*/ 3 h 11"/>
                <a:gd name="T24" fmla="*/ 15 w 103"/>
                <a:gd name="T25" fmla="*/ 2 h 11"/>
                <a:gd name="T26" fmla="*/ 2 w 103"/>
                <a:gd name="T27" fmla="*/ 0 h 11"/>
                <a:gd name="T28" fmla="*/ 0 w 103"/>
                <a:gd name="T29" fmla="*/ 6 h 11"/>
                <a:gd name="T30" fmla="*/ 3 w 103"/>
                <a:gd name="T31" fmla="*/ 7 h 11"/>
                <a:gd name="T32" fmla="*/ 21 w 103"/>
                <a:gd name="T3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1">
                  <a:moveTo>
                    <a:pt x="21" y="7"/>
                  </a:moveTo>
                  <a:cubicBezTo>
                    <a:pt x="21" y="7"/>
                    <a:pt x="21" y="7"/>
                    <a:pt x="21" y="7"/>
                  </a:cubicBezTo>
                  <a:cubicBezTo>
                    <a:pt x="33" y="7"/>
                    <a:pt x="44" y="8"/>
                    <a:pt x="56" y="8"/>
                  </a:cubicBezTo>
                  <a:cubicBezTo>
                    <a:pt x="68" y="8"/>
                    <a:pt x="80" y="8"/>
                    <a:pt x="92" y="9"/>
                  </a:cubicBezTo>
                  <a:cubicBezTo>
                    <a:pt x="95" y="10"/>
                    <a:pt x="99" y="11"/>
                    <a:pt x="102" y="9"/>
                  </a:cubicBezTo>
                  <a:cubicBezTo>
                    <a:pt x="103" y="9"/>
                    <a:pt x="103" y="6"/>
                    <a:pt x="103" y="7"/>
                  </a:cubicBezTo>
                  <a:cubicBezTo>
                    <a:pt x="103" y="6"/>
                    <a:pt x="103" y="4"/>
                    <a:pt x="103" y="2"/>
                  </a:cubicBezTo>
                  <a:cubicBezTo>
                    <a:pt x="103" y="2"/>
                    <a:pt x="103" y="1"/>
                    <a:pt x="103" y="0"/>
                  </a:cubicBezTo>
                  <a:cubicBezTo>
                    <a:pt x="100" y="0"/>
                    <a:pt x="98" y="0"/>
                    <a:pt x="96" y="0"/>
                  </a:cubicBezTo>
                  <a:cubicBezTo>
                    <a:pt x="92" y="0"/>
                    <a:pt x="88" y="1"/>
                    <a:pt x="85" y="1"/>
                  </a:cubicBezTo>
                  <a:cubicBezTo>
                    <a:pt x="75" y="1"/>
                    <a:pt x="66" y="2"/>
                    <a:pt x="57" y="2"/>
                  </a:cubicBezTo>
                  <a:cubicBezTo>
                    <a:pt x="47" y="3"/>
                    <a:pt x="38" y="3"/>
                    <a:pt x="29" y="3"/>
                  </a:cubicBezTo>
                  <a:cubicBezTo>
                    <a:pt x="24" y="2"/>
                    <a:pt x="19" y="2"/>
                    <a:pt x="15" y="2"/>
                  </a:cubicBezTo>
                  <a:cubicBezTo>
                    <a:pt x="11" y="1"/>
                    <a:pt x="6" y="2"/>
                    <a:pt x="2" y="0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1" y="7"/>
                    <a:pt x="2" y="7"/>
                    <a:pt x="3" y="7"/>
                  </a:cubicBezTo>
                  <a:cubicBezTo>
                    <a:pt x="8" y="8"/>
                    <a:pt x="15" y="8"/>
                    <a:pt x="21" y="7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$ḷïḍé"/>
            <p:cNvSpPr/>
            <p:nvPr/>
          </p:nvSpPr>
          <p:spPr bwMode="auto">
            <a:xfrm>
              <a:off x="7503723" y="2295710"/>
              <a:ext cx="169375" cy="118564"/>
            </a:xfrm>
            <a:custGeom>
              <a:avLst/>
              <a:gdLst>
                <a:gd name="T0" fmla="*/ 1 w 24"/>
                <a:gd name="T1" fmla="*/ 13 h 17"/>
                <a:gd name="T2" fmla="*/ 1 w 24"/>
                <a:gd name="T3" fmla="*/ 13 h 17"/>
                <a:gd name="T4" fmla="*/ 3 w 24"/>
                <a:gd name="T5" fmla="*/ 14 h 17"/>
                <a:gd name="T6" fmla="*/ 7 w 24"/>
                <a:gd name="T7" fmla="*/ 16 h 17"/>
                <a:gd name="T8" fmla="*/ 9 w 24"/>
                <a:gd name="T9" fmla="*/ 16 h 17"/>
                <a:gd name="T10" fmla="*/ 10 w 24"/>
                <a:gd name="T11" fmla="*/ 17 h 17"/>
                <a:gd name="T12" fmla="*/ 11 w 24"/>
                <a:gd name="T13" fmla="*/ 17 h 17"/>
                <a:gd name="T14" fmla="*/ 14 w 24"/>
                <a:gd name="T15" fmla="*/ 17 h 17"/>
                <a:gd name="T16" fmla="*/ 15 w 24"/>
                <a:gd name="T17" fmla="*/ 17 h 17"/>
                <a:gd name="T18" fmla="*/ 16 w 24"/>
                <a:gd name="T19" fmla="*/ 16 h 17"/>
                <a:gd name="T20" fmla="*/ 23 w 24"/>
                <a:gd name="T21" fmla="*/ 13 h 17"/>
                <a:gd name="T22" fmla="*/ 19 w 24"/>
                <a:gd name="T23" fmla="*/ 3 h 17"/>
                <a:gd name="T24" fmla="*/ 19 w 24"/>
                <a:gd name="T25" fmla="*/ 2 h 17"/>
                <a:gd name="T26" fmla="*/ 7 w 24"/>
                <a:gd name="T27" fmla="*/ 1 h 17"/>
                <a:gd name="T28" fmla="*/ 2 w 24"/>
                <a:gd name="T29" fmla="*/ 5 h 17"/>
                <a:gd name="T30" fmla="*/ 0 w 24"/>
                <a:gd name="T31" fmla="*/ 7 h 17"/>
                <a:gd name="T32" fmla="*/ 0 w 24"/>
                <a:gd name="T33" fmla="*/ 7 h 17"/>
                <a:gd name="T34" fmla="*/ 0 w 24"/>
                <a:gd name="T35" fmla="*/ 12 h 17"/>
                <a:gd name="T36" fmla="*/ 0 w 24"/>
                <a:gd name="T37" fmla="*/ 12 h 17"/>
                <a:gd name="T38" fmla="*/ 1 w 24"/>
                <a:gd name="T39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17">
                  <a:moveTo>
                    <a:pt x="1" y="13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0" y="12"/>
                    <a:pt x="2" y="14"/>
                    <a:pt x="3" y="14"/>
                  </a:cubicBezTo>
                  <a:cubicBezTo>
                    <a:pt x="5" y="15"/>
                    <a:pt x="4" y="15"/>
                    <a:pt x="7" y="16"/>
                  </a:cubicBezTo>
                  <a:cubicBezTo>
                    <a:pt x="8" y="16"/>
                    <a:pt x="9" y="16"/>
                    <a:pt x="9" y="16"/>
                  </a:cubicBezTo>
                  <a:cubicBezTo>
                    <a:pt x="10" y="16"/>
                    <a:pt x="10" y="17"/>
                    <a:pt x="10" y="17"/>
                  </a:cubicBezTo>
                  <a:cubicBezTo>
                    <a:pt x="10" y="17"/>
                    <a:pt x="11" y="17"/>
                    <a:pt x="11" y="17"/>
                  </a:cubicBezTo>
                  <a:cubicBezTo>
                    <a:pt x="12" y="17"/>
                    <a:pt x="13" y="17"/>
                    <a:pt x="14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6" y="16"/>
                    <a:pt x="16" y="16"/>
                  </a:cubicBezTo>
                  <a:cubicBezTo>
                    <a:pt x="19" y="16"/>
                    <a:pt x="22" y="15"/>
                    <a:pt x="23" y="13"/>
                  </a:cubicBezTo>
                  <a:cubicBezTo>
                    <a:pt x="24" y="9"/>
                    <a:pt x="21" y="6"/>
                    <a:pt x="19" y="3"/>
                  </a:cubicBezTo>
                  <a:cubicBezTo>
                    <a:pt x="19" y="3"/>
                    <a:pt x="19" y="3"/>
                    <a:pt x="19" y="2"/>
                  </a:cubicBezTo>
                  <a:cubicBezTo>
                    <a:pt x="15" y="2"/>
                    <a:pt x="11" y="0"/>
                    <a:pt x="7" y="1"/>
                  </a:cubicBezTo>
                  <a:cubicBezTo>
                    <a:pt x="5" y="2"/>
                    <a:pt x="3" y="3"/>
                    <a:pt x="2" y="5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9"/>
                    <a:pt x="0" y="10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1" y="13"/>
                    <a:pt x="1" y="13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î$1îḓê"/>
            <p:cNvSpPr/>
            <p:nvPr/>
          </p:nvSpPr>
          <p:spPr bwMode="auto">
            <a:xfrm>
              <a:off x="5406856" y="230248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$lïďé"/>
            <p:cNvSpPr/>
            <p:nvPr/>
          </p:nvSpPr>
          <p:spPr bwMode="auto">
            <a:xfrm>
              <a:off x="5203606" y="2322810"/>
              <a:ext cx="111789" cy="91464"/>
            </a:xfrm>
            <a:custGeom>
              <a:avLst/>
              <a:gdLst>
                <a:gd name="T0" fmla="*/ 0 w 16"/>
                <a:gd name="T1" fmla="*/ 5 h 13"/>
                <a:gd name="T2" fmla="*/ 0 w 16"/>
                <a:gd name="T3" fmla="*/ 5 h 13"/>
                <a:gd name="T4" fmla="*/ 4 w 16"/>
                <a:gd name="T5" fmla="*/ 11 h 13"/>
                <a:gd name="T6" fmla="*/ 12 w 16"/>
                <a:gd name="T7" fmla="*/ 11 h 13"/>
                <a:gd name="T8" fmla="*/ 16 w 16"/>
                <a:gd name="T9" fmla="*/ 5 h 13"/>
                <a:gd name="T10" fmla="*/ 14 w 16"/>
                <a:gd name="T11" fmla="*/ 0 h 13"/>
                <a:gd name="T12" fmla="*/ 3 w 16"/>
                <a:gd name="T13" fmla="*/ 1 h 13"/>
                <a:gd name="T14" fmla="*/ 0 w 16"/>
                <a:gd name="T15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3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2" y="10"/>
                    <a:pt x="4" y="11"/>
                  </a:cubicBezTo>
                  <a:cubicBezTo>
                    <a:pt x="7" y="13"/>
                    <a:pt x="9" y="13"/>
                    <a:pt x="12" y="11"/>
                  </a:cubicBezTo>
                  <a:cubicBezTo>
                    <a:pt x="14" y="10"/>
                    <a:pt x="16" y="8"/>
                    <a:pt x="16" y="5"/>
                  </a:cubicBezTo>
                  <a:cubicBezTo>
                    <a:pt x="16" y="3"/>
                    <a:pt x="15" y="2"/>
                    <a:pt x="14" y="0"/>
                  </a:cubicBezTo>
                  <a:cubicBezTo>
                    <a:pt x="10" y="1"/>
                    <a:pt x="7" y="0"/>
                    <a:pt x="3" y="1"/>
                  </a:cubicBezTo>
                  <a:cubicBezTo>
                    <a:pt x="2" y="1"/>
                    <a:pt x="0" y="3"/>
                    <a:pt x="0" y="5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sľidê"/>
            <p:cNvSpPr/>
            <p:nvPr/>
          </p:nvSpPr>
          <p:spPr bwMode="auto">
            <a:xfrm>
              <a:off x="6216470" y="3264537"/>
              <a:ext cx="331976" cy="64364"/>
            </a:xfrm>
            <a:custGeom>
              <a:avLst/>
              <a:gdLst>
                <a:gd name="T0" fmla="*/ 27 w 47"/>
                <a:gd name="T1" fmla="*/ 0 h 9"/>
                <a:gd name="T2" fmla="*/ 27 w 47"/>
                <a:gd name="T3" fmla="*/ 0 h 9"/>
                <a:gd name="T4" fmla="*/ 0 w 47"/>
                <a:gd name="T5" fmla="*/ 0 h 9"/>
                <a:gd name="T6" fmla="*/ 2 w 47"/>
                <a:gd name="T7" fmla="*/ 2 h 9"/>
                <a:gd name="T8" fmla="*/ 19 w 47"/>
                <a:gd name="T9" fmla="*/ 8 h 9"/>
                <a:gd name="T10" fmla="*/ 42 w 47"/>
                <a:gd name="T11" fmla="*/ 3 h 9"/>
                <a:gd name="T12" fmla="*/ 47 w 47"/>
                <a:gd name="T13" fmla="*/ 1 h 9"/>
                <a:gd name="T14" fmla="*/ 27 w 47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9"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18" y="0"/>
                    <a:pt x="9" y="0"/>
                    <a:pt x="0" y="0"/>
                  </a:cubicBezTo>
                  <a:cubicBezTo>
                    <a:pt x="1" y="1"/>
                    <a:pt x="2" y="1"/>
                    <a:pt x="2" y="2"/>
                  </a:cubicBezTo>
                  <a:cubicBezTo>
                    <a:pt x="7" y="6"/>
                    <a:pt x="13" y="9"/>
                    <a:pt x="19" y="8"/>
                  </a:cubicBezTo>
                  <a:cubicBezTo>
                    <a:pt x="27" y="8"/>
                    <a:pt x="35" y="6"/>
                    <a:pt x="42" y="3"/>
                  </a:cubicBezTo>
                  <a:cubicBezTo>
                    <a:pt x="44" y="2"/>
                    <a:pt x="45" y="1"/>
                    <a:pt x="47" y="1"/>
                  </a:cubicBezTo>
                  <a:cubicBezTo>
                    <a:pt x="40" y="0"/>
                    <a:pt x="34" y="0"/>
                    <a:pt x="27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iSliḋè"/>
            <p:cNvSpPr/>
            <p:nvPr/>
          </p:nvSpPr>
          <p:spPr bwMode="auto">
            <a:xfrm>
              <a:off x="6470534" y="2295710"/>
              <a:ext cx="1202567" cy="2228980"/>
            </a:xfrm>
            <a:custGeom>
              <a:avLst/>
              <a:gdLst>
                <a:gd name="T0" fmla="*/ 6 w 171"/>
                <a:gd name="T1" fmla="*/ 307 h 317"/>
                <a:gd name="T2" fmla="*/ 0 w 171"/>
                <a:gd name="T3" fmla="*/ 314 h 317"/>
                <a:gd name="T4" fmla="*/ 24 w 171"/>
                <a:gd name="T5" fmla="*/ 315 h 317"/>
                <a:gd name="T6" fmla="*/ 34 w 171"/>
                <a:gd name="T7" fmla="*/ 315 h 317"/>
                <a:gd name="T8" fmla="*/ 35 w 171"/>
                <a:gd name="T9" fmla="*/ 313 h 317"/>
                <a:gd name="T10" fmla="*/ 35 w 171"/>
                <a:gd name="T11" fmla="*/ 308 h 317"/>
                <a:gd name="T12" fmla="*/ 35 w 171"/>
                <a:gd name="T13" fmla="*/ 306 h 317"/>
                <a:gd name="T14" fmla="*/ 28 w 171"/>
                <a:gd name="T15" fmla="*/ 306 h 317"/>
                <a:gd name="T16" fmla="*/ 17 w 171"/>
                <a:gd name="T17" fmla="*/ 307 h 317"/>
                <a:gd name="T18" fmla="*/ 6 w 171"/>
                <a:gd name="T19" fmla="*/ 307 h 317"/>
                <a:gd name="T20" fmla="*/ 148 w 171"/>
                <a:gd name="T21" fmla="*/ 13 h 317"/>
                <a:gd name="T22" fmla="*/ 148 w 171"/>
                <a:gd name="T23" fmla="*/ 13 h 317"/>
                <a:gd name="T24" fmla="*/ 150 w 171"/>
                <a:gd name="T25" fmla="*/ 14 h 317"/>
                <a:gd name="T26" fmla="*/ 154 w 171"/>
                <a:gd name="T27" fmla="*/ 16 h 317"/>
                <a:gd name="T28" fmla="*/ 156 w 171"/>
                <a:gd name="T29" fmla="*/ 16 h 317"/>
                <a:gd name="T30" fmla="*/ 157 w 171"/>
                <a:gd name="T31" fmla="*/ 17 h 317"/>
                <a:gd name="T32" fmla="*/ 158 w 171"/>
                <a:gd name="T33" fmla="*/ 17 h 317"/>
                <a:gd name="T34" fmla="*/ 161 w 171"/>
                <a:gd name="T35" fmla="*/ 17 h 317"/>
                <a:gd name="T36" fmla="*/ 162 w 171"/>
                <a:gd name="T37" fmla="*/ 17 h 317"/>
                <a:gd name="T38" fmla="*/ 163 w 171"/>
                <a:gd name="T39" fmla="*/ 16 h 317"/>
                <a:gd name="T40" fmla="*/ 170 w 171"/>
                <a:gd name="T41" fmla="*/ 13 h 317"/>
                <a:gd name="T42" fmla="*/ 166 w 171"/>
                <a:gd name="T43" fmla="*/ 3 h 317"/>
                <a:gd name="T44" fmla="*/ 166 w 171"/>
                <a:gd name="T45" fmla="*/ 2 h 317"/>
                <a:gd name="T46" fmla="*/ 154 w 171"/>
                <a:gd name="T47" fmla="*/ 1 h 317"/>
                <a:gd name="T48" fmla="*/ 149 w 171"/>
                <a:gd name="T49" fmla="*/ 5 h 317"/>
                <a:gd name="T50" fmla="*/ 147 w 171"/>
                <a:gd name="T51" fmla="*/ 7 h 317"/>
                <a:gd name="T52" fmla="*/ 147 w 171"/>
                <a:gd name="T53" fmla="*/ 7 h 317"/>
                <a:gd name="T54" fmla="*/ 147 w 171"/>
                <a:gd name="T55" fmla="*/ 12 h 317"/>
                <a:gd name="T56" fmla="*/ 147 w 171"/>
                <a:gd name="T57" fmla="*/ 12 h 317"/>
                <a:gd name="T58" fmla="*/ 148 w 171"/>
                <a:gd name="T59" fmla="*/ 13 h 317"/>
                <a:gd name="T60" fmla="*/ 41 w 171"/>
                <a:gd name="T61" fmla="*/ 175 h 317"/>
                <a:gd name="T62" fmla="*/ 41 w 171"/>
                <a:gd name="T63" fmla="*/ 175 h 317"/>
                <a:gd name="T64" fmla="*/ 42 w 171"/>
                <a:gd name="T65" fmla="*/ 152 h 317"/>
                <a:gd name="T66" fmla="*/ 41 w 171"/>
                <a:gd name="T67" fmla="*/ 151 h 317"/>
                <a:gd name="T68" fmla="*/ 37 w 171"/>
                <a:gd name="T69" fmla="*/ 144 h 317"/>
                <a:gd name="T70" fmla="*/ 36 w 171"/>
                <a:gd name="T71" fmla="*/ 147 h 317"/>
                <a:gd name="T72" fmla="*/ 34 w 171"/>
                <a:gd name="T73" fmla="*/ 159 h 317"/>
                <a:gd name="T74" fmla="*/ 40 w 171"/>
                <a:gd name="T75" fmla="*/ 185 h 317"/>
                <a:gd name="T76" fmla="*/ 41 w 171"/>
                <a:gd name="T77" fmla="*/ 17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1" h="317">
                  <a:moveTo>
                    <a:pt x="6" y="307"/>
                  </a:moveTo>
                  <a:cubicBezTo>
                    <a:pt x="5" y="310"/>
                    <a:pt x="3" y="312"/>
                    <a:pt x="0" y="314"/>
                  </a:cubicBezTo>
                  <a:cubicBezTo>
                    <a:pt x="8" y="314"/>
                    <a:pt x="16" y="315"/>
                    <a:pt x="24" y="315"/>
                  </a:cubicBezTo>
                  <a:cubicBezTo>
                    <a:pt x="27" y="316"/>
                    <a:pt x="31" y="317"/>
                    <a:pt x="34" y="315"/>
                  </a:cubicBezTo>
                  <a:cubicBezTo>
                    <a:pt x="35" y="315"/>
                    <a:pt x="35" y="312"/>
                    <a:pt x="35" y="313"/>
                  </a:cubicBezTo>
                  <a:cubicBezTo>
                    <a:pt x="35" y="312"/>
                    <a:pt x="35" y="310"/>
                    <a:pt x="35" y="308"/>
                  </a:cubicBezTo>
                  <a:cubicBezTo>
                    <a:pt x="35" y="308"/>
                    <a:pt x="35" y="307"/>
                    <a:pt x="35" y="306"/>
                  </a:cubicBezTo>
                  <a:cubicBezTo>
                    <a:pt x="32" y="306"/>
                    <a:pt x="30" y="306"/>
                    <a:pt x="28" y="306"/>
                  </a:cubicBezTo>
                  <a:cubicBezTo>
                    <a:pt x="24" y="306"/>
                    <a:pt x="20" y="307"/>
                    <a:pt x="17" y="307"/>
                  </a:cubicBezTo>
                  <a:cubicBezTo>
                    <a:pt x="13" y="307"/>
                    <a:pt x="10" y="307"/>
                    <a:pt x="6" y="307"/>
                  </a:cubicBezTo>
                  <a:close/>
                  <a:moveTo>
                    <a:pt x="148" y="13"/>
                  </a:moveTo>
                  <a:cubicBezTo>
                    <a:pt x="148" y="13"/>
                    <a:pt x="148" y="13"/>
                    <a:pt x="148" y="13"/>
                  </a:cubicBezTo>
                  <a:cubicBezTo>
                    <a:pt x="147" y="12"/>
                    <a:pt x="149" y="14"/>
                    <a:pt x="150" y="14"/>
                  </a:cubicBezTo>
                  <a:cubicBezTo>
                    <a:pt x="152" y="15"/>
                    <a:pt x="151" y="15"/>
                    <a:pt x="154" y="16"/>
                  </a:cubicBezTo>
                  <a:cubicBezTo>
                    <a:pt x="155" y="16"/>
                    <a:pt x="156" y="16"/>
                    <a:pt x="156" y="16"/>
                  </a:cubicBezTo>
                  <a:cubicBezTo>
                    <a:pt x="157" y="16"/>
                    <a:pt x="157" y="17"/>
                    <a:pt x="157" y="17"/>
                  </a:cubicBezTo>
                  <a:cubicBezTo>
                    <a:pt x="157" y="17"/>
                    <a:pt x="158" y="17"/>
                    <a:pt x="158" y="17"/>
                  </a:cubicBezTo>
                  <a:cubicBezTo>
                    <a:pt x="159" y="17"/>
                    <a:pt x="160" y="17"/>
                    <a:pt x="161" y="17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7"/>
                    <a:pt x="163" y="16"/>
                    <a:pt x="163" y="16"/>
                  </a:cubicBezTo>
                  <a:cubicBezTo>
                    <a:pt x="166" y="16"/>
                    <a:pt x="169" y="15"/>
                    <a:pt x="170" y="13"/>
                  </a:cubicBezTo>
                  <a:cubicBezTo>
                    <a:pt x="171" y="9"/>
                    <a:pt x="168" y="6"/>
                    <a:pt x="166" y="3"/>
                  </a:cubicBezTo>
                  <a:cubicBezTo>
                    <a:pt x="166" y="3"/>
                    <a:pt x="166" y="3"/>
                    <a:pt x="166" y="2"/>
                  </a:cubicBezTo>
                  <a:cubicBezTo>
                    <a:pt x="162" y="2"/>
                    <a:pt x="158" y="0"/>
                    <a:pt x="154" y="1"/>
                  </a:cubicBezTo>
                  <a:cubicBezTo>
                    <a:pt x="152" y="2"/>
                    <a:pt x="150" y="3"/>
                    <a:pt x="149" y="5"/>
                  </a:cubicBezTo>
                  <a:cubicBezTo>
                    <a:pt x="148" y="6"/>
                    <a:pt x="147" y="6"/>
                    <a:pt x="147" y="7"/>
                  </a:cubicBezTo>
                  <a:cubicBezTo>
                    <a:pt x="147" y="7"/>
                    <a:pt x="147" y="7"/>
                    <a:pt x="147" y="7"/>
                  </a:cubicBezTo>
                  <a:cubicBezTo>
                    <a:pt x="147" y="9"/>
                    <a:pt x="147" y="10"/>
                    <a:pt x="147" y="12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7" y="12"/>
                    <a:pt x="148" y="13"/>
                    <a:pt x="148" y="13"/>
                  </a:cubicBezTo>
                  <a:close/>
                  <a:moveTo>
                    <a:pt x="41" y="175"/>
                  </a:moveTo>
                  <a:cubicBezTo>
                    <a:pt x="41" y="175"/>
                    <a:pt x="41" y="175"/>
                    <a:pt x="41" y="175"/>
                  </a:cubicBezTo>
                  <a:cubicBezTo>
                    <a:pt x="42" y="167"/>
                    <a:pt x="42" y="160"/>
                    <a:pt x="42" y="152"/>
                  </a:cubicBezTo>
                  <a:cubicBezTo>
                    <a:pt x="42" y="152"/>
                    <a:pt x="41" y="152"/>
                    <a:pt x="41" y="151"/>
                  </a:cubicBezTo>
                  <a:cubicBezTo>
                    <a:pt x="39" y="149"/>
                    <a:pt x="39" y="146"/>
                    <a:pt x="37" y="144"/>
                  </a:cubicBezTo>
                  <a:cubicBezTo>
                    <a:pt x="37" y="145"/>
                    <a:pt x="36" y="146"/>
                    <a:pt x="36" y="147"/>
                  </a:cubicBezTo>
                  <a:cubicBezTo>
                    <a:pt x="35" y="151"/>
                    <a:pt x="34" y="155"/>
                    <a:pt x="34" y="159"/>
                  </a:cubicBezTo>
                  <a:cubicBezTo>
                    <a:pt x="33" y="168"/>
                    <a:pt x="34" y="178"/>
                    <a:pt x="40" y="185"/>
                  </a:cubicBezTo>
                  <a:cubicBezTo>
                    <a:pt x="40" y="182"/>
                    <a:pt x="40" y="178"/>
                    <a:pt x="41" y="175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š1iḋé"/>
            <p:cNvSpPr/>
            <p:nvPr/>
          </p:nvSpPr>
          <p:spPr bwMode="auto">
            <a:xfrm>
              <a:off x="5996283" y="3257762"/>
              <a:ext cx="748640" cy="1168691"/>
            </a:xfrm>
            <a:custGeom>
              <a:avLst/>
              <a:gdLst>
                <a:gd name="T0" fmla="*/ 101 w 106"/>
                <a:gd name="T1" fmla="*/ 129 h 166"/>
                <a:gd name="T2" fmla="*/ 101 w 106"/>
                <a:gd name="T3" fmla="*/ 129 h 166"/>
                <a:gd name="T4" fmla="*/ 104 w 106"/>
                <a:gd name="T5" fmla="*/ 81 h 166"/>
                <a:gd name="T6" fmla="*/ 106 w 106"/>
                <a:gd name="T7" fmla="*/ 59 h 166"/>
                <a:gd name="T8" fmla="*/ 94 w 106"/>
                <a:gd name="T9" fmla="*/ 20 h 166"/>
                <a:gd name="T10" fmla="*/ 99 w 106"/>
                <a:gd name="T11" fmla="*/ 3 h 166"/>
                <a:gd name="T12" fmla="*/ 93 w 106"/>
                <a:gd name="T13" fmla="*/ 2 h 166"/>
                <a:gd name="T14" fmla="*/ 88 w 106"/>
                <a:gd name="T15" fmla="*/ 2 h 166"/>
                <a:gd name="T16" fmla="*/ 78 w 106"/>
                <a:gd name="T17" fmla="*/ 8 h 166"/>
                <a:gd name="T18" fmla="*/ 50 w 106"/>
                <a:gd name="T19" fmla="*/ 16 h 166"/>
                <a:gd name="T20" fmla="*/ 29 w 106"/>
                <a:gd name="T21" fmla="*/ 7 h 166"/>
                <a:gd name="T22" fmla="*/ 22 w 106"/>
                <a:gd name="T23" fmla="*/ 0 h 166"/>
                <a:gd name="T24" fmla="*/ 11 w 106"/>
                <a:gd name="T25" fmla="*/ 1 h 166"/>
                <a:gd name="T26" fmla="*/ 11 w 106"/>
                <a:gd name="T27" fmla="*/ 1 h 166"/>
                <a:gd name="T28" fmla="*/ 12 w 106"/>
                <a:gd name="T29" fmla="*/ 16 h 166"/>
                <a:gd name="T30" fmla="*/ 8 w 106"/>
                <a:gd name="T31" fmla="*/ 31 h 166"/>
                <a:gd name="T32" fmla="*/ 7 w 106"/>
                <a:gd name="T33" fmla="*/ 34 h 166"/>
                <a:gd name="T34" fmla="*/ 21 w 106"/>
                <a:gd name="T35" fmla="*/ 31 h 166"/>
                <a:gd name="T36" fmla="*/ 38 w 106"/>
                <a:gd name="T37" fmla="*/ 36 h 166"/>
                <a:gd name="T38" fmla="*/ 40 w 106"/>
                <a:gd name="T39" fmla="*/ 36 h 166"/>
                <a:gd name="T40" fmla="*/ 42 w 106"/>
                <a:gd name="T41" fmla="*/ 47 h 166"/>
                <a:gd name="T42" fmla="*/ 41 w 106"/>
                <a:gd name="T43" fmla="*/ 60 h 166"/>
                <a:gd name="T44" fmla="*/ 41 w 106"/>
                <a:gd name="T45" fmla="*/ 73 h 166"/>
                <a:gd name="T46" fmla="*/ 37 w 106"/>
                <a:gd name="T47" fmla="*/ 81 h 166"/>
                <a:gd name="T48" fmla="*/ 36 w 106"/>
                <a:gd name="T49" fmla="*/ 82 h 166"/>
                <a:gd name="T50" fmla="*/ 21 w 106"/>
                <a:gd name="T51" fmla="*/ 82 h 166"/>
                <a:gd name="T52" fmla="*/ 13 w 106"/>
                <a:gd name="T53" fmla="*/ 82 h 166"/>
                <a:gd name="T54" fmla="*/ 5 w 106"/>
                <a:gd name="T55" fmla="*/ 81 h 166"/>
                <a:gd name="T56" fmla="*/ 3 w 106"/>
                <a:gd name="T57" fmla="*/ 77 h 166"/>
                <a:gd name="T58" fmla="*/ 2 w 106"/>
                <a:gd name="T59" fmla="*/ 69 h 166"/>
                <a:gd name="T60" fmla="*/ 2 w 106"/>
                <a:gd name="T61" fmla="*/ 56 h 166"/>
                <a:gd name="T62" fmla="*/ 3 w 106"/>
                <a:gd name="T63" fmla="*/ 42 h 166"/>
                <a:gd name="T64" fmla="*/ 2 w 106"/>
                <a:gd name="T65" fmla="*/ 44 h 166"/>
                <a:gd name="T66" fmla="*/ 0 w 106"/>
                <a:gd name="T67" fmla="*/ 46 h 166"/>
                <a:gd name="T68" fmla="*/ 0 w 106"/>
                <a:gd name="T69" fmla="*/ 52 h 166"/>
                <a:gd name="T70" fmla="*/ 0 w 106"/>
                <a:gd name="T71" fmla="*/ 115 h 166"/>
                <a:gd name="T72" fmla="*/ 1 w 106"/>
                <a:gd name="T73" fmla="*/ 145 h 166"/>
                <a:gd name="T74" fmla="*/ 1 w 106"/>
                <a:gd name="T75" fmla="*/ 163 h 166"/>
                <a:gd name="T76" fmla="*/ 14 w 106"/>
                <a:gd name="T77" fmla="*/ 164 h 166"/>
                <a:gd name="T78" fmla="*/ 28 w 106"/>
                <a:gd name="T79" fmla="*/ 165 h 166"/>
                <a:gd name="T80" fmla="*/ 57 w 106"/>
                <a:gd name="T81" fmla="*/ 165 h 166"/>
                <a:gd name="T82" fmla="*/ 87 w 106"/>
                <a:gd name="T83" fmla="*/ 163 h 166"/>
                <a:gd name="T84" fmla="*/ 101 w 106"/>
                <a:gd name="T85" fmla="*/ 163 h 166"/>
                <a:gd name="T86" fmla="*/ 101 w 106"/>
                <a:gd name="T87" fmla="*/ 152 h 166"/>
                <a:gd name="T88" fmla="*/ 101 w 106"/>
                <a:gd name="T89" fmla="*/ 12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6" h="166">
                  <a:moveTo>
                    <a:pt x="101" y="129"/>
                  </a:moveTo>
                  <a:cubicBezTo>
                    <a:pt x="101" y="129"/>
                    <a:pt x="101" y="129"/>
                    <a:pt x="101" y="129"/>
                  </a:cubicBezTo>
                  <a:cubicBezTo>
                    <a:pt x="102" y="113"/>
                    <a:pt x="103" y="97"/>
                    <a:pt x="104" y="81"/>
                  </a:cubicBezTo>
                  <a:cubicBezTo>
                    <a:pt x="105" y="73"/>
                    <a:pt x="105" y="66"/>
                    <a:pt x="106" y="59"/>
                  </a:cubicBezTo>
                  <a:cubicBezTo>
                    <a:pt x="94" y="49"/>
                    <a:pt x="92" y="34"/>
                    <a:pt x="94" y="20"/>
                  </a:cubicBezTo>
                  <a:cubicBezTo>
                    <a:pt x="94" y="17"/>
                    <a:pt x="96" y="8"/>
                    <a:pt x="99" y="3"/>
                  </a:cubicBezTo>
                  <a:cubicBezTo>
                    <a:pt x="97" y="3"/>
                    <a:pt x="95" y="3"/>
                    <a:pt x="93" y="2"/>
                  </a:cubicBezTo>
                  <a:cubicBezTo>
                    <a:pt x="91" y="2"/>
                    <a:pt x="90" y="2"/>
                    <a:pt x="88" y="2"/>
                  </a:cubicBezTo>
                  <a:cubicBezTo>
                    <a:pt x="85" y="5"/>
                    <a:pt x="81" y="7"/>
                    <a:pt x="78" y="8"/>
                  </a:cubicBezTo>
                  <a:cubicBezTo>
                    <a:pt x="69" y="12"/>
                    <a:pt x="60" y="14"/>
                    <a:pt x="50" y="16"/>
                  </a:cubicBezTo>
                  <a:cubicBezTo>
                    <a:pt x="42" y="17"/>
                    <a:pt x="35" y="13"/>
                    <a:pt x="29" y="7"/>
                  </a:cubicBezTo>
                  <a:cubicBezTo>
                    <a:pt x="27" y="6"/>
                    <a:pt x="24" y="3"/>
                    <a:pt x="22" y="0"/>
                  </a:cubicBezTo>
                  <a:cubicBezTo>
                    <a:pt x="18" y="0"/>
                    <a:pt x="15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5"/>
                    <a:pt x="12" y="11"/>
                    <a:pt x="12" y="16"/>
                  </a:cubicBezTo>
                  <a:cubicBezTo>
                    <a:pt x="12" y="21"/>
                    <a:pt x="10" y="26"/>
                    <a:pt x="8" y="31"/>
                  </a:cubicBezTo>
                  <a:cubicBezTo>
                    <a:pt x="8" y="32"/>
                    <a:pt x="8" y="33"/>
                    <a:pt x="7" y="34"/>
                  </a:cubicBezTo>
                  <a:cubicBezTo>
                    <a:pt x="11" y="31"/>
                    <a:pt x="16" y="31"/>
                    <a:pt x="21" y="31"/>
                  </a:cubicBezTo>
                  <a:cubicBezTo>
                    <a:pt x="27" y="32"/>
                    <a:pt x="33" y="32"/>
                    <a:pt x="38" y="36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2" y="39"/>
                    <a:pt x="42" y="43"/>
                    <a:pt x="42" y="47"/>
                  </a:cubicBezTo>
                  <a:cubicBezTo>
                    <a:pt x="42" y="51"/>
                    <a:pt x="41" y="56"/>
                    <a:pt x="41" y="60"/>
                  </a:cubicBezTo>
                  <a:cubicBezTo>
                    <a:pt x="41" y="64"/>
                    <a:pt x="41" y="69"/>
                    <a:pt x="41" y="73"/>
                  </a:cubicBezTo>
                  <a:cubicBezTo>
                    <a:pt x="40" y="76"/>
                    <a:pt x="41" y="81"/>
                    <a:pt x="37" y="81"/>
                  </a:cubicBezTo>
                  <a:cubicBezTo>
                    <a:pt x="37" y="82"/>
                    <a:pt x="37" y="82"/>
                    <a:pt x="36" y="82"/>
                  </a:cubicBezTo>
                  <a:cubicBezTo>
                    <a:pt x="32" y="84"/>
                    <a:pt x="26" y="83"/>
                    <a:pt x="21" y="82"/>
                  </a:cubicBezTo>
                  <a:cubicBezTo>
                    <a:pt x="18" y="82"/>
                    <a:pt x="15" y="82"/>
                    <a:pt x="13" y="82"/>
                  </a:cubicBezTo>
                  <a:cubicBezTo>
                    <a:pt x="10" y="82"/>
                    <a:pt x="7" y="82"/>
                    <a:pt x="5" y="81"/>
                  </a:cubicBezTo>
                  <a:cubicBezTo>
                    <a:pt x="3" y="80"/>
                    <a:pt x="2" y="78"/>
                    <a:pt x="3" y="77"/>
                  </a:cubicBezTo>
                  <a:cubicBezTo>
                    <a:pt x="2" y="74"/>
                    <a:pt x="2" y="71"/>
                    <a:pt x="2" y="69"/>
                  </a:cubicBezTo>
                  <a:cubicBezTo>
                    <a:pt x="2" y="64"/>
                    <a:pt x="2" y="60"/>
                    <a:pt x="2" y="56"/>
                  </a:cubicBezTo>
                  <a:cubicBezTo>
                    <a:pt x="2" y="51"/>
                    <a:pt x="2" y="47"/>
                    <a:pt x="3" y="42"/>
                  </a:cubicBezTo>
                  <a:cubicBezTo>
                    <a:pt x="3" y="43"/>
                    <a:pt x="3" y="43"/>
                    <a:pt x="2" y="44"/>
                  </a:cubicBezTo>
                  <a:cubicBezTo>
                    <a:pt x="2" y="44"/>
                    <a:pt x="1" y="45"/>
                    <a:pt x="0" y="46"/>
                  </a:cubicBezTo>
                  <a:cubicBezTo>
                    <a:pt x="0" y="48"/>
                    <a:pt x="0" y="50"/>
                    <a:pt x="0" y="52"/>
                  </a:cubicBezTo>
                  <a:cubicBezTo>
                    <a:pt x="0" y="73"/>
                    <a:pt x="1" y="94"/>
                    <a:pt x="0" y="115"/>
                  </a:cubicBezTo>
                  <a:cubicBezTo>
                    <a:pt x="0" y="125"/>
                    <a:pt x="0" y="135"/>
                    <a:pt x="1" y="145"/>
                  </a:cubicBezTo>
                  <a:cubicBezTo>
                    <a:pt x="1" y="151"/>
                    <a:pt x="1" y="157"/>
                    <a:pt x="1" y="163"/>
                  </a:cubicBezTo>
                  <a:cubicBezTo>
                    <a:pt x="5" y="162"/>
                    <a:pt x="10" y="164"/>
                    <a:pt x="14" y="164"/>
                  </a:cubicBezTo>
                  <a:cubicBezTo>
                    <a:pt x="18" y="164"/>
                    <a:pt x="23" y="165"/>
                    <a:pt x="28" y="165"/>
                  </a:cubicBezTo>
                  <a:cubicBezTo>
                    <a:pt x="38" y="166"/>
                    <a:pt x="47" y="165"/>
                    <a:pt x="57" y="165"/>
                  </a:cubicBezTo>
                  <a:cubicBezTo>
                    <a:pt x="67" y="164"/>
                    <a:pt x="77" y="163"/>
                    <a:pt x="87" y="163"/>
                  </a:cubicBezTo>
                  <a:cubicBezTo>
                    <a:pt x="91" y="163"/>
                    <a:pt x="96" y="163"/>
                    <a:pt x="101" y="163"/>
                  </a:cubicBezTo>
                  <a:cubicBezTo>
                    <a:pt x="101" y="160"/>
                    <a:pt x="101" y="156"/>
                    <a:pt x="101" y="152"/>
                  </a:cubicBezTo>
                  <a:cubicBezTo>
                    <a:pt x="101" y="145"/>
                    <a:pt x="101" y="137"/>
                    <a:pt x="101" y="129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ṩḷíḓè"/>
            <p:cNvSpPr/>
            <p:nvPr/>
          </p:nvSpPr>
          <p:spPr bwMode="auto">
            <a:xfrm>
              <a:off x="6538284" y="3271312"/>
              <a:ext cx="206639" cy="1134816"/>
            </a:xfrm>
            <a:custGeom>
              <a:avLst/>
              <a:gdLst>
                <a:gd name="T0" fmla="*/ 24 w 29"/>
                <a:gd name="T1" fmla="*/ 127 h 161"/>
                <a:gd name="T2" fmla="*/ 24 w 29"/>
                <a:gd name="T3" fmla="*/ 127 h 161"/>
                <a:gd name="T4" fmla="*/ 27 w 29"/>
                <a:gd name="T5" fmla="*/ 79 h 161"/>
                <a:gd name="T6" fmla="*/ 29 w 29"/>
                <a:gd name="T7" fmla="*/ 57 h 161"/>
                <a:gd name="T8" fmla="*/ 17 w 29"/>
                <a:gd name="T9" fmla="*/ 18 h 161"/>
                <a:gd name="T10" fmla="*/ 22 w 29"/>
                <a:gd name="T11" fmla="*/ 1 h 161"/>
                <a:gd name="T12" fmla="*/ 16 w 29"/>
                <a:gd name="T13" fmla="*/ 0 h 161"/>
                <a:gd name="T14" fmla="*/ 11 w 29"/>
                <a:gd name="T15" fmla="*/ 0 h 161"/>
                <a:gd name="T16" fmla="*/ 8 w 29"/>
                <a:gd name="T17" fmla="*/ 73 h 161"/>
                <a:gd name="T18" fmla="*/ 0 w 29"/>
                <a:gd name="T19" fmla="*/ 161 h 161"/>
                <a:gd name="T20" fmla="*/ 10 w 29"/>
                <a:gd name="T21" fmla="*/ 161 h 161"/>
                <a:gd name="T22" fmla="*/ 24 w 29"/>
                <a:gd name="T23" fmla="*/ 161 h 161"/>
                <a:gd name="T24" fmla="*/ 24 w 29"/>
                <a:gd name="T25" fmla="*/ 150 h 161"/>
                <a:gd name="T26" fmla="*/ 24 w 29"/>
                <a:gd name="T27" fmla="*/ 12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161">
                  <a:moveTo>
                    <a:pt x="24" y="127"/>
                  </a:moveTo>
                  <a:cubicBezTo>
                    <a:pt x="24" y="127"/>
                    <a:pt x="24" y="127"/>
                    <a:pt x="24" y="127"/>
                  </a:cubicBezTo>
                  <a:cubicBezTo>
                    <a:pt x="25" y="111"/>
                    <a:pt x="26" y="95"/>
                    <a:pt x="27" y="79"/>
                  </a:cubicBezTo>
                  <a:cubicBezTo>
                    <a:pt x="28" y="71"/>
                    <a:pt x="28" y="64"/>
                    <a:pt x="29" y="57"/>
                  </a:cubicBezTo>
                  <a:cubicBezTo>
                    <a:pt x="17" y="47"/>
                    <a:pt x="15" y="32"/>
                    <a:pt x="17" y="18"/>
                  </a:cubicBezTo>
                  <a:cubicBezTo>
                    <a:pt x="17" y="15"/>
                    <a:pt x="19" y="6"/>
                    <a:pt x="22" y="1"/>
                  </a:cubicBezTo>
                  <a:cubicBezTo>
                    <a:pt x="20" y="1"/>
                    <a:pt x="18" y="1"/>
                    <a:pt x="16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11" y="0"/>
                    <a:pt x="6" y="13"/>
                    <a:pt x="8" y="73"/>
                  </a:cubicBezTo>
                  <a:cubicBezTo>
                    <a:pt x="9" y="112"/>
                    <a:pt x="8" y="143"/>
                    <a:pt x="0" y="161"/>
                  </a:cubicBezTo>
                  <a:cubicBezTo>
                    <a:pt x="3" y="161"/>
                    <a:pt x="6" y="161"/>
                    <a:pt x="10" y="161"/>
                  </a:cubicBezTo>
                  <a:cubicBezTo>
                    <a:pt x="14" y="161"/>
                    <a:pt x="19" y="161"/>
                    <a:pt x="24" y="161"/>
                  </a:cubicBezTo>
                  <a:cubicBezTo>
                    <a:pt x="24" y="158"/>
                    <a:pt x="24" y="154"/>
                    <a:pt x="24" y="150"/>
                  </a:cubicBezTo>
                  <a:cubicBezTo>
                    <a:pt x="24" y="143"/>
                    <a:pt x="24" y="135"/>
                    <a:pt x="24" y="127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ṣ1iďe"/>
            <p:cNvSpPr/>
            <p:nvPr/>
          </p:nvSpPr>
          <p:spPr bwMode="auto">
            <a:xfrm>
              <a:off x="6968496" y="1909534"/>
              <a:ext cx="121950" cy="1053516"/>
            </a:xfrm>
            <a:custGeom>
              <a:avLst/>
              <a:gdLst>
                <a:gd name="T0" fmla="*/ 13 w 17"/>
                <a:gd name="T1" fmla="*/ 144 h 150"/>
                <a:gd name="T2" fmla="*/ 13 w 17"/>
                <a:gd name="T3" fmla="*/ 150 h 150"/>
                <a:gd name="T4" fmla="*/ 13 w 17"/>
                <a:gd name="T5" fmla="*/ 144 h 150"/>
                <a:gd name="T6" fmla="*/ 4 w 17"/>
                <a:gd name="T7" fmla="*/ 6 h 150"/>
                <a:gd name="T8" fmla="*/ 4 w 17"/>
                <a:gd name="T9" fmla="*/ 0 h 150"/>
                <a:gd name="T10" fmla="*/ 4 w 17"/>
                <a:gd name="T11" fmla="*/ 6 h 150"/>
                <a:gd name="T12" fmla="*/ 11 w 17"/>
                <a:gd name="T13" fmla="*/ 26 h 150"/>
                <a:gd name="T14" fmla="*/ 7 w 17"/>
                <a:gd name="T15" fmla="*/ 26 h 150"/>
                <a:gd name="T16" fmla="*/ 6 w 17"/>
                <a:gd name="T17" fmla="*/ 25 h 150"/>
                <a:gd name="T18" fmla="*/ 6 w 17"/>
                <a:gd name="T19" fmla="*/ 22 h 150"/>
                <a:gd name="T20" fmla="*/ 9 w 17"/>
                <a:gd name="T21" fmla="*/ 21 h 150"/>
                <a:gd name="T22" fmla="*/ 11 w 17"/>
                <a:gd name="T23" fmla="*/ 22 h 150"/>
                <a:gd name="T24" fmla="*/ 11 w 17"/>
                <a:gd name="T25" fmla="*/ 25 h 150"/>
                <a:gd name="T26" fmla="*/ 11 w 17"/>
                <a:gd name="T27" fmla="*/ 26 h 150"/>
                <a:gd name="T28" fmla="*/ 8 w 17"/>
                <a:gd name="T29" fmla="*/ 39 h 150"/>
                <a:gd name="T30" fmla="*/ 11 w 17"/>
                <a:gd name="T31" fmla="*/ 42 h 150"/>
                <a:gd name="T32" fmla="*/ 11 w 17"/>
                <a:gd name="T33" fmla="*/ 44 h 150"/>
                <a:gd name="T34" fmla="*/ 8 w 17"/>
                <a:gd name="T35" fmla="*/ 46 h 150"/>
                <a:gd name="T36" fmla="*/ 6 w 17"/>
                <a:gd name="T37" fmla="*/ 44 h 150"/>
                <a:gd name="T38" fmla="*/ 6 w 17"/>
                <a:gd name="T39" fmla="*/ 42 h 150"/>
                <a:gd name="T40" fmla="*/ 8 w 17"/>
                <a:gd name="T41" fmla="*/ 39 h 150"/>
                <a:gd name="T42" fmla="*/ 9 w 17"/>
                <a:gd name="T43" fmla="*/ 75 h 150"/>
                <a:gd name="T44" fmla="*/ 12 w 17"/>
                <a:gd name="T45" fmla="*/ 78 h 150"/>
                <a:gd name="T46" fmla="*/ 9 w 17"/>
                <a:gd name="T47" fmla="*/ 81 h 150"/>
                <a:gd name="T48" fmla="*/ 7 w 17"/>
                <a:gd name="T49" fmla="*/ 78 h 150"/>
                <a:gd name="T50" fmla="*/ 9 w 17"/>
                <a:gd name="T51" fmla="*/ 75 h 150"/>
                <a:gd name="T52" fmla="*/ 10 w 17"/>
                <a:gd name="T53" fmla="*/ 92 h 150"/>
                <a:gd name="T54" fmla="*/ 12 w 17"/>
                <a:gd name="T55" fmla="*/ 93 h 150"/>
                <a:gd name="T56" fmla="*/ 13 w 17"/>
                <a:gd name="T57" fmla="*/ 96 h 150"/>
                <a:gd name="T58" fmla="*/ 13 w 17"/>
                <a:gd name="T59" fmla="*/ 97 h 150"/>
                <a:gd name="T60" fmla="*/ 10 w 17"/>
                <a:gd name="T61" fmla="*/ 99 h 150"/>
                <a:gd name="T62" fmla="*/ 7 w 17"/>
                <a:gd name="T63" fmla="*/ 97 h 150"/>
                <a:gd name="T64" fmla="*/ 7 w 17"/>
                <a:gd name="T65" fmla="*/ 96 h 150"/>
                <a:gd name="T66" fmla="*/ 8 w 17"/>
                <a:gd name="T67" fmla="*/ 94 h 150"/>
                <a:gd name="T68" fmla="*/ 10 w 17"/>
                <a:gd name="T69" fmla="*/ 92 h 150"/>
                <a:gd name="T70" fmla="*/ 11 w 17"/>
                <a:gd name="T71" fmla="*/ 119 h 150"/>
                <a:gd name="T72" fmla="*/ 8 w 17"/>
                <a:gd name="T73" fmla="*/ 115 h 150"/>
                <a:gd name="T74" fmla="*/ 11 w 17"/>
                <a:gd name="T75" fmla="*/ 112 h 150"/>
                <a:gd name="T76" fmla="*/ 14 w 17"/>
                <a:gd name="T77" fmla="*/ 115 h 150"/>
                <a:gd name="T78" fmla="*/ 11 w 17"/>
                <a:gd name="T79" fmla="*/ 119 h 150"/>
                <a:gd name="T80" fmla="*/ 8 w 17"/>
                <a:gd name="T81" fmla="*/ 129 h 150"/>
                <a:gd name="T82" fmla="*/ 10 w 17"/>
                <a:gd name="T83" fmla="*/ 129 h 150"/>
                <a:gd name="T84" fmla="*/ 10 w 17"/>
                <a:gd name="T85" fmla="*/ 129 h 150"/>
                <a:gd name="T86" fmla="*/ 11 w 17"/>
                <a:gd name="T87" fmla="*/ 129 h 150"/>
                <a:gd name="T88" fmla="*/ 13 w 17"/>
                <a:gd name="T89" fmla="*/ 129 h 150"/>
                <a:gd name="T90" fmla="*/ 13 w 17"/>
                <a:gd name="T91" fmla="*/ 131 h 150"/>
                <a:gd name="T92" fmla="*/ 13 w 17"/>
                <a:gd name="T93" fmla="*/ 133 h 150"/>
                <a:gd name="T94" fmla="*/ 11 w 17"/>
                <a:gd name="T95" fmla="*/ 134 h 150"/>
                <a:gd name="T96" fmla="*/ 10 w 17"/>
                <a:gd name="T97" fmla="*/ 134 h 150"/>
                <a:gd name="T98" fmla="*/ 10 w 17"/>
                <a:gd name="T99" fmla="*/ 134 h 150"/>
                <a:gd name="T100" fmla="*/ 8 w 17"/>
                <a:gd name="T101" fmla="*/ 133 h 150"/>
                <a:gd name="T102" fmla="*/ 8 w 17"/>
                <a:gd name="T103" fmla="*/ 133 h 150"/>
                <a:gd name="T104" fmla="*/ 7 w 17"/>
                <a:gd name="T105" fmla="*/ 131 h 150"/>
                <a:gd name="T106" fmla="*/ 8 w 17"/>
                <a:gd name="T107" fmla="*/ 129 h 150"/>
                <a:gd name="T108" fmla="*/ 8 w 17"/>
                <a:gd name="T109" fmla="*/ 12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" h="150">
                  <a:moveTo>
                    <a:pt x="13" y="144"/>
                  </a:moveTo>
                  <a:cubicBezTo>
                    <a:pt x="17" y="144"/>
                    <a:pt x="17" y="150"/>
                    <a:pt x="13" y="150"/>
                  </a:cubicBezTo>
                  <a:cubicBezTo>
                    <a:pt x="9" y="150"/>
                    <a:pt x="9" y="144"/>
                    <a:pt x="13" y="144"/>
                  </a:cubicBezTo>
                  <a:close/>
                  <a:moveTo>
                    <a:pt x="4" y="6"/>
                  </a:moveTo>
                  <a:cubicBezTo>
                    <a:pt x="0" y="6"/>
                    <a:pt x="0" y="0"/>
                    <a:pt x="4" y="0"/>
                  </a:cubicBezTo>
                  <a:cubicBezTo>
                    <a:pt x="8" y="0"/>
                    <a:pt x="8" y="6"/>
                    <a:pt x="4" y="6"/>
                  </a:cubicBezTo>
                  <a:close/>
                  <a:moveTo>
                    <a:pt x="11" y="26"/>
                  </a:moveTo>
                  <a:cubicBezTo>
                    <a:pt x="10" y="28"/>
                    <a:pt x="7" y="28"/>
                    <a:pt x="7" y="26"/>
                  </a:cubicBezTo>
                  <a:cubicBezTo>
                    <a:pt x="6" y="26"/>
                    <a:pt x="6" y="26"/>
                    <a:pt x="6" y="25"/>
                  </a:cubicBezTo>
                  <a:cubicBezTo>
                    <a:pt x="6" y="24"/>
                    <a:pt x="6" y="23"/>
                    <a:pt x="6" y="22"/>
                  </a:cubicBezTo>
                  <a:cubicBezTo>
                    <a:pt x="7" y="22"/>
                    <a:pt x="8" y="21"/>
                    <a:pt x="9" y="21"/>
                  </a:cubicBezTo>
                  <a:cubicBezTo>
                    <a:pt x="10" y="21"/>
                    <a:pt x="11" y="22"/>
                    <a:pt x="11" y="22"/>
                  </a:cubicBezTo>
                  <a:cubicBezTo>
                    <a:pt x="12" y="23"/>
                    <a:pt x="12" y="24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lose/>
                  <a:moveTo>
                    <a:pt x="8" y="39"/>
                  </a:moveTo>
                  <a:cubicBezTo>
                    <a:pt x="10" y="39"/>
                    <a:pt x="11" y="40"/>
                    <a:pt x="11" y="42"/>
                  </a:cubicBezTo>
                  <a:cubicBezTo>
                    <a:pt x="11" y="43"/>
                    <a:pt x="11" y="43"/>
                    <a:pt x="11" y="44"/>
                  </a:cubicBezTo>
                  <a:cubicBezTo>
                    <a:pt x="10" y="45"/>
                    <a:pt x="9" y="46"/>
                    <a:pt x="8" y="46"/>
                  </a:cubicBezTo>
                  <a:cubicBezTo>
                    <a:pt x="7" y="46"/>
                    <a:pt x="6" y="45"/>
                    <a:pt x="6" y="44"/>
                  </a:cubicBezTo>
                  <a:cubicBezTo>
                    <a:pt x="6" y="43"/>
                    <a:pt x="6" y="43"/>
                    <a:pt x="6" y="42"/>
                  </a:cubicBezTo>
                  <a:cubicBezTo>
                    <a:pt x="6" y="40"/>
                    <a:pt x="7" y="39"/>
                    <a:pt x="8" y="39"/>
                  </a:cubicBezTo>
                  <a:close/>
                  <a:moveTo>
                    <a:pt x="9" y="75"/>
                  </a:moveTo>
                  <a:cubicBezTo>
                    <a:pt x="11" y="75"/>
                    <a:pt x="12" y="76"/>
                    <a:pt x="12" y="78"/>
                  </a:cubicBezTo>
                  <a:cubicBezTo>
                    <a:pt x="12" y="79"/>
                    <a:pt x="11" y="81"/>
                    <a:pt x="9" y="81"/>
                  </a:cubicBezTo>
                  <a:cubicBezTo>
                    <a:pt x="8" y="81"/>
                    <a:pt x="7" y="79"/>
                    <a:pt x="7" y="78"/>
                  </a:cubicBezTo>
                  <a:cubicBezTo>
                    <a:pt x="7" y="76"/>
                    <a:pt x="8" y="75"/>
                    <a:pt x="9" y="75"/>
                  </a:cubicBezTo>
                  <a:close/>
                  <a:moveTo>
                    <a:pt x="10" y="92"/>
                  </a:moveTo>
                  <a:cubicBezTo>
                    <a:pt x="11" y="92"/>
                    <a:pt x="12" y="93"/>
                    <a:pt x="12" y="93"/>
                  </a:cubicBezTo>
                  <a:cubicBezTo>
                    <a:pt x="13" y="94"/>
                    <a:pt x="13" y="95"/>
                    <a:pt x="13" y="96"/>
                  </a:cubicBezTo>
                  <a:cubicBezTo>
                    <a:pt x="13" y="96"/>
                    <a:pt x="13" y="97"/>
                    <a:pt x="13" y="97"/>
                  </a:cubicBezTo>
                  <a:cubicBezTo>
                    <a:pt x="13" y="98"/>
                    <a:pt x="11" y="99"/>
                    <a:pt x="10" y="99"/>
                  </a:cubicBezTo>
                  <a:cubicBezTo>
                    <a:pt x="9" y="99"/>
                    <a:pt x="8" y="98"/>
                    <a:pt x="7" y="97"/>
                  </a:cubicBezTo>
                  <a:cubicBezTo>
                    <a:pt x="7" y="97"/>
                    <a:pt x="7" y="96"/>
                    <a:pt x="7" y="96"/>
                  </a:cubicBezTo>
                  <a:cubicBezTo>
                    <a:pt x="7" y="95"/>
                    <a:pt x="7" y="95"/>
                    <a:pt x="8" y="94"/>
                  </a:cubicBezTo>
                  <a:cubicBezTo>
                    <a:pt x="8" y="93"/>
                    <a:pt x="9" y="92"/>
                    <a:pt x="10" y="92"/>
                  </a:cubicBezTo>
                  <a:close/>
                  <a:moveTo>
                    <a:pt x="11" y="119"/>
                  </a:moveTo>
                  <a:cubicBezTo>
                    <a:pt x="9" y="119"/>
                    <a:pt x="8" y="117"/>
                    <a:pt x="8" y="115"/>
                  </a:cubicBezTo>
                  <a:cubicBezTo>
                    <a:pt x="8" y="114"/>
                    <a:pt x="9" y="112"/>
                    <a:pt x="11" y="112"/>
                  </a:cubicBezTo>
                  <a:cubicBezTo>
                    <a:pt x="13" y="112"/>
                    <a:pt x="14" y="114"/>
                    <a:pt x="14" y="115"/>
                  </a:cubicBezTo>
                  <a:cubicBezTo>
                    <a:pt x="14" y="117"/>
                    <a:pt x="13" y="119"/>
                    <a:pt x="11" y="119"/>
                  </a:cubicBezTo>
                  <a:close/>
                  <a:moveTo>
                    <a:pt x="8" y="129"/>
                  </a:moveTo>
                  <a:cubicBezTo>
                    <a:pt x="9" y="129"/>
                    <a:pt x="9" y="129"/>
                    <a:pt x="10" y="129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10" y="129"/>
                    <a:pt x="11" y="129"/>
                    <a:pt x="11" y="129"/>
                  </a:cubicBezTo>
                  <a:cubicBezTo>
                    <a:pt x="12" y="129"/>
                    <a:pt x="12" y="129"/>
                    <a:pt x="13" y="129"/>
                  </a:cubicBezTo>
                  <a:cubicBezTo>
                    <a:pt x="13" y="130"/>
                    <a:pt x="13" y="131"/>
                    <a:pt x="13" y="131"/>
                  </a:cubicBezTo>
                  <a:cubicBezTo>
                    <a:pt x="13" y="132"/>
                    <a:pt x="13" y="133"/>
                    <a:pt x="13" y="133"/>
                  </a:cubicBezTo>
                  <a:cubicBezTo>
                    <a:pt x="12" y="134"/>
                    <a:pt x="12" y="134"/>
                    <a:pt x="11" y="134"/>
                  </a:cubicBezTo>
                  <a:cubicBezTo>
                    <a:pt x="11" y="134"/>
                    <a:pt x="10" y="134"/>
                    <a:pt x="10" y="134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9" y="134"/>
                    <a:pt x="9" y="134"/>
                    <a:pt x="8" y="133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8" y="133"/>
                    <a:pt x="7" y="132"/>
                    <a:pt x="7" y="131"/>
                  </a:cubicBezTo>
                  <a:cubicBezTo>
                    <a:pt x="7" y="131"/>
                    <a:pt x="8" y="130"/>
                    <a:pt x="8" y="129"/>
                  </a:cubicBezTo>
                  <a:cubicBezTo>
                    <a:pt x="8" y="129"/>
                    <a:pt x="8" y="129"/>
                    <a:pt x="8" y="12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ṥļíḍé"/>
            <p:cNvSpPr/>
            <p:nvPr/>
          </p:nvSpPr>
          <p:spPr bwMode="auto">
            <a:xfrm>
              <a:off x="6019994" y="2349910"/>
              <a:ext cx="399726" cy="149050"/>
            </a:xfrm>
            <a:custGeom>
              <a:avLst/>
              <a:gdLst>
                <a:gd name="T0" fmla="*/ 26 w 57"/>
                <a:gd name="T1" fmla="*/ 20 h 21"/>
                <a:gd name="T2" fmla="*/ 10 w 57"/>
                <a:gd name="T3" fmla="*/ 17 h 21"/>
                <a:gd name="T4" fmla="*/ 3 w 57"/>
                <a:gd name="T5" fmla="*/ 3 h 21"/>
                <a:gd name="T6" fmla="*/ 9 w 57"/>
                <a:gd name="T7" fmla="*/ 2 h 21"/>
                <a:gd name="T8" fmla="*/ 16 w 57"/>
                <a:gd name="T9" fmla="*/ 8 h 21"/>
                <a:gd name="T10" fmla="*/ 26 w 57"/>
                <a:gd name="T11" fmla="*/ 10 h 21"/>
                <a:gd name="T12" fmla="*/ 52 w 57"/>
                <a:gd name="T13" fmla="*/ 2 h 21"/>
                <a:gd name="T14" fmla="*/ 56 w 57"/>
                <a:gd name="T15" fmla="*/ 4 h 21"/>
                <a:gd name="T16" fmla="*/ 26 w 57"/>
                <a:gd name="T1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21">
                  <a:moveTo>
                    <a:pt x="26" y="20"/>
                  </a:moveTo>
                  <a:cubicBezTo>
                    <a:pt x="20" y="21"/>
                    <a:pt x="15" y="19"/>
                    <a:pt x="10" y="17"/>
                  </a:cubicBezTo>
                  <a:cubicBezTo>
                    <a:pt x="5" y="15"/>
                    <a:pt x="0" y="9"/>
                    <a:pt x="3" y="3"/>
                  </a:cubicBezTo>
                  <a:cubicBezTo>
                    <a:pt x="4" y="1"/>
                    <a:pt x="7" y="1"/>
                    <a:pt x="9" y="2"/>
                  </a:cubicBezTo>
                  <a:cubicBezTo>
                    <a:pt x="12" y="3"/>
                    <a:pt x="13" y="6"/>
                    <a:pt x="16" y="8"/>
                  </a:cubicBezTo>
                  <a:cubicBezTo>
                    <a:pt x="19" y="9"/>
                    <a:pt x="23" y="9"/>
                    <a:pt x="26" y="10"/>
                  </a:cubicBezTo>
                  <a:cubicBezTo>
                    <a:pt x="35" y="10"/>
                    <a:pt x="47" y="9"/>
                    <a:pt x="52" y="2"/>
                  </a:cubicBezTo>
                  <a:cubicBezTo>
                    <a:pt x="54" y="0"/>
                    <a:pt x="57" y="2"/>
                    <a:pt x="56" y="4"/>
                  </a:cubicBezTo>
                  <a:cubicBezTo>
                    <a:pt x="50" y="15"/>
                    <a:pt x="38" y="20"/>
                    <a:pt x="26" y="2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ṡ1ïḓè"/>
            <p:cNvSpPr/>
            <p:nvPr/>
          </p:nvSpPr>
          <p:spPr bwMode="auto">
            <a:xfrm>
              <a:off x="5813357" y="2092460"/>
              <a:ext cx="226964" cy="196475"/>
            </a:xfrm>
            <a:custGeom>
              <a:avLst/>
              <a:gdLst>
                <a:gd name="T0" fmla="*/ 16 w 32"/>
                <a:gd name="T1" fmla="*/ 28 h 28"/>
                <a:gd name="T2" fmla="*/ 4 w 32"/>
                <a:gd name="T3" fmla="*/ 10 h 28"/>
                <a:gd name="T4" fmla="*/ 13 w 32"/>
                <a:gd name="T5" fmla="*/ 1 h 28"/>
                <a:gd name="T6" fmla="*/ 25 w 32"/>
                <a:gd name="T7" fmla="*/ 3 h 28"/>
                <a:gd name="T8" fmla="*/ 28 w 32"/>
                <a:gd name="T9" fmla="*/ 5 h 28"/>
                <a:gd name="T10" fmla="*/ 32 w 32"/>
                <a:gd name="T11" fmla="*/ 14 h 28"/>
                <a:gd name="T12" fmla="*/ 16 w 3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8">
                  <a:moveTo>
                    <a:pt x="16" y="28"/>
                  </a:moveTo>
                  <a:cubicBezTo>
                    <a:pt x="7" y="27"/>
                    <a:pt x="0" y="19"/>
                    <a:pt x="4" y="10"/>
                  </a:cubicBezTo>
                  <a:cubicBezTo>
                    <a:pt x="6" y="5"/>
                    <a:pt x="9" y="3"/>
                    <a:pt x="13" y="1"/>
                  </a:cubicBezTo>
                  <a:cubicBezTo>
                    <a:pt x="16" y="0"/>
                    <a:pt x="22" y="1"/>
                    <a:pt x="25" y="3"/>
                  </a:cubicBezTo>
                  <a:cubicBezTo>
                    <a:pt x="26" y="4"/>
                    <a:pt x="27" y="4"/>
                    <a:pt x="28" y="5"/>
                  </a:cubicBezTo>
                  <a:cubicBezTo>
                    <a:pt x="31" y="7"/>
                    <a:pt x="32" y="11"/>
                    <a:pt x="32" y="14"/>
                  </a:cubicBezTo>
                  <a:cubicBezTo>
                    <a:pt x="31" y="22"/>
                    <a:pt x="25" y="28"/>
                    <a:pt x="16" y="28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śḻîḍê"/>
            <p:cNvSpPr/>
            <p:nvPr/>
          </p:nvSpPr>
          <p:spPr bwMode="auto">
            <a:xfrm>
              <a:off x="6433270" y="2099235"/>
              <a:ext cx="220189" cy="189700"/>
            </a:xfrm>
            <a:custGeom>
              <a:avLst/>
              <a:gdLst>
                <a:gd name="T0" fmla="*/ 6 w 31"/>
                <a:gd name="T1" fmla="*/ 7 h 27"/>
                <a:gd name="T2" fmla="*/ 19 w 31"/>
                <a:gd name="T3" fmla="*/ 1 h 27"/>
                <a:gd name="T4" fmla="*/ 24 w 31"/>
                <a:gd name="T5" fmla="*/ 5 h 27"/>
                <a:gd name="T6" fmla="*/ 25 w 31"/>
                <a:gd name="T7" fmla="*/ 5 h 27"/>
                <a:gd name="T8" fmla="*/ 30 w 31"/>
                <a:gd name="T9" fmla="*/ 18 h 27"/>
                <a:gd name="T10" fmla="*/ 16 w 31"/>
                <a:gd name="T11" fmla="*/ 27 h 27"/>
                <a:gd name="T12" fmla="*/ 6 w 31"/>
                <a:gd name="T1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6" y="7"/>
                  </a:moveTo>
                  <a:cubicBezTo>
                    <a:pt x="9" y="2"/>
                    <a:pt x="14" y="0"/>
                    <a:pt x="19" y="1"/>
                  </a:cubicBezTo>
                  <a:cubicBezTo>
                    <a:pt x="21" y="2"/>
                    <a:pt x="23" y="3"/>
                    <a:pt x="24" y="5"/>
                  </a:cubicBezTo>
                  <a:cubicBezTo>
                    <a:pt x="24" y="5"/>
                    <a:pt x="24" y="5"/>
                    <a:pt x="25" y="5"/>
                  </a:cubicBezTo>
                  <a:cubicBezTo>
                    <a:pt x="29" y="8"/>
                    <a:pt x="31" y="13"/>
                    <a:pt x="30" y="18"/>
                  </a:cubicBezTo>
                  <a:cubicBezTo>
                    <a:pt x="29" y="24"/>
                    <a:pt x="22" y="27"/>
                    <a:pt x="16" y="27"/>
                  </a:cubicBezTo>
                  <a:cubicBezTo>
                    <a:pt x="6" y="27"/>
                    <a:pt x="0" y="15"/>
                    <a:pt x="6" y="7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70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 rot="20262996">
            <a:off x="705640" y="3364315"/>
            <a:ext cx="5067710" cy="2391582"/>
            <a:chOff x="3558970" y="2488798"/>
            <a:chExt cx="5067710" cy="2391582"/>
          </a:xfrm>
        </p:grpSpPr>
        <p:sp>
          <p:nvSpPr>
            <p:cNvPr id="71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110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>
          <a:xfrm rot="20262996">
            <a:off x="3109570" y="525035"/>
            <a:ext cx="5067710" cy="2391582"/>
            <a:chOff x="3558970" y="2488798"/>
            <a:chExt cx="5067710" cy="2391582"/>
          </a:xfrm>
        </p:grpSpPr>
        <p:sp>
          <p:nvSpPr>
            <p:cNvPr id="111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150" name="683ae7dc-b5ab-4ff3-a861-ec68902b1d7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>
          <a:xfrm rot="3693560">
            <a:off x="7972762" y="745211"/>
            <a:ext cx="4386826" cy="3241846"/>
            <a:chOff x="3899413" y="2063665"/>
            <a:chExt cx="4386826" cy="3241846"/>
          </a:xfrm>
        </p:grpSpPr>
        <p:sp>
          <p:nvSpPr>
            <p:cNvPr id="151" name="iṩľiďé"/>
            <p:cNvSpPr/>
            <p:nvPr/>
          </p:nvSpPr>
          <p:spPr bwMode="auto">
            <a:xfrm>
              <a:off x="3899413" y="3852269"/>
              <a:ext cx="4386826" cy="1453242"/>
            </a:xfrm>
            <a:custGeom>
              <a:avLst/>
              <a:gdLst>
                <a:gd name="T0" fmla="*/ 610 w 623"/>
                <a:gd name="T1" fmla="*/ 81 h 207"/>
                <a:gd name="T2" fmla="*/ 595 w 623"/>
                <a:gd name="T3" fmla="*/ 83 h 207"/>
                <a:gd name="T4" fmla="*/ 610 w 623"/>
                <a:gd name="T5" fmla="*/ 68 h 207"/>
                <a:gd name="T6" fmla="*/ 586 w 623"/>
                <a:gd name="T7" fmla="*/ 72 h 207"/>
                <a:gd name="T8" fmla="*/ 572 w 623"/>
                <a:gd name="T9" fmla="*/ 67 h 207"/>
                <a:gd name="T10" fmla="*/ 577 w 623"/>
                <a:gd name="T11" fmla="*/ 59 h 207"/>
                <a:gd name="T12" fmla="*/ 581 w 623"/>
                <a:gd name="T13" fmla="*/ 51 h 207"/>
                <a:gd name="T14" fmla="*/ 561 w 623"/>
                <a:gd name="T15" fmla="*/ 61 h 207"/>
                <a:gd name="T16" fmla="*/ 557 w 623"/>
                <a:gd name="T17" fmla="*/ 69 h 207"/>
                <a:gd name="T18" fmla="*/ 523 w 623"/>
                <a:gd name="T19" fmla="*/ 82 h 207"/>
                <a:gd name="T20" fmla="*/ 500 w 623"/>
                <a:gd name="T21" fmla="*/ 72 h 207"/>
                <a:gd name="T22" fmla="*/ 456 w 623"/>
                <a:gd name="T23" fmla="*/ 64 h 207"/>
                <a:gd name="T24" fmla="*/ 411 w 623"/>
                <a:gd name="T25" fmla="*/ 12 h 207"/>
                <a:gd name="T26" fmla="*/ 349 w 623"/>
                <a:gd name="T27" fmla="*/ 1 h 207"/>
                <a:gd name="T28" fmla="*/ 259 w 623"/>
                <a:gd name="T29" fmla="*/ 5 h 207"/>
                <a:gd name="T30" fmla="*/ 218 w 623"/>
                <a:gd name="T31" fmla="*/ 6 h 207"/>
                <a:gd name="T32" fmla="*/ 179 w 623"/>
                <a:gd name="T33" fmla="*/ 6 h 207"/>
                <a:gd name="T34" fmla="*/ 158 w 623"/>
                <a:gd name="T35" fmla="*/ 31 h 207"/>
                <a:gd name="T36" fmla="*/ 142 w 623"/>
                <a:gd name="T37" fmla="*/ 43 h 207"/>
                <a:gd name="T38" fmla="*/ 121 w 623"/>
                <a:gd name="T39" fmla="*/ 44 h 207"/>
                <a:gd name="T40" fmla="*/ 98 w 623"/>
                <a:gd name="T41" fmla="*/ 66 h 207"/>
                <a:gd name="T42" fmla="*/ 63 w 623"/>
                <a:gd name="T43" fmla="*/ 69 h 207"/>
                <a:gd name="T44" fmla="*/ 46 w 623"/>
                <a:gd name="T45" fmla="*/ 61 h 207"/>
                <a:gd name="T46" fmla="*/ 42 w 623"/>
                <a:gd name="T47" fmla="*/ 37 h 207"/>
                <a:gd name="T48" fmla="*/ 38 w 623"/>
                <a:gd name="T49" fmla="*/ 61 h 207"/>
                <a:gd name="T50" fmla="*/ 17 w 623"/>
                <a:gd name="T51" fmla="*/ 65 h 207"/>
                <a:gd name="T52" fmla="*/ 12 w 623"/>
                <a:gd name="T53" fmla="*/ 74 h 207"/>
                <a:gd name="T54" fmla="*/ 18 w 623"/>
                <a:gd name="T55" fmla="*/ 83 h 207"/>
                <a:gd name="T56" fmla="*/ 17 w 623"/>
                <a:gd name="T57" fmla="*/ 92 h 207"/>
                <a:gd name="T58" fmla="*/ 18 w 623"/>
                <a:gd name="T59" fmla="*/ 98 h 207"/>
                <a:gd name="T60" fmla="*/ 18 w 623"/>
                <a:gd name="T61" fmla="*/ 110 h 207"/>
                <a:gd name="T62" fmla="*/ 28 w 623"/>
                <a:gd name="T63" fmla="*/ 101 h 207"/>
                <a:gd name="T64" fmla="*/ 34 w 623"/>
                <a:gd name="T65" fmla="*/ 117 h 207"/>
                <a:gd name="T66" fmla="*/ 45 w 623"/>
                <a:gd name="T67" fmla="*/ 105 h 207"/>
                <a:gd name="T68" fmla="*/ 76 w 623"/>
                <a:gd name="T69" fmla="*/ 81 h 207"/>
                <a:gd name="T70" fmla="*/ 130 w 623"/>
                <a:gd name="T71" fmla="*/ 85 h 207"/>
                <a:gd name="T72" fmla="*/ 145 w 623"/>
                <a:gd name="T73" fmla="*/ 59 h 207"/>
                <a:gd name="T74" fmla="*/ 150 w 623"/>
                <a:gd name="T75" fmla="*/ 54 h 207"/>
                <a:gd name="T76" fmla="*/ 175 w 623"/>
                <a:gd name="T77" fmla="*/ 36 h 207"/>
                <a:gd name="T78" fmla="*/ 176 w 623"/>
                <a:gd name="T79" fmla="*/ 71 h 207"/>
                <a:gd name="T80" fmla="*/ 262 w 623"/>
                <a:gd name="T81" fmla="*/ 205 h 207"/>
                <a:gd name="T82" fmla="*/ 337 w 623"/>
                <a:gd name="T83" fmla="*/ 196 h 207"/>
                <a:gd name="T84" fmla="*/ 375 w 623"/>
                <a:gd name="T85" fmla="*/ 175 h 207"/>
                <a:gd name="T86" fmla="*/ 411 w 623"/>
                <a:gd name="T87" fmla="*/ 67 h 207"/>
                <a:gd name="T88" fmla="*/ 443 w 623"/>
                <a:gd name="T89" fmla="*/ 68 h 207"/>
                <a:gd name="T90" fmla="*/ 462 w 623"/>
                <a:gd name="T91" fmla="*/ 98 h 207"/>
                <a:gd name="T92" fmla="*/ 503 w 623"/>
                <a:gd name="T93" fmla="*/ 95 h 207"/>
                <a:gd name="T94" fmla="*/ 569 w 623"/>
                <a:gd name="T95" fmla="*/ 111 h 207"/>
                <a:gd name="T96" fmla="*/ 584 w 623"/>
                <a:gd name="T97" fmla="*/ 125 h 207"/>
                <a:gd name="T98" fmla="*/ 582 w 623"/>
                <a:gd name="T99" fmla="*/ 107 h 207"/>
                <a:gd name="T100" fmla="*/ 605 w 623"/>
                <a:gd name="T101" fmla="*/ 114 h 207"/>
                <a:gd name="T102" fmla="*/ 608 w 623"/>
                <a:gd name="T103" fmla="*/ 102 h 207"/>
                <a:gd name="T104" fmla="*/ 603 w 623"/>
                <a:gd name="T105" fmla="*/ 9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3" h="207">
                  <a:moveTo>
                    <a:pt x="614" y="81"/>
                  </a:moveTo>
                  <a:cubicBezTo>
                    <a:pt x="613" y="81"/>
                    <a:pt x="612" y="81"/>
                    <a:pt x="611" y="81"/>
                  </a:cubicBezTo>
                  <a:cubicBezTo>
                    <a:pt x="611" y="81"/>
                    <a:pt x="611" y="81"/>
                    <a:pt x="610" y="81"/>
                  </a:cubicBezTo>
                  <a:cubicBezTo>
                    <a:pt x="610" y="82"/>
                    <a:pt x="610" y="82"/>
                    <a:pt x="609" y="82"/>
                  </a:cubicBezTo>
                  <a:cubicBezTo>
                    <a:pt x="607" y="82"/>
                    <a:pt x="604" y="82"/>
                    <a:pt x="602" y="82"/>
                  </a:cubicBezTo>
                  <a:cubicBezTo>
                    <a:pt x="600" y="82"/>
                    <a:pt x="598" y="82"/>
                    <a:pt x="595" y="83"/>
                  </a:cubicBezTo>
                  <a:cubicBezTo>
                    <a:pt x="595" y="82"/>
                    <a:pt x="595" y="81"/>
                    <a:pt x="594" y="80"/>
                  </a:cubicBezTo>
                  <a:cubicBezTo>
                    <a:pt x="595" y="79"/>
                    <a:pt x="596" y="79"/>
                    <a:pt x="597" y="78"/>
                  </a:cubicBezTo>
                  <a:cubicBezTo>
                    <a:pt x="602" y="75"/>
                    <a:pt x="607" y="73"/>
                    <a:pt x="610" y="68"/>
                  </a:cubicBezTo>
                  <a:cubicBezTo>
                    <a:pt x="614" y="62"/>
                    <a:pt x="605" y="55"/>
                    <a:pt x="600" y="60"/>
                  </a:cubicBezTo>
                  <a:cubicBezTo>
                    <a:pt x="597" y="63"/>
                    <a:pt x="594" y="65"/>
                    <a:pt x="590" y="68"/>
                  </a:cubicBezTo>
                  <a:cubicBezTo>
                    <a:pt x="589" y="69"/>
                    <a:pt x="587" y="70"/>
                    <a:pt x="586" y="72"/>
                  </a:cubicBezTo>
                  <a:cubicBezTo>
                    <a:pt x="583" y="71"/>
                    <a:pt x="581" y="70"/>
                    <a:pt x="579" y="69"/>
                  </a:cubicBezTo>
                  <a:cubicBezTo>
                    <a:pt x="577" y="69"/>
                    <a:pt x="574" y="68"/>
                    <a:pt x="571" y="68"/>
                  </a:cubicBezTo>
                  <a:cubicBezTo>
                    <a:pt x="572" y="67"/>
                    <a:pt x="572" y="67"/>
                    <a:pt x="572" y="67"/>
                  </a:cubicBezTo>
                  <a:cubicBezTo>
                    <a:pt x="573" y="66"/>
                    <a:pt x="574" y="64"/>
                    <a:pt x="575" y="62"/>
                  </a:cubicBezTo>
                  <a:cubicBezTo>
                    <a:pt x="576" y="61"/>
                    <a:pt x="576" y="61"/>
                    <a:pt x="576" y="60"/>
                  </a:cubicBezTo>
                  <a:cubicBezTo>
                    <a:pt x="577" y="60"/>
                    <a:pt x="577" y="60"/>
                    <a:pt x="577" y="59"/>
                  </a:cubicBezTo>
                  <a:cubicBezTo>
                    <a:pt x="577" y="59"/>
                    <a:pt x="578" y="59"/>
                    <a:pt x="578" y="59"/>
                  </a:cubicBezTo>
                  <a:cubicBezTo>
                    <a:pt x="578" y="59"/>
                    <a:pt x="578" y="59"/>
                    <a:pt x="578" y="59"/>
                  </a:cubicBezTo>
                  <a:cubicBezTo>
                    <a:pt x="580" y="57"/>
                    <a:pt x="582" y="54"/>
                    <a:pt x="581" y="51"/>
                  </a:cubicBezTo>
                  <a:cubicBezTo>
                    <a:pt x="580" y="48"/>
                    <a:pt x="576" y="45"/>
                    <a:pt x="573" y="47"/>
                  </a:cubicBezTo>
                  <a:cubicBezTo>
                    <a:pt x="567" y="49"/>
                    <a:pt x="565" y="54"/>
                    <a:pt x="562" y="59"/>
                  </a:cubicBezTo>
                  <a:cubicBezTo>
                    <a:pt x="562" y="60"/>
                    <a:pt x="561" y="61"/>
                    <a:pt x="561" y="61"/>
                  </a:cubicBezTo>
                  <a:cubicBezTo>
                    <a:pt x="560" y="62"/>
                    <a:pt x="560" y="63"/>
                    <a:pt x="560" y="63"/>
                  </a:cubicBezTo>
                  <a:cubicBezTo>
                    <a:pt x="561" y="62"/>
                    <a:pt x="560" y="64"/>
                    <a:pt x="560" y="64"/>
                  </a:cubicBezTo>
                  <a:cubicBezTo>
                    <a:pt x="559" y="66"/>
                    <a:pt x="558" y="67"/>
                    <a:pt x="557" y="69"/>
                  </a:cubicBezTo>
                  <a:cubicBezTo>
                    <a:pt x="552" y="71"/>
                    <a:pt x="549" y="75"/>
                    <a:pt x="547" y="79"/>
                  </a:cubicBezTo>
                  <a:cubicBezTo>
                    <a:pt x="547" y="79"/>
                    <a:pt x="547" y="79"/>
                    <a:pt x="547" y="79"/>
                  </a:cubicBezTo>
                  <a:cubicBezTo>
                    <a:pt x="539" y="80"/>
                    <a:pt x="531" y="80"/>
                    <a:pt x="523" y="82"/>
                  </a:cubicBezTo>
                  <a:cubicBezTo>
                    <a:pt x="519" y="82"/>
                    <a:pt x="514" y="83"/>
                    <a:pt x="510" y="84"/>
                  </a:cubicBezTo>
                  <a:cubicBezTo>
                    <a:pt x="508" y="84"/>
                    <a:pt x="507" y="84"/>
                    <a:pt x="505" y="84"/>
                  </a:cubicBezTo>
                  <a:cubicBezTo>
                    <a:pt x="505" y="79"/>
                    <a:pt x="503" y="75"/>
                    <a:pt x="500" y="72"/>
                  </a:cubicBezTo>
                  <a:cubicBezTo>
                    <a:pt x="494" y="65"/>
                    <a:pt x="485" y="65"/>
                    <a:pt x="477" y="66"/>
                  </a:cubicBezTo>
                  <a:cubicBezTo>
                    <a:pt x="472" y="64"/>
                    <a:pt x="467" y="66"/>
                    <a:pt x="463" y="70"/>
                  </a:cubicBezTo>
                  <a:cubicBezTo>
                    <a:pt x="461" y="68"/>
                    <a:pt x="458" y="66"/>
                    <a:pt x="456" y="64"/>
                  </a:cubicBezTo>
                  <a:cubicBezTo>
                    <a:pt x="449" y="58"/>
                    <a:pt x="444" y="50"/>
                    <a:pt x="438" y="43"/>
                  </a:cubicBezTo>
                  <a:cubicBezTo>
                    <a:pt x="429" y="34"/>
                    <a:pt x="417" y="27"/>
                    <a:pt x="411" y="15"/>
                  </a:cubicBezTo>
                  <a:cubicBezTo>
                    <a:pt x="411" y="14"/>
                    <a:pt x="411" y="13"/>
                    <a:pt x="411" y="12"/>
                  </a:cubicBezTo>
                  <a:cubicBezTo>
                    <a:pt x="415" y="8"/>
                    <a:pt x="414" y="0"/>
                    <a:pt x="407" y="0"/>
                  </a:cubicBezTo>
                  <a:cubicBezTo>
                    <a:pt x="397" y="0"/>
                    <a:pt x="388" y="1"/>
                    <a:pt x="379" y="1"/>
                  </a:cubicBezTo>
                  <a:cubicBezTo>
                    <a:pt x="369" y="2"/>
                    <a:pt x="358" y="1"/>
                    <a:pt x="349" y="1"/>
                  </a:cubicBezTo>
                  <a:cubicBezTo>
                    <a:pt x="338" y="2"/>
                    <a:pt x="328" y="3"/>
                    <a:pt x="318" y="3"/>
                  </a:cubicBezTo>
                  <a:cubicBezTo>
                    <a:pt x="308" y="3"/>
                    <a:pt x="298" y="3"/>
                    <a:pt x="288" y="3"/>
                  </a:cubicBezTo>
                  <a:cubicBezTo>
                    <a:pt x="279" y="4"/>
                    <a:pt x="269" y="4"/>
                    <a:pt x="259" y="5"/>
                  </a:cubicBezTo>
                  <a:cubicBezTo>
                    <a:pt x="254" y="5"/>
                    <a:pt x="250" y="5"/>
                    <a:pt x="245" y="5"/>
                  </a:cubicBezTo>
                  <a:cubicBezTo>
                    <a:pt x="240" y="5"/>
                    <a:pt x="235" y="6"/>
                    <a:pt x="230" y="6"/>
                  </a:cubicBezTo>
                  <a:cubicBezTo>
                    <a:pt x="226" y="7"/>
                    <a:pt x="222" y="6"/>
                    <a:pt x="218" y="6"/>
                  </a:cubicBezTo>
                  <a:cubicBezTo>
                    <a:pt x="214" y="6"/>
                    <a:pt x="210" y="7"/>
                    <a:pt x="205" y="7"/>
                  </a:cubicBezTo>
                  <a:cubicBezTo>
                    <a:pt x="198" y="7"/>
                    <a:pt x="190" y="6"/>
                    <a:pt x="182" y="5"/>
                  </a:cubicBezTo>
                  <a:cubicBezTo>
                    <a:pt x="181" y="5"/>
                    <a:pt x="180" y="5"/>
                    <a:pt x="179" y="6"/>
                  </a:cubicBezTo>
                  <a:cubicBezTo>
                    <a:pt x="177" y="10"/>
                    <a:pt x="176" y="14"/>
                    <a:pt x="176" y="18"/>
                  </a:cubicBezTo>
                  <a:cubicBezTo>
                    <a:pt x="173" y="21"/>
                    <a:pt x="169" y="24"/>
                    <a:pt x="165" y="26"/>
                  </a:cubicBezTo>
                  <a:cubicBezTo>
                    <a:pt x="162" y="28"/>
                    <a:pt x="160" y="30"/>
                    <a:pt x="158" y="31"/>
                  </a:cubicBezTo>
                  <a:cubicBezTo>
                    <a:pt x="160" y="30"/>
                    <a:pt x="158" y="32"/>
                    <a:pt x="157" y="32"/>
                  </a:cubicBezTo>
                  <a:cubicBezTo>
                    <a:pt x="156" y="33"/>
                    <a:pt x="155" y="33"/>
                    <a:pt x="155" y="34"/>
                  </a:cubicBezTo>
                  <a:cubicBezTo>
                    <a:pt x="150" y="37"/>
                    <a:pt x="146" y="40"/>
                    <a:pt x="142" y="43"/>
                  </a:cubicBezTo>
                  <a:cubicBezTo>
                    <a:pt x="141" y="44"/>
                    <a:pt x="138" y="46"/>
                    <a:pt x="136" y="48"/>
                  </a:cubicBezTo>
                  <a:cubicBezTo>
                    <a:pt x="132" y="45"/>
                    <a:pt x="128" y="44"/>
                    <a:pt x="124" y="44"/>
                  </a:cubicBezTo>
                  <a:cubicBezTo>
                    <a:pt x="123" y="44"/>
                    <a:pt x="122" y="44"/>
                    <a:pt x="121" y="44"/>
                  </a:cubicBezTo>
                  <a:cubicBezTo>
                    <a:pt x="120" y="43"/>
                    <a:pt x="119" y="43"/>
                    <a:pt x="118" y="43"/>
                  </a:cubicBezTo>
                  <a:cubicBezTo>
                    <a:pt x="110" y="42"/>
                    <a:pt x="102" y="50"/>
                    <a:pt x="99" y="58"/>
                  </a:cubicBezTo>
                  <a:cubicBezTo>
                    <a:pt x="98" y="60"/>
                    <a:pt x="98" y="63"/>
                    <a:pt x="98" y="66"/>
                  </a:cubicBezTo>
                  <a:cubicBezTo>
                    <a:pt x="95" y="66"/>
                    <a:pt x="93" y="66"/>
                    <a:pt x="91" y="66"/>
                  </a:cubicBezTo>
                  <a:cubicBezTo>
                    <a:pt x="85" y="67"/>
                    <a:pt x="80" y="67"/>
                    <a:pt x="75" y="67"/>
                  </a:cubicBezTo>
                  <a:cubicBezTo>
                    <a:pt x="71" y="68"/>
                    <a:pt x="67" y="69"/>
                    <a:pt x="63" y="69"/>
                  </a:cubicBezTo>
                  <a:cubicBezTo>
                    <a:pt x="62" y="69"/>
                    <a:pt x="62" y="69"/>
                    <a:pt x="61" y="69"/>
                  </a:cubicBezTo>
                  <a:cubicBezTo>
                    <a:pt x="58" y="66"/>
                    <a:pt x="54" y="64"/>
                    <a:pt x="51" y="62"/>
                  </a:cubicBezTo>
                  <a:cubicBezTo>
                    <a:pt x="49" y="62"/>
                    <a:pt x="48" y="61"/>
                    <a:pt x="46" y="61"/>
                  </a:cubicBezTo>
                  <a:cubicBezTo>
                    <a:pt x="46" y="59"/>
                    <a:pt x="46" y="56"/>
                    <a:pt x="47" y="53"/>
                  </a:cubicBezTo>
                  <a:cubicBezTo>
                    <a:pt x="47" y="50"/>
                    <a:pt x="48" y="45"/>
                    <a:pt x="48" y="41"/>
                  </a:cubicBezTo>
                  <a:cubicBezTo>
                    <a:pt x="48" y="39"/>
                    <a:pt x="45" y="36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39" y="38"/>
                    <a:pt x="38" y="41"/>
                    <a:pt x="39" y="43"/>
                  </a:cubicBezTo>
                  <a:cubicBezTo>
                    <a:pt x="38" y="48"/>
                    <a:pt x="36" y="55"/>
                    <a:pt x="38" y="61"/>
                  </a:cubicBezTo>
                  <a:cubicBezTo>
                    <a:pt x="32" y="62"/>
                    <a:pt x="27" y="64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1" y="67"/>
                    <a:pt x="19" y="65"/>
                    <a:pt x="17" y="65"/>
                  </a:cubicBezTo>
                  <a:cubicBezTo>
                    <a:pt x="14" y="64"/>
                    <a:pt x="10" y="62"/>
                    <a:pt x="7" y="63"/>
                  </a:cubicBezTo>
                  <a:cubicBezTo>
                    <a:pt x="5" y="63"/>
                    <a:pt x="4" y="65"/>
                    <a:pt x="3" y="66"/>
                  </a:cubicBezTo>
                  <a:cubicBezTo>
                    <a:pt x="2" y="72"/>
                    <a:pt x="8" y="72"/>
                    <a:pt x="12" y="74"/>
                  </a:cubicBezTo>
                  <a:cubicBezTo>
                    <a:pt x="14" y="74"/>
                    <a:pt x="17" y="76"/>
                    <a:pt x="20" y="77"/>
                  </a:cubicBezTo>
                  <a:cubicBezTo>
                    <a:pt x="19" y="79"/>
                    <a:pt x="19" y="81"/>
                    <a:pt x="19" y="83"/>
                  </a:cubicBezTo>
                  <a:cubicBezTo>
                    <a:pt x="19" y="83"/>
                    <a:pt x="18" y="83"/>
                    <a:pt x="18" y="83"/>
                  </a:cubicBezTo>
                  <a:cubicBezTo>
                    <a:pt x="14" y="82"/>
                    <a:pt x="10" y="82"/>
                    <a:pt x="7" y="83"/>
                  </a:cubicBezTo>
                  <a:cubicBezTo>
                    <a:pt x="0" y="83"/>
                    <a:pt x="0" y="92"/>
                    <a:pt x="7" y="92"/>
                  </a:cubicBezTo>
                  <a:cubicBezTo>
                    <a:pt x="10" y="92"/>
                    <a:pt x="14" y="92"/>
                    <a:pt x="17" y="92"/>
                  </a:cubicBezTo>
                  <a:cubicBezTo>
                    <a:pt x="18" y="92"/>
                    <a:pt x="19" y="92"/>
                    <a:pt x="21" y="91"/>
                  </a:cubicBezTo>
                  <a:cubicBezTo>
                    <a:pt x="21" y="93"/>
                    <a:pt x="22" y="94"/>
                    <a:pt x="23" y="95"/>
                  </a:cubicBezTo>
                  <a:cubicBezTo>
                    <a:pt x="21" y="96"/>
                    <a:pt x="19" y="97"/>
                    <a:pt x="18" y="98"/>
                  </a:cubicBezTo>
                  <a:cubicBezTo>
                    <a:pt x="14" y="102"/>
                    <a:pt x="7" y="104"/>
                    <a:pt x="7" y="110"/>
                  </a:cubicBezTo>
                  <a:cubicBezTo>
                    <a:pt x="7" y="113"/>
                    <a:pt x="11" y="116"/>
                    <a:pt x="14" y="114"/>
                  </a:cubicBezTo>
                  <a:cubicBezTo>
                    <a:pt x="16" y="113"/>
                    <a:pt x="17" y="111"/>
                    <a:pt x="18" y="110"/>
                  </a:cubicBezTo>
                  <a:cubicBezTo>
                    <a:pt x="20" y="109"/>
                    <a:pt x="22" y="107"/>
                    <a:pt x="24" y="106"/>
                  </a:cubicBezTo>
                  <a:cubicBezTo>
                    <a:pt x="25" y="104"/>
                    <a:pt x="27" y="103"/>
                    <a:pt x="28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31" y="103"/>
                    <a:pt x="33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4" y="109"/>
                    <a:pt x="33" y="113"/>
                    <a:pt x="34" y="117"/>
                  </a:cubicBezTo>
                  <a:cubicBezTo>
                    <a:pt x="35" y="121"/>
                    <a:pt x="40" y="120"/>
                    <a:pt x="42" y="117"/>
                  </a:cubicBezTo>
                  <a:cubicBezTo>
                    <a:pt x="43" y="114"/>
                    <a:pt x="43" y="111"/>
                    <a:pt x="44" y="108"/>
                  </a:cubicBezTo>
                  <a:cubicBezTo>
                    <a:pt x="44" y="107"/>
                    <a:pt x="45" y="106"/>
                    <a:pt x="45" y="105"/>
                  </a:cubicBezTo>
                  <a:cubicBezTo>
                    <a:pt x="46" y="105"/>
                    <a:pt x="48" y="104"/>
                    <a:pt x="49" y="104"/>
                  </a:cubicBezTo>
                  <a:cubicBezTo>
                    <a:pt x="58" y="100"/>
                    <a:pt x="65" y="92"/>
                    <a:pt x="65" y="82"/>
                  </a:cubicBezTo>
                  <a:cubicBezTo>
                    <a:pt x="69" y="82"/>
                    <a:pt x="72" y="82"/>
                    <a:pt x="76" y="81"/>
                  </a:cubicBezTo>
                  <a:cubicBezTo>
                    <a:pt x="84" y="79"/>
                    <a:pt x="93" y="80"/>
                    <a:pt x="101" y="77"/>
                  </a:cubicBezTo>
                  <a:cubicBezTo>
                    <a:pt x="102" y="78"/>
                    <a:pt x="103" y="80"/>
                    <a:pt x="105" y="82"/>
                  </a:cubicBezTo>
                  <a:cubicBezTo>
                    <a:pt x="111" y="89"/>
                    <a:pt x="121" y="89"/>
                    <a:pt x="130" y="85"/>
                  </a:cubicBezTo>
                  <a:cubicBezTo>
                    <a:pt x="139" y="81"/>
                    <a:pt x="144" y="70"/>
                    <a:pt x="142" y="60"/>
                  </a:cubicBezTo>
                  <a:cubicBezTo>
                    <a:pt x="143" y="60"/>
                    <a:pt x="143" y="60"/>
                    <a:pt x="143" y="60"/>
                  </a:cubicBezTo>
                  <a:cubicBezTo>
                    <a:pt x="143" y="60"/>
                    <a:pt x="147" y="56"/>
                    <a:pt x="145" y="59"/>
                  </a:cubicBezTo>
                  <a:cubicBezTo>
                    <a:pt x="145" y="58"/>
                    <a:pt x="146" y="57"/>
                    <a:pt x="146" y="57"/>
                  </a:cubicBezTo>
                  <a:cubicBezTo>
                    <a:pt x="147" y="56"/>
                    <a:pt x="148" y="56"/>
                    <a:pt x="149" y="55"/>
                  </a:cubicBezTo>
                  <a:cubicBezTo>
                    <a:pt x="149" y="55"/>
                    <a:pt x="149" y="54"/>
                    <a:pt x="150" y="54"/>
                  </a:cubicBezTo>
                  <a:cubicBezTo>
                    <a:pt x="150" y="54"/>
                    <a:pt x="151" y="53"/>
                    <a:pt x="151" y="53"/>
                  </a:cubicBezTo>
                  <a:cubicBezTo>
                    <a:pt x="155" y="50"/>
                    <a:pt x="159" y="47"/>
                    <a:pt x="163" y="44"/>
                  </a:cubicBezTo>
                  <a:cubicBezTo>
                    <a:pt x="167" y="41"/>
                    <a:pt x="171" y="39"/>
                    <a:pt x="175" y="36"/>
                  </a:cubicBezTo>
                  <a:cubicBezTo>
                    <a:pt x="175" y="36"/>
                    <a:pt x="176" y="35"/>
                    <a:pt x="176" y="35"/>
                  </a:cubicBezTo>
                  <a:cubicBezTo>
                    <a:pt x="176" y="36"/>
                    <a:pt x="176" y="37"/>
                    <a:pt x="176" y="38"/>
                  </a:cubicBezTo>
                  <a:cubicBezTo>
                    <a:pt x="176" y="49"/>
                    <a:pt x="177" y="60"/>
                    <a:pt x="176" y="71"/>
                  </a:cubicBezTo>
                  <a:cubicBezTo>
                    <a:pt x="176" y="91"/>
                    <a:pt x="175" y="112"/>
                    <a:pt x="182" y="132"/>
                  </a:cubicBezTo>
                  <a:cubicBezTo>
                    <a:pt x="187" y="150"/>
                    <a:pt x="199" y="166"/>
                    <a:pt x="212" y="179"/>
                  </a:cubicBezTo>
                  <a:cubicBezTo>
                    <a:pt x="226" y="192"/>
                    <a:pt x="243" y="202"/>
                    <a:pt x="262" y="205"/>
                  </a:cubicBezTo>
                  <a:cubicBezTo>
                    <a:pt x="275" y="207"/>
                    <a:pt x="288" y="207"/>
                    <a:pt x="301" y="205"/>
                  </a:cubicBezTo>
                  <a:cubicBezTo>
                    <a:pt x="308" y="204"/>
                    <a:pt x="315" y="203"/>
                    <a:pt x="322" y="201"/>
                  </a:cubicBezTo>
                  <a:cubicBezTo>
                    <a:pt x="327" y="200"/>
                    <a:pt x="332" y="199"/>
                    <a:pt x="337" y="196"/>
                  </a:cubicBezTo>
                  <a:cubicBezTo>
                    <a:pt x="340" y="197"/>
                    <a:pt x="343" y="197"/>
                    <a:pt x="346" y="195"/>
                  </a:cubicBezTo>
                  <a:cubicBezTo>
                    <a:pt x="350" y="194"/>
                    <a:pt x="354" y="192"/>
                    <a:pt x="357" y="190"/>
                  </a:cubicBezTo>
                  <a:cubicBezTo>
                    <a:pt x="364" y="186"/>
                    <a:pt x="370" y="181"/>
                    <a:pt x="375" y="175"/>
                  </a:cubicBezTo>
                  <a:cubicBezTo>
                    <a:pt x="380" y="170"/>
                    <a:pt x="384" y="163"/>
                    <a:pt x="387" y="156"/>
                  </a:cubicBezTo>
                  <a:cubicBezTo>
                    <a:pt x="392" y="146"/>
                    <a:pt x="395" y="136"/>
                    <a:pt x="399" y="126"/>
                  </a:cubicBezTo>
                  <a:cubicBezTo>
                    <a:pt x="405" y="107"/>
                    <a:pt x="408" y="87"/>
                    <a:pt x="411" y="67"/>
                  </a:cubicBezTo>
                  <a:cubicBezTo>
                    <a:pt x="413" y="56"/>
                    <a:pt x="413" y="46"/>
                    <a:pt x="413" y="35"/>
                  </a:cubicBezTo>
                  <a:cubicBezTo>
                    <a:pt x="417" y="40"/>
                    <a:pt x="421" y="44"/>
                    <a:pt x="426" y="48"/>
                  </a:cubicBezTo>
                  <a:cubicBezTo>
                    <a:pt x="432" y="54"/>
                    <a:pt x="437" y="62"/>
                    <a:pt x="443" y="68"/>
                  </a:cubicBezTo>
                  <a:cubicBezTo>
                    <a:pt x="446" y="71"/>
                    <a:pt x="448" y="74"/>
                    <a:pt x="451" y="76"/>
                  </a:cubicBezTo>
                  <a:cubicBezTo>
                    <a:pt x="453" y="79"/>
                    <a:pt x="454" y="82"/>
                    <a:pt x="457" y="84"/>
                  </a:cubicBezTo>
                  <a:cubicBezTo>
                    <a:pt x="457" y="89"/>
                    <a:pt x="459" y="94"/>
                    <a:pt x="462" y="98"/>
                  </a:cubicBezTo>
                  <a:cubicBezTo>
                    <a:pt x="467" y="105"/>
                    <a:pt x="476" y="110"/>
                    <a:pt x="484" y="109"/>
                  </a:cubicBezTo>
                  <a:cubicBezTo>
                    <a:pt x="492" y="108"/>
                    <a:pt x="500" y="103"/>
                    <a:pt x="503" y="95"/>
                  </a:cubicBezTo>
                  <a:cubicBezTo>
                    <a:pt x="503" y="95"/>
                    <a:pt x="503" y="95"/>
                    <a:pt x="503" y="95"/>
                  </a:cubicBezTo>
                  <a:cubicBezTo>
                    <a:pt x="509" y="96"/>
                    <a:pt x="515" y="95"/>
                    <a:pt x="521" y="95"/>
                  </a:cubicBezTo>
                  <a:cubicBezTo>
                    <a:pt x="529" y="94"/>
                    <a:pt x="537" y="93"/>
                    <a:pt x="545" y="93"/>
                  </a:cubicBezTo>
                  <a:cubicBezTo>
                    <a:pt x="547" y="104"/>
                    <a:pt x="558" y="111"/>
                    <a:pt x="569" y="111"/>
                  </a:cubicBezTo>
                  <a:cubicBezTo>
                    <a:pt x="571" y="111"/>
                    <a:pt x="572" y="111"/>
                    <a:pt x="573" y="110"/>
                  </a:cubicBezTo>
                  <a:cubicBezTo>
                    <a:pt x="574" y="112"/>
                    <a:pt x="575" y="114"/>
                    <a:pt x="577" y="116"/>
                  </a:cubicBezTo>
                  <a:cubicBezTo>
                    <a:pt x="579" y="119"/>
                    <a:pt x="581" y="123"/>
                    <a:pt x="584" y="125"/>
                  </a:cubicBezTo>
                  <a:cubicBezTo>
                    <a:pt x="590" y="128"/>
                    <a:pt x="597" y="120"/>
                    <a:pt x="592" y="115"/>
                  </a:cubicBezTo>
                  <a:cubicBezTo>
                    <a:pt x="589" y="113"/>
                    <a:pt x="587" y="112"/>
                    <a:pt x="585" y="110"/>
                  </a:cubicBezTo>
                  <a:cubicBezTo>
                    <a:pt x="584" y="109"/>
                    <a:pt x="583" y="108"/>
                    <a:pt x="582" y="107"/>
                  </a:cubicBezTo>
                  <a:cubicBezTo>
                    <a:pt x="583" y="107"/>
                    <a:pt x="584" y="106"/>
                    <a:pt x="585" y="106"/>
                  </a:cubicBezTo>
                  <a:cubicBezTo>
                    <a:pt x="587" y="107"/>
                    <a:pt x="590" y="108"/>
                    <a:pt x="591" y="109"/>
                  </a:cubicBezTo>
                  <a:cubicBezTo>
                    <a:pt x="595" y="112"/>
                    <a:pt x="600" y="114"/>
                    <a:pt x="605" y="114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7" y="115"/>
                    <a:pt x="609" y="115"/>
                    <a:pt x="611" y="113"/>
                  </a:cubicBezTo>
                  <a:cubicBezTo>
                    <a:pt x="615" y="109"/>
                    <a:pt x="613" y="103"/>
                    <a:pt x="608" y="102"/>
                  </a:cubicBezTo>
                  <a:cubicBezTo>
                    <a:pt x="603" y="100"/>
                    <a:pt x="598" y="99"/>
                    <a:pt x="594" y="98"/>
                  </a:cubicBezTo>
                  <a:cubicBezTo>
                    <a:pt x="594" y="96"/>
                    <a:pt x="595" y="95"/>
                    <a:pt x="596" y="94"/>
                  </a:cubicBezTo>
                  <a:cubicBezTo>
                    <a:pt x="598" y="94"/>
                    <a:pt x="601" y="94"/>
                    <a:pt x="603" y="94"/>
                  </a:cubicBezTo>
                  <a:cubicBezTo>
                    <a:pt x="607" y="95"/>
                    <a:pt x="614" y="95"/>
                    <a:pt x="617" y="93"/>
                  </a:cubicBezTo>
                  <a:cubicBezTo>
                    <a:pt x="623" y="90"/>
                    <a:pt x="621" y="81"/>
                    <a:pt x="614" y="8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îṡľíde"/>
            <p:cNvSpPr/>
            <p:nvPr/>
          </p:nvSpPr>
          <p:spPr bwMode="auto">
            <a:xfrm>
              <a:off x="4786941" y="2063665"/>
              <a:ext cx="2300120" cy="1788604"/>
            </a:xfrm>
            <a:custGeom>
              <a:avLst/>
              <a:gdLst>
                <a:gd name="T0" fmla="*/ 8 w 327"/>
                <a:gd name="T1" fmla="*/ 222 h 254"/>
                <a:gd name="T2" fmla="*/ 12 w 327"/>
                <a:gd name="T3" fmla="*/ 224 h 254"/>
                <a:gd name="T4" fmla="*/ 36 w 327"/>
                <a:gd name="T5" fmla="*/ 206 h 254"/>
                <a:gd name="T6" fmla="*/ 49 w 327"/>
                <a:gd name="T7" fmla="*/ 205 h 254"/>
                <a:gd name="T8" fmla="*/ 49 w 327"/>
                <a:gd name="T9" fmla="*/ 227 h 254"/>
                <a:gd name="T10" fmla="*/ 57 w 327"/>
                <a:gd name="T11" fmla="*/ 249 h 254"/>
                <a:gd name="T12" fmla="*/ 80 w 327"/>
                <a:gd name="T13" fmla="*/ 252 h 254"/>
                <a:gd name="T14" fmla="*/ 135 w 327"/>
                <a:gd name="T15" fmla="*/ 254 h 254"/>
                <a:gd name="T16" fmla="*/ 221 w 327"/>
                <a:gd name="T17" fmla="*/ 252 h 254"/>
                <a:gd name="T18" fmla="*/ 262 w 327"/>
                <a:gd name="T19" fmla="*/ 250 h 254"/>
                <a:gd name="T20" fmla="*/ 277 w 327"/>
                <a:gd name="T21" fmla="*/ 248 h 254"/>
                <a:gd name="T22" fmla="*/ 285 w 327"/>
                <a:gd name="T23" fmla="*/ 245 h 254"/>
                <a:gd name="T24" fmla="*/ 285 w 327"/>
                <a:gd name="T25" fmla="*/ 241 h 254"/>
                <a:gd name="T26" fmla="*/ 284 w 327"/>
                <a:gd name="T27" fmla="*/ 200 h 254"/>
                <a:gd name="T28" fmla="*/ 290 w 327"/>
                <a:gd name="T29" fmla="*/ 199 h 254"/>
                <a:gd name="T30" fmla="*/ 308 w 327"/>
                <a:gd name="T31" fmla="*/ 216 h 254"/>
                <a:gd name="T32" fmla="*/ 325 w 327"/>
                <a:gd name="T33" fmla="*/ 198 h 254"/>
                <a:gd name="T34" fmla="*/ 327 w 327"/>
                <a:gd name="T35" fmla="*/ 164 h 254"/>
                <a:gd name="T36" fmla="*/ 313 w 327"/>
                <a:gd name="T37" fmla="*/ 142 h 254"/>
                <a:gd name="T38" fmla="*/ 300 w 327"/>
                <a:gd name="T39" fmla="*/ 143 h 254"/>
                <a:gd name="T40" fmla="*/ 292 w 327"/>
                <a:gd name="T41" fmla="*/ 157 h 254"/>
                <a:gd name="T42" fmla="*/ 277 w 327"/>
                <a:gd name="T43" fmla="*/ 157 h 254"/>
                <a:gd name="T44" fmla="*/ 267 w 327"/>
                <a:gd name="T45" fmla="*/ 148 h 254"/>
                <a:gd name="T46" fmla="*/ 236 w 327"/>
                <a:gd name="T47" fmla="*/ 113 h 254"/>
                <a:gd name="T48" fmla="*/ 197 w 327"/>
                <a:gd name="T49" fmla="*/ 96 h 254"/>
                <a:gd name="T50" fmla="*/ 169 w 327"/>
                <a:gd name="T51" fmla="*/ 92 h 254"/>
                <a:gd name="T52" fmla="*/ 164 w 327"/>
                <a:gd name="T53" fmla="*/ 63 h 254"/>
                <a:gd name="T54" fmla="*/ 125 w 327"/>
                <a:gd name="T55" fmla="*/ 17 h 254"/>
                <a:gd name="T56" fmla="*/ 94 w 327"/>
                <a:gd name="T57" fmla="*/ 6 h 254"/>
                <a:gd name="T58" fmla="*/ 105 w 327"/>
                <a:gd name="T59" fmla="*/ 45 h 254"/>
                <a:gd name="T60" fmla="*/ 133 w 327"/>
                <a:gd name="T61" fmla="*/ 32 h 254"/>
                <a:gd name="T62" fmla="*/ 154 w 327"/>
                <a:gd name="T63" fmla="*/ 64 h 254"/>
                <a:gd name="T64" fmla="*/ 159 w 327"/>
                <a:gd name="T65" fmla="*/ 90 h 254"/>
                <a:gd name="T66" fmla="*/ 140 w 327"/>
                <a:gd name="T67" fmla="*/ 94 h 254"/>
                <a:gd name="T68" fmla="*/ 60 w 327"/>
                <a:gd name="T69" fmla="*/ 152 h 254"/>
                <a:gd name="T70" fmla="*/ 55 w 327"/>
                <a:gd name="T71" fmla="*/ 162 h 254"/>
                <a:gd name="T72" fmla="*/ 22 w 327"/>
                <a:gd name="T73" fmla="*/ 141 h 254"/>
                <a:gd name="T74" fmla="*/ 5 w 327"/>
                <a:gd name="T75" fmla="*/ 150 h 254"/>
                <a:gd name="T76" fmla="*/ 2 w 327"/>
                <a:gd name="T77" fmla="*/ 159 h 254"/>
                <a:gd name="T78" fmla="*/ 0 w 327"/>
                <a:gd name="T79" fmla="*/ 19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54">
                  <a:moveTo>
                    <a:pt x="1" y="209"/>
                  </a:moveTo>
                  <a:cubicBezTo>
                    <a:pt x="1" y="215"/>
                    <a:pt x="2" y="220"/>
                    <a:pt x="8" y="222"/>
                  </a:cubicBezTo>
                  <a:cubicBezTo>
                    <a:pt x="8" y="222"/>
                    <a:pt x="9" y="222"/>
                    <a:pt x="9" y="222"/>
                  </a:cubicBezTo>
                  <a:cubicBezTo>
                    <a:pt x="10" y="223"/>
                    <a:pt x="11" y="224"/>
                    <a:pt x="12" y="224"/>
                  </a:cubicBezTo>
                  <a:cubicBezTo>
                    <a:pt x="17" y="225"/>
                    <a:pt x="22" y="225"/>
                    <a:pt x="27" y="221"/>
                  </a:cubicBezTo>
                  <a:cubicBezTo>
                    <a:pt x="33" y="218"/>
                    <a:pt x="35" y="212"/>
                    <a:pt x="36" y="206"/>
                  </a:cubicBezTo>
                  <a:cubicBezTo>
                    <a:pt x="39" y="206"/>
                    <a:pt x="41" y="205"/>
                    <a:pt x="44" y="205"/>
                  </a:cubicBezTo>
                  <a:cubicBezTo>
                    <a:pt x="45" y="205"/>
                    <a:pt x="47" y="205"/>
                    <a:pt x="49" y="205"/>
                  </a:cubicBezTo>
                  <a:cubicBezTo>
                    <a:pt x="49" y="207"/>
                    <a:pt x="48" y="208"/>
                    <a:pt x="48" y="210"/>
                  </a:cubicBezTo>
                  <a:cubicBezTo>
                    <a:pt x="48" y="216"/>
                    <a:pt x="48" y="221"/>
                    <a:pt x="49" y="227"/>
                  </a:cubicBezTo>
                  <a:cubicBezTo>
                    <a:pt x="49" y="233"/>
                    <a:pt x="49" y="240"/>
                    <a:pt x="50" y="246"/>
                  </a:cubicBezTo>
                  <a:cubicBezTo>
                    <a:pt x="51" y="250"/>
                    <a:pt x="55" y="250"/>
                    <a:pt x="57" y="249"/>
                  </a:cubicBezTo>
                  <a:cubicBezTo>
                    <a:pt x="60" y="250"/>
                    <a:pt x="63" y="250"/>
                    <a:pt x="66" y="251"/>
                  </a:cubicBezTo>
                  <a:cubicBezTo>
                    <a:pt x="70" y="251"/>
                    <a:pt x="75" y="252"/>
                    <a:pt x="80" y="252"/>
                  </a:cubicBezTo>
                  <a:cubicBezTo>
                    <a:pt x="89" y="253"/>
                    <a:pt x="98" y="253"/>
                    <a:pt x="107" y="253"/>
                  </a:cubicBezTo>
                  <a:cubicBezTo>
                    <a:pt x="117" y="254"/>
                    <a:pt x="126" y="254"/>
                    <a:pt x="135" y="254"/>
                  </a:cubicBezTo>
                  <a:cubicBezTo>
                    <a:pt x="145" y="254"/>
                    <a:pt x="155" y="254"/>
                    <a:pt x="164" y="253"/>
                  </a:cubicBezTo>
                  <a:cubicBezTo>
                    <a:pt x="183" y="253"/>
                    <a:pt x="202" y="253"/>
                    <a:pt x="221" y="252"/>
                  </a:cubicBezTo>
                  <a:cubicBezTo>
                    <a:pt x="230" y="251"/>
                    <a:pt x="239" y="251"/>
                    <a:pt x="248" y="250"/>
                  </a:cubicBezTo>
                  <a:cubicBezTo>
                    <a:pt x="253" y="250"/>
                    <a:pt x="258" y="250"/>
                    <a:pt x="262" y="250"/>
                  </a:cubicBezTo>
                  <a:cubicBezTo>
                    <a:pt x="267" y="249"/>
                    <a:pt x="271" y="249"/>
                    <a:pt x="275" y="247"/>
                  </a:cubicBezTo>
                  <a:cubicBezTo>
                    <a:pt x="276" y="248"/>
                    <a:pt x="277" y="248"/>
                    <a:pt x="277" y="248"/>
                  </a:cubicBezTo>
                  <a:cubicBezTo>
                    <a:pt x="277" y="248"/>
                    <a:pt x="278" y="248"/>
                    <a:pt x="278" y="248"/>
                  </a:cubicBezTo>
                  <a:cubicBezTo>
                    <a:pt x="281" y="249"/>
                    <a:pt x="283" y="248"/>
                    <a:pt x="285" y="245"/>
                  </a:cubicBezTo>
                  <a:cubicBezTo>
                    <a:pt x="285" y="244"/>
                    <a:pt x="285" y="244"/>
                    <a:pt x="285" y="244"/>
                  </a:cubicBezTo>
                  <a:cubicBezTo>
                    <a:pt x="285" y="243"/>
                    <a:pt x="285" y="242"/>
                    <a:pt x="285" y="241"/>
                  </a:cubicBezTo>
                  <a:cubicBezTo>
                    <a:pt x="286" y="234"/>
                    <a:pt x="286" y="227"/>
                    <a:pt x="286" y="220"/>
                  </a:cubicBezTo>
                  <a:cubicBezTo>
                    <a:pt x="286" y="213"/>
                    <a:pt x="285" y="207"/>
                    <a:pt x="284" y="200"/>
                  </a:cubicBezTo>
                  <a:cubicBezTo>
                    <a:pt x="285" y="200"/>
                    <a:pt x="286" y="199"/>
                    <a:pt x="287" y="199"/>
                  </a:cubicBezTo>
                  <a:cubicBezTo>
                    <a:pt x="288" y="199"/>
                    <a:pt x="289" y="199"/>
                    <a:pt x="290" y="199"/>
                  </a:cubicBezTo>
                  <a:cubicBezTo>
                    <a:pt x="291" y="202"/>
                    <a:pt x="291" y="206"/>
                    <a:pt x="293" y="210"/>
                  </a:cubicBezTo>
                  <a:cubicBezTo>
                    <a:pt x="295" y="215"/>
                    <a:pt x="302" y="219"/>
                    <a:pt x="308" y="216"/>
                  </a:cubicBezTo>
                  <a:cubicBezTo>
                    <a:pt x="309" y="216"/>
                    <a:pt x="309" y="216"/>
                    <a:pt x="310" y="217"/>
                  </a:cubicBezTo>
                  <a:cubicBezTo>
                    <a:pt x="321" y="219"/>
                    <a:pt x="325" y="207"/>
                    <a:pt x="325" y="198"/>
                  </a:cubicBezTo>
                  <a:cubicBezTo>
                    <a:pt x="325" y="193"/>
                    <a:pt x="325" y="187"/>
                    <a:pt x="325" y="181"/>
                  </a:cubicBezTo>
                  <a:cubicBezTo>
                    <a:pt x="325" y="176"/>
                    <a:pt x="326" y="170"/>
                    <a:pt x="327" y="164"/>
                  </a:cubicBezTo>
                  <a:cubicBezTo>
                    <a:pt x="327" y="158"/>
                    <a:pt x="326" y="153"/>
                    <a:pt x="323" y="148"/>
                  </a:cubicBezTo>
                  <a:cubicBezTo>
                    <a:pt x="321" y="145"/>
                    <a:pt x="317" y="143"/>
                    <a:pt x="313" y="142"/>
                  </a:cubicBezTo>
                  <a:cubicBezTo>
                    <a:pt x="309" y="141"/>
                    <a:pt x="305" y="141"/>
                    <a:pt x="301" y="142"/>
                  </a:cubicBezTo>
                  <a:cubicBezTo>
                    <a:pt x="301" y="142"/>
                    <a:pt x="300" y="143"/>
                    <a:pt x="300" y="143"/>
                  </a:cubicBezTo>
                  <a:cubicBezTo>
                    <a:pt x="298" y="142"/>
                    <a:pt x="296" y="143"/>
                    <a:pt x="295" y="144"/>
                  </a:cubicBezTo>
                  <a:cubicBezTo>
                    <a:pt x="293" y="148"/>
                    <a:pt x="292" y="153"/>
                    <a:pt x="292" y="157"/>
                  </a:cubicBezTo>
                  <a:cubicBezTo>
                    <a:pt x="289" y="157"/>
                    <a:pt x="287" y="157"/>
                    <a:pt x="284" y="157"/>
                  </a:cubicBezTo>
                  <a:cubicBezTo>
                    <a:pt x="282" y="157"/>
                    <a:pt x="280" y="157"/>
                    <a:pt x="277" y="157"/>
                  </a:cubicBezTo>
                  <a:cubicBezTo>
                    <a:pt x="276" y="157"/>
                    <a:pt x="274" y="157"/>
                    <a:pt x="272" y="157"/>
                  </a:cubicBezTo>
                  <a:cubicBezTo>
                    <a:pt x="270" y="154"/>
                    <a:pt x="269" y="151"/>
                    <a:pt x="267" y="148"/>
                  </a:cubicBezTo>
                  <a:cubicBezTo>
                    <a:pt x="263" y="142"/>
                    <a:pt x="258" y="136"/>
                    <a:pt x="252" y="130"/>
                  </a:cubicBezTo>
                  <a:cubicBezTo>
                    <a:pt x="247" y="124"/>
                    <a:pt x="242" y="118"/>
                    <a:pt x="236" y="113"/>
                  </a:cubicBezTo>
                  <a:cubicBezTo>
                    <a:pt x="231" y="109"/>
                    <a:pt x="224" y="105"/>
                    <a:pt x="218" y="102"/>
                  </a:cubicBezTo>
                  <a:cubicBezTo>
                    <a:pt x="212" y="99"/>
                    <a:pt x="204" y="96"/>
                    <a:pt x="197" y="96"/>
                  </a:cubicBezTo>
                  <a:cubicBezTo>
                    <a:pt x="193" y="94"/>
                    <a:pt x="188" y="93"/>
                    <a:pt x="184" y="93"/>
                  </a:cubicBezTo>
                  <a:cubicBezTo>
                    <a:pt x="179" y="92"/>
                    <a:pt x="174" y="92"/>
                    <a:pt x="169" y="92"/>
                  </a:cubicBezTo>
                  <a:cubicBezTo>
                    <a:pt x="169" y="89"/>
                    <a:pt x="169" y="87"/>
                    <a:pt x="169" y="85"/>
                  </a:cubicBezTo>
                  <a:cubicBezTo>
                    <a:pt x="168" y="77"/>
                    <a:pt x="166" y="70"/>
                    <a:pt x="164" y="63"/>
                  </a:cubicBezTo>
                  <a:cubicBezTo>
                    <a:pt x="162" y="53"/>
                    <a:pt x="158" y="42"/>
                    <a:pt x="152" y="33"/>
                  </a:cubicBezTo>
                  <a:cubicBezTo>
                    <a:pt x="146" y="26"/>
                    <a:pt x="135" y="17"/>
                    <a:pt x="125" y="17"/>
                  </a:cubicBezTo>
                  <a:cubicBezTo>
                    <a:pt x="123" y="11"/>
                    <a:pt x="119" y="5"/>
                    <a:pt x="113" y="3"/>
                  </a:cubicBezTo>
                  <a:cubicBezTo>
                    <a:pt x="107" y="0"/>
                    <a:pt x="98" y="0"/>
                    <a:pt x="94" y="6"/>
                  </a:cubicBezTo>
                  <a:cubicBezTo>
                    <a:pt x="87" y="10"/>
                    <a:pt x="81" y="17"/>
                    <a:pt x="80" y="26"/>
                  </a:cubicBezTo>
                  <a:cubicBezTo>
                    <a:pt x="79" y="40"/>
                    <a:pt x="93" y="48"/>
                    <a:pt x="105" y="45"/>
                  </a:cubicBezTo>
                  <a:cubicBezTo>
                    <a:pt x="113" y="43"/>
                    <a:pt x="121" y="36"/>
                    <a:pt x="124" y="28"/>
                  </a:cubicBezTo>
                  <a:cubicBezTo>
                    <a:pt x="127" y="30"/>
                    <a:pt x="130" y="31"/>
                    <a:pt x="133" y="32"/>
                  </a:cubicBezTo>
                  <a:cubicBezTo>
                    <a:pt x="137" y="34"/>
                    <a:pt x="140" y="37"/>
                    <a:pt x="143" y="41"/>
                  </a:cubicBezTo>
                  <a:cubicBezTo>
                    <a:pt x="148" y="47"/>
                    <a:pt x="151" y="56"/>
                    <a:pt x="154" y="64"/>
                  </a:cubicBezTo>
                  <a:cubicBezTo>
                    <a:pt x="155" y="70"/>
                    <a:pt x="157" y="75"/>
                    <a:pt x="158" y="81"/>
                  </a:cubicBezTo>
                  <a:cubicBezTo>
                    <a:pt x="159" y="84"/>
                    <a:pt x="159" y="87"/>
                    <a:pt x="159" y="90"/>
                  </a:cubicBezTo>
                  <a:cubicBezTo>
                    <a:pt x="159" y="91"/>
                    <a:pt x="159" y="91"/>
                    <a:pt x="160" y="92"/>
                  </a:cubicBezTo>
                  <a:cubicBezTo>
                    <a:pt x="153" y="92"/>
                    <a:pt x="146" y="93"/>
                    <a:pt x="140" y="94"/>
                  </a:cubicBezTo>
                  <a:cubicBezTo>
                    <a:pt x="123" y="97"/>
                    <a:pt x="108" y="104"/>
                    <a:pt x="94" y="113"/>
                  </a:cubicBezTo>
                  <a:cubicBezTo>
                    <a:pt x="79" y="123"/>
                    <a:pt x="68" y="136"/>
                    <a:pt x="60" y="152"/>
                  </a:cubicBezTo>
                  <a:cubicBezTo>
                    <a:pt x="59" y="155"/>
                    <a:pt x="58" y="159"/>
                    <a:pt x="57" y="162"/>
                  </a:cubicBezTo>
                  <a:cubicBezTo>
                    <a:pt x="56" y="162"/>
                    <a:pt x="55" y="162"/>
                    <a:pt x="55" y="162"/>
                  </a:cubicBezTo>
                  <a:cubicBezTo>
                    <a:pt x="50" y="161"/>
                    <a:pt x="45" y="162"/>
                    <a:pt x="40" y="163"/>
                  </a:cubicBezTo>
                  <a:cubicBezTo>
                    <a:pt x="40" y="152"/>
                    <a:pt x="33" y="142"/>
                    <a:pt x="22" y="141"/>
                  </a:cubicBezTo>
                  <a:cubicBezTo>
                    <a:pt x="18" y="140"/>
                    <a:pt x="13" y="140"/>
                    <a:pt x="9" y="143"/>
                  </a:cubicBezTo>
                  <a:cubicBezTo>
                    <a:pt x="7" y="145"/>
                    <a:pt x="5" y="147"/>
                    <a:pt x="5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3" y="153"/>
                    <a:pt x="2" y="156"/>
                    <a:pt x="2" y="159"/>
                  </a:cubicBezTo>
                  <a:cubicBezTo>
                    <a:pt x="2" y="162"/>
                    <a:pt x="1" y="166"/>
                    <a:pt x="1" y="170"/>
                  </a:cubicBezTo>
                  <a:cubicBezTo>
                    <a:pt x="0" y="177"/>
                    <a:pt x="0" y="184"/>
                    <a:pt x="0" y="191"/>
                  </a:cubicBezTo>
                  <a:cubicBezTo>
                    <a:pt x="0" y="197"/>
                    <a:pt x="1" y="203"/>
                    <a:pt x="1" y="20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íšľiḓe"/>
            <p:cNvSpPr/>
            <p:nvPr/>
          </p:nvSpPr>
          <p:spPr bwMode="auto">
            <a:xfrm>
              <a:off x="5210378" y="3950506"/>
              <a:ext cx="1510829" cy="1256766"/>
            </a:xfrm>
            <a:custGeom>
              <a:avLst/>
              <a:gdLst>
                <a:gd name="T0" fmla="*/ 213 w 215"/>
                <a:gd name="T1" fmla="*/ 44 h 179"/>
                <a:gd name="T2" fmla="*/ 213 w 215"/>
                <a:gd name="T3" fmla="*/ 44 h 179"/>
                <a:gd name="T4" fmla="*/ 208 w 215"/>
                <a:gd name="T5" fmla="*/ 73 h 179"/>
                <a:gd name="T6" fmla="*/ 202 w 215"/>
                <a:gd name="T7" fmla="*/ 103 h 179"/>
                <a:gd name="T8" fmla="*/ 192 w 215"/>
                <a:gd name="T9" fmla="*/ 130 h 179"/>
                <a:gd name="T10" fmla="*/ 180 w 215"/>
                <a:gd name="T11" fmla="*/ 150 h 179"/>
                <a:gd name="T12" fmla="*/ 165 w 215"/>
                <a:gd name="T13" fmla="*/ 164 h 179"/>
                <a:gd name="T14" fmla="*/ 156 w 215"/>
                <a:gd name="T15" fmla="*/ 169 h 179"/>
                <a:gd name="T16" fmla="*/ 153 w 215"/>
                <a:gd name="T17" fmla="*/ 171 h 179"/>
                <a:gd name="T18" fmla="*/ 138 w 215"/>
                <a:gd name="T19" fmla="*/ 172 h 179"/>
                <a:gd name="T20" fmla="*/ 122 w 215"/>
                <a:gd name="T21" fmla="*/ 176 h 179"/>
                <a:gd name="T22" fmla="*/ 92 w 215"/>
                <a:gd name="T23" fmla="*/ 179 h 179"/>
                <a:gd name="T24" fmla="*/ 42 w 215"/>
                <a:gd name="T25" fmla="*/ 162 h 179"/>
                <a:gd name="T26" fmla="*/ 9 w 215"/>
                <a:gd name="T27" fmla="*/ 119 h 179"/>
                <a:gd name="T28" fmla="*/ 2 w 215"/>
                <a:gd name="T29" fmla="*/ 59 h 179"/>
                <a:gd name="T30" fmla="*/ 2 w 215"/>
                <a:gd name="T31" fmla="*/ 25 h 179"/>
                <a:gd name="T32" fmla="*/ 1 w 215"/>
                <a:gd name="T33" fmla="*/ 9 h 179"/>
                <a:gd name="T34" fmla="*/ 1 w 215"/>
                <a:gd name="T35" fmla="*/ 3 h 179"/>
                <a:gd name="T36" fmla="*/ 0 w 215"/>
                <a:gd name="T37" fmla="*/ 2 h 179"/>
                <a:gd name="T38" fmla="*/ 0 w 215"/>
                <a:gd name="T39" fmla="*/ 1 h 179"/>
                <a:gd name="T40" fmla="*/ 16 w 215"/>
                <a:gd name="T41" fmla="*/ 4 h 179"/>
                <a:gd name="T42" fmla="*/ 40 w 215"/>
                <a:gd name="T43" fmla="*/ 5 h 179"/>
                <a:gd name="T44" fmla="*/ 54 w 215"/>
                <a:gd name="T45" fmla="*/ 4 h 179"/>
                <a:gd name="T46" fmla="*/ 69 w 215"/>
                <a:gd name="T47" fmla="*/ 4 h 179"/>
                <a:gd name="T48" fmla="*/ 100 w 215"/>
                <a:gd name="T49" fmla="*/ 2 h 179"/>
                <a:gd name="T50" fmla="*/ 160 w 215"/>
                <a:gd name="T51" fmla="*/ 1 h 179"/>
                <a:gd name="T52" fmla="*/ 190 w 215"/>
                <a:gd name="T53" fmla="*/ 1 h 179"/>
                <a:gd name="T54" fmla="*/ 214 w 215"/>
                <a:gd name="T55" fmla="*/ 0 h 179"/>
                <a:gd name="T56" fmla="*/ 214 w 215"/>
                <a:gd name="T57" fmla="*/ 14 h 179"/>
                <a:gd name="T58" fmla="*/ 213 w 215"/>
                <a:gd name="T59" fmla="*/ 44 h 179"/>
                <a:gd name="T60" fmla="*/ 195 w 215"/>
                <a:gd name="T61" fmla="*/ 15 h 179"/>
                <a:gd name="T62" fmla="*/ 170 w 215"/>
                <a:gd name="T63" fmla="*/ 14 h 179"/>
                <a:gd name="T64" fmla="*/ 144 w 215"/>
                <a:gd name="T65" fmla="*/ 14 h 179"/>
                <a:gd name="T66" fmla="*/ 93 w 215"/>
                <a:gd name="T67" fmla="*/ 14 h 179"/>
                <a:gd name="T68" fmla="*/ 68 w 215"/>
                <a:gd name="T69" fmla="*/ 14 h 179"/>
                <a:gd name="T70" fmla="*/ 43 w 215"/>
                <a:gd name="T71" fmla="*/ 14 h 179"/>
                <a:gd name="T72" fmla="*/ 24 w 215"/>
                <a:gd name="T73" fmla="*/ 17 h 179"/>
                <a:gd name="T74" fmla="*/ 20 w 215"/>
                <a:gd name="T75" fmla="*/ 30 h 179"/>
                <a:gd name="T76" fmla="*/ 20 w 215"/>
                <a:gd name="T77" fmla="*/ 30 h 179"/>
                <a:gd name="T78" fmla="*/ 19 w 215"/>
                <a:gd name="T79" fmla="*/ 40 h 179"/>
                <a:gd name="T80" fmla="*/ 20 w 215"/>
                <a:gd name="T81" fmla="*/ 58 h 179"/>
                <a:gd name="T82" fmla="*/ 20 w 215"/>
                <a:gd name="T83" fmla="*/ 76 h 179"/>
                <a:gd name="T84" fmla="*/ 20 w 215"/>
                <a:gd name="T85" fmla="*/ 89 h 179"/>
                <a:gd name="T86" fmla="*/ 20 w 215"/>
                <a:gd name="T87" fmla="*/ 93 h 179"/>
                <a:gd name="T88" fmla="*/ 39 w 215"/>
                <a:gd name="T89" fmla="*/ 97 h 179"/>
                <a:gd name="T90" fmla="*/ 60 w 215"/>
                <a:gd name="T91" fmla="*/ 97 h 179"/>
                <a:gd name="T92" fmla="*/ 106 w 215"/>
                <a:gd name="T93" fmla="*/ 97 h 179"/>
                <a:gd name="T94" fmla="*/ 129 w 215"/>
                <a:gd name="T95" fmla="*/ 96 h 179"/>
                <a:gd name="T96" fmla="*/ 153 w 215"/>
                <a:gd name="T97" fmla="*/ 96 h 179"/>
                <a:gd name="T98" fmla="*/ 177 w 215"/>
                <a:gd name="T99" fmla="*/ 95 h 179"/>
                <a:gd name="T100" fmla="*/ 197 w 215"/>
                <a:gd name="T101" fmla="*/ 90 h 179"/>
                <a:gd name="T102" fmla="*/ 198 w 215"/>
                <a:gd name="T103" fmla="*/ 88 h 179"/>
                <a:gd name="T104" fmla="*/ 200 w 215"/>
                <a:gd name="T105" fmla="*/ 82 h 179"/>
                <a:gd name="T106" fmla="*/ 200 w 215"/>
                <a:gd name="T107" fmla="*/ 72 h 179"/>
                <a:gd name="T108" fmla="*/ 200 w 215"/>
                <a:gd name="T109" fmla="*/ 62 h 179"/>
                <a:gd name="T110" fmla="*/ 200 w 215"/>
                <a:gd name="T111" fmla="*/ 52 h 179"/>
                <a:gd name="T112" fmla="*/ 201 w 215"/>
                <a:gd name="T113" fmla="*/ 33 h 179"/>
                <a:gd name="T114" fmla="*/ 198 w 215"/>
                <a:gd name="T115" fmla="*/ 15 h 179"/>
                <a:gd name="T116" fmla="*/ 195 w 215"/>
                <a:gd name="T117" fmla="*/ 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5" h="179">
                  <a:moveTo>
                    <a:pt x="213" y="44"/>
                  </a:moveTo>
                  <a:cubicBezTo>
                    <a:pt x="213" y="44"/>
                    <a:pt x="213" y="44"/>
                    <a:pt x="213" y="44"/>
                  </a:cubicBezTo>
                  <a:cubicBezTo>
                    <a:pt x="212" y="54"/>
                    <a:pt x="210" y="64"/>
                    <a:pt x="208" y="73"/>
                  </a:cubicBezTo>
                  <a:cubicBezTo>
                    <a:pt x="207" y="83"/>
                    <a:pt x="205" y="93"/>
                    <a:pt x="202" y="103"/>
                  </a:cubicBezTo>
                  <a:cubicBezTo>
                    <a:pt x="199" y="112"/>
                    <a:pt x="196" y="121"/>
                    <a:pt x="192" y="130"/>
                  </a:cubicBezTo>
                  <a:cubicBezTo>
                    <a:pt x="188" y="137"/>
                    <a:pt x="185" y="144"/>
                    <a:pt x="180" y="150"/>
                  </a:cubicBezTo>
                  <a:cubicBezTo>
                    <a:pt x="176" y="156"/>
                    <a:pt x="171" y="160"/>
                    <a:pt x="165" y="164"/>
                  </a:cubicBezTo>
                  <a:cubicBezTo>
                    <a:pt x="162" y="166"/>
                    <a:pt x="159" y="168"/>
                    <a:pt x="156" y="169"/>
                  </a:cubicBezTo>
                  <a:cubicBezTo>
                    <a:pt x="155" y="170"/>
                    <a:pt x="154" y="170"/>
                    <a:pt x="153" y="171"/>
                  </a:cubicBezTo>
                  <a:cubicBezTo>
                    <a:pt x="148" y="170"/>
                    <a:pt x="143" y="171"/>
                    <a:pt x="138" y="172"/>
                  </a:cubicBezTo>
                  <a:cubicBezTo>
                    <a:pt x="133" y="174"/>
                    <a:pt x="128" y="175"/>
                    <a:pt x="122" y="176"/>
                  </a:cubicBezTo>
                  <a:cubicBezTo>
                    <a:pt x="112" y="178"/>
                    <a:pt x="102" y="179"/>
                    <a:pt x="92" y="179"/>
                  </a:cubicBezTo>
                  <a:cubicBezTo>
                    <a:pt x="74" y="179"/>
                    <a:pt x="56" y="173"/>
                    <a:pt x="42" y="162"/>
                  </a:cubicBezTo>
                  <a:cubicBezTo>
                    <a:pt x="28" y="150"/>
                    <a:pt x="16" y="136"/>
                    <a:pt x="9" y="119"/>
                  </a:cubicBezTo>
                  <a:cubicBezTo>
                    <a:pt x="2" y="100"/>
                    <a:pt x="2" y="79"/>
                    <a:pt x="2" y="59"/>
                  </a:cubicBezTo>
                  <a:cubicBezTo>
                    <a:pt x="3" y="48"/>
                    <a:pt x="2" y="37"/>
                    <a:pt x="2" y="25"/>
                  </a:cubicBezTo>
                  <a:cubicBezTo>
                    <a:pt x="1" y="20"/>
                    <a:pt x="1" y="15"/>
                    <a:pt x="1" y="9"/>
                  </a:cubicBezTo>
                  <a:cubicBezTo>
                    <a:pt x="1" y="7"/>
                    <a:pt x="1" y="5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3"/>
                    <a:pt x="11" y="4"/>
                    <a:pt x="16" y="4"/>
                  </a:cubicBezTo>
                  <a:cubicBezTo>
                    <a:pt x="24" y="4"/>
                    <a:pt x="32" y="4"/>
                    <a:pt x="40" y="5"/>
                  </a:cubicBezTo>
                  <a:cubicBezTo>
                    <a:pt x="45" y="5"/>
                    <a:pt x="50" y="5"/>
                    <a:pt x="54" y="4"/>
                  </a:cubicBezTo>
                  <a:cubicBezTo>
                    <a:pt x="59" y="4"/>
                    <a:pt x="64" y="4"/>
                    <a:pt x="69" y="4"/>
                  </a:cubicBezTo>
                  <a:cubicBezTo>
                    <a:pt x="79" y="4"/>
                    <a:pt x="90" y="3"/>
                    <a:pt x="100" y="2"/>
                  </a:cubicBezTo>
                  <a:cubicBezTo>
                    <a:pt x="120" y="2"/>
                    <a:pt x="140" y="2"/>
                    <a:pt x="160" y="1"/>
                  </a:cubicBezTo>
                  <a:cubicBezTo>
                    <a:pt x="170" y="1"/>
                    <a:pt x="180" y="1"/>
                    <a:pt x="190" y="1"/>
                  </a:cubicBezTo>
                  <a:cubicBezTo>
                    <a:pt x="198" y="0"/>
                    <a:pt x="206" y="0"/>
                    <a:pt x="214" y="0"/>
                  </a:cubicBezTo>
                  <a:cubicBezTo>
                    <a:pt x="213" y="4"/>
                    <a:pt x="213" y="9"/>
                    <a:pt x="214" y="14"/>
                  </a:cubicBezTo>
                  <a:cubicBezTo>
                    <a:pt x="215" y="24"/>
                    <a:pt x="214" y="34"/>
                    <a:pt x="213" y="44"/>
                  </a:cubicBezTo>
                  <a:close/>
                  <a:moveTo>
                    <a:pt x="195" y="15"/>
                  </a:moveTo>
                  <a:cubicBezTo>
                    <a:pt x="187" y="15"/>
                    <a:pt x="178" y="14"/>
                    <a:pt x="170" y="14"/>
                  </a:cubicBezTo>
                  <a:cubicBezTo>
                    <a:pt x="161" y="13"/>
                    <a:pt x="153" y="13"/>
                    <a:pt x="144" y="14"/>
                  </a:cubicBezTo>
                  <a:cubicBezTo>
                    <a:pt x="127" y="14"/>
                    <a:pt x="110" y="14"/>
                    <a:pt x="93" y="14"/>
                  </a:cubicBezTo>
                  <a:cubicBezTo>
                    <a:pt x="85" y="15"/>
                    <a:pt x="76" y="14"/>
                    <a:pt x="68" y="14"/>
                  </a:cubicBezTo>
                  <a:cubicBezTo>
                    <a:pt x="60" y="14"/>
                    <a:pt x="51" y="14"/>
                    <a:pt x="43" y="14"/>
                  </a:cubicBezTo>
                  <a:cubicBezTo>
                    <a:pt x="37" y="14"/>
                    <a:pt x="30" y="14"/>
                    <a:pt x="24" y="17"/>
                  </a:cubicBezTo>
                  <a:cubicBezTo>
                    <a:pt x="20" y="20"/>
                    <a:pt x="18" y="25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3"/>
                    <a:pt x="19" y="36"/>
                    <a:pt x="19" y="40"/>
                  </a:cubicBezTo>
                  <a:cubicBezTo>
                    <a:pt x="19" y="46"/>
                    <a:pt x="19" y="52"/>
                    <a:pt x="20" y="58"/>
                  </a:cubicBezTo>
                  <a:cubicBezTo>
                    <a:pt x="20" y="64"/>
                    <a:pt x="20" y="70"/>
                    <a:pt x="20" y="76"/>
                  </a:cubicBezTo>
                  <a:cubicBezTo>
                    <a:pt x="20" y="80"/>
                    <a:pt x="19" y="85"/>
                    <a:pt x="20" y="89"/>
                  </a:cubicBezTo>
                  <a:cubicBezTo>
                    <a:pt x="19" y="90"/>
                    <a:pt x="19" y="92"/>
                    <a:pt x="20" y="93"/>
                  </a:cubicBezTo>
                  <a:cubicBezTo>
                    <a:pt x="25" y="97"/>
                    <a:pt x="33" y="97"/>
                    <a:pt x="39" y="97"/>
                  </a:cubicBezTo>
                  <a:cubicBezTo>
                    <a:pt x="46" y="96"/>
                    <a:pt x="52" y="97"/>
                    <a:pt x="60" y="97"/>
                  </a:cubicBezTo>
                  <a:cubicBezTo>
                    <a:pt x="75" y="98"/>
                    <a:pt x="90" y="98"/>
                    <a:pt x="106" y="97"/>
                  </a:cubicBezTo>
                  <a:cubicBezTo>
                    <a:pt x="114" y="97"/>
                    <a:pt x="121" y="97"/>
                    <a:pt x="129" y="96"/>
                  </a:cubicBezTo>
                  <a:cubicBezTo>
                    <a:pt x="137" y="96"/>
                    <a:pt x="145" y="96"/>
                    <a:pt x="153" y="96"/>
                  </a:cubicBezTo>
                  <a:cubicBezTo>
                    <a:pt x="161" y="97"/>
                    <a:pt x="169" y="96"/>
                    <a:pt x="177" y="95"/>
                  </a:cubicBezTo>
                  <a:cubicBezTo>
                    <a:pt x="184" y="94"/>
                    <a:pt x="192" y="95"/>
                    <a:pt x="197" y="90"/>
                  </a:cubicBezTo>
                  <a:cubicBezTo>
                    <a:pt x="198" y="90"/>
                    <a:pt x="198" y="89"/>
                    <a:pt x="198" y="88"/>
                  </a:cubicBezTo>
                  <a:cubicBezTo>
                    <a:pt x="200" y="87"/>
                    <a:pt x="200" y="84"/>
                    <a:pt x="200" y="82"/>
                  </a:cubicBezTo>
                  <a:cubicBezTo>
                    <a:pt x="200" y="79"/>
                    <a:pt x="200" y="75"/>
                    <a:pt x="200" y="72"/>
                  </a:cubicBezTo>
                  <a:cubicBezTo>
                    <a:pt x="201" y="68"/>
                    <a:pt x="200" y="65"/>
                    <a:pt x="200" y="62"/>
                  </a:cubicBezTo>
                  <a:cubicBezTo>
                    <a:pt x="200" y="58"/>
                    <a:pt x="200" y="55"/>
                    <a:pt x="200" y="52"/>
                  </a:cubicBezTo>
                  <a:cubicBezTo>
                    <a:pt x="201" y="45"/>
                    <a:pt x="201" y="39"/>
                    <a:pt x="201" y="33"/>
                  </a:cubicBezTo>
                  <a:cubicBezTo>
                    <a:pt x="202" y="27"/>
                    <a:pt x="202" y="20"/>
                    <a:pt x="198" y="15"/>
                  </a:cubicBezTo>
                  <a:cubicBezTo>
                    <a:pt x="198" y="15"/>
                    <a:pt x="196" y="14"/>
                    <a:pt x="195" y="15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iṡ1îďè"/>
            <p:cNvSpPr/>
            <p:nvPr/>
          </p:nvSpPr>
          <p:spPr bwMode="auto">
            <a:xfrm>
              <a:off x="5210378" y="3957281"/>
              <a:ext cx="491190" cy="1229666"/>
            </a:xfrm>
            <a:custGeom>
              <a:avLst/>
              <a:gdLst>
                <a:gd name="T0" fmla="*/ 70 w 70"/>
                <a:gd name="T1" fmla="*/ 175 h 175"/>
                <a:gd name="T2" fmla="*/ 42 w 70"/>
                <a:gd name="T3" fmla="*/ 161 h 175"/>
                <a:gd name="T4" fmla="*/ 9 w 70"/>
                <a:gd name="T5" fmla="*/ 118 h 175"/>
                <a:gd name="T6" fmla="*/ 2 w 70"/>
                <a:gd name="T7" fmla="*/ 58 h 175"/>
                <a:gd name="T8" fmla="*/ 2 w 70"/>
                <a:gd name="T9" fmla="*/ 24 h 175"/>
                <a:gd name="T10" fmla="*/ 1 w 70"/>
                <a:gd name="T11" fmla="*/ 8 h 175"/>
                <a:gd name="T12" fmla="*/ 1 w 70"/>
                <a:gd name="T13" fmla="*/ 2 h 175"/>
                <a:gd name="T14" fmla="*/ 0 w 70"/>
                <a:gd name="T15" fmla="*/ 1 h 175"/>
                <a:gd name="T16" fmla="*/ 0 w 70"/>
                <a:gd name="T17" fmla="*/ 0 h 175"/>
                <a:gd name="T18" fmla="*/ 7 w 70"/>
                <a:gd name="T19" fmla="*/ 2 h 175"/>
                <a:gd name="T20" fmla="*/ 70 w 70"/>
                <a:gd name="T21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175">
                  <a:moveTo>
                    <a:pt x="70" y="175"/>
                  </a:moveTo>
                  <a:cubicBezTo>
                    <a:pt x="60" y="173"/>
                    <a:pt x="50" y="168"/>
                    <a:pt x="42" y="161"/>
                  </a:cubicBezTo>
                  <a:cubicBezTo>
                    <a:pt x="28" y="149"/>
                    <a:pt x="16" y="135"/>
                    <a:pt x="9" y="118"/>
                  </a:cubicBezTo>
                  <a:cubicBezTo>
                    <a:pt x="2" y="99"/>
                    <a:pt x="2" y="78"/>
                    <a:pt x="2" y="58"/>
                  </a:cubicBezTo>
                  <a:cubicBezTo>
                    <a:pt x="3" y="47"/>
                    <a:pt x="2" y="36"/>
                    <a:pt x="2" y="24"/>
                  </a:cubicBezTo>
                  <a:cubicBezTo>
                    <a:pt x="1" y="19"/>
                    <a:pt x="1" y="14"/>
                    <a:pt x="1" y="8"/>
                  </a:cubicBezTo>
                  <a:cubicBezTo>
                    <a:pt x="1" y="6"/>
                    <a:pt x="1" y="4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5" y="2"/>
                    <a:pt x="7" y="2"/>
                  </a:cubicBezTo>
                  <a:cubicBezTo>
                    <a:pt x="5" y="41"/>
                    <a:pt x="5" y="152"/>
                    <a:pt x="70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îṧ1íḑè"/>
            <p:cNvSpPr/>
            <p:nvPr/>
          </p:nvSpPr>
          <p:spPr bwMode="auto">
            <a:xfrm>
              <a:off x="6067419" y="3950506"/>
              <a:ext cx="653790" cy="1236441"/>
            </a:xfrm>
            <a:custGeom>
              <a:avLst/>
              <a:gdLst>
                <a:gd name="T0" fmla="*/ 91 w 93"/>
                <a:gd name="T1" fmla="*/ 44 h 176"/>
                <a:gd name="T2" fmla="*/ 91 w 93"/>
                <a:gd name="T3" fmla="*/ 44 h 176"/>
                <a:gd name="T4" fmla="*/ 86 w 93"/>
                <a:gd name="T5" fmla="*/ 73 h 176"/>
                <a:gd name="T6" fmla="*/ 80 w 93"/>
                <a:gd name="T7" fmla="*/ 103 h 176"/>
                <a:gd name="T8" fmla="*/ 70 w 93"/>
                <a:gd name="T9" fmla="*/ 130 h 176"/>
                <a:gd name="T10" fmla="*/ 58 w 93"/>
                <a:gd name="T11" fmla="*/ 150 h 176"/>
                <a:gd name="T12" fmla="*/ 43 w 93"/>
                <a:gd name="T13" fmla="*/ 164 h 176"/>
                <a:gd name="T14" fmla="*/ 34 w 93"/>
                <a:gd name="T15" fmla="*/ 169 h 176"/>
                <a:gd name="T16" fmla="*/ 31 w 93"/>
                <a:gd name="T17" fmla="*/ 171 h 176"/>
                <a:gd name="T18" fmla="*/ 16 w 93"/>
                <a:gd name="T19" fmla="*/ 172 h 176"/>
                <a:gd name="T20" fmla="*/ 0 w 93"/>
                <a:gd name="T21" fmla="*/ 176 h 176"/>
                <a:gd name="T22" fmla="*/ 54 w 93"/>
                <a:gd name="T23" fmla="*/ 95 h 176"/>
                <a:gd name="T24" fmla="*/ 55 w 93"/>
                <a:gd name="T25" fmla="*/ 95 h 176"/>
                <a:gd name="T26" fmla="*/ 75 w 93"/>
                <a:gd name="T27" fmla="*/ 90 h 176"/>
                <a:gd name="T28" fmla="*/ 76 w 93"/>
                <a:gd name="T29" fmla="*/ 88 h 176"/>
                <a:gd name="T30" fmla="*/ 78 w 93"/>
                <a:gd name="T31" fmla="*/ 82 h 176"/>
                <a:gd name="T32" fmla="*/ 78 w 93"/>
                <a:gd name="T33" fmla="*/ 72 h 176"/>
                <a:gd name="T34" fmla="*/ 78 w 93"/>
                <a:gd name="T35" fmla="*/ 62 h 176"/>
                <a:gd name="T36" fmla="*/ 78 w 93"/>
                <a:gd name="T37" fmla="*/ 52 h 176"/>
                <a:gd name="T38" fmla="*/ 79 w 93"/>
                <a:gd name="T39" fmla="*/ 33 h 176"/>
                <a:gd name="T40" fmla="*/ 76 w 93"/>
                <a:gd name="T41" fmla="*/ 15 h 176"/>
                <a:gd name="T42" fmla="*/ 73 w 93"/>
                <a:gd name="T43" fmla="*/ 15 h 176"/>
                <a:gd name="T44" fmla="*/ 67 w 93"/>
                <a:gd name="T45" fmla="*/ 15 h 176"/>
                <a:gd name="T46" fmla="*/ 67 w 93"/>
                <a:gd name="T47" fmla="*/ 1 h 176"/>
                <a:gd name="T48" fmla="*/ 68 w 93"/>
                <a:gd name="T49" fmla="*/ 1 h 176"/>
                <a:gd name="T50" fmla="*/ 92 w 93"/>
                <a:gd name="T51" fmla="*/ 0 h 176"/>
                <a:gd name="T52" fmla="*/ 92 w 93"/>
                <a:gd name="T53" fmla="*/ 14 h 176"/>
                <a:gd name="T54" fmla="*/ 91 w 93"/>
                <a:gd name="T55" fmla="*/ 4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76">
                  <a:moveTo>
                    <a:pt x="91" y="44"/>
                  </a:moveTo>
                  <a:cubicBezTo>
                    <a:pt x="91" y="44"/>
                    <a:pt x="91" y="44"/>
                    <a:pt x="91" y="44"/>
                  </a:cubicBezTo>
                  <a:cubicBezTo>
                    <a:pt x="90" y="54"/>
                    <a:pt x="88" y="64"/>
                    <a:pt x="86" y="73"/>
                  </a:cubicBezTo>
                  <a:cubicBezTo>
                    <a:pt x="85" y="83"/>
                    <a:pt x="83" y="93"/>
                    <a:pt x="80" y="103"/>
                  </a:cubicBezTo>
                  <a:cubicBezTo>
                    <a:pt x="77" y="112"/>
                    <a:pt x="74" y="121"/>
                    <a:pt x="70" y="130"/>
                  </a:cubicBezTo>
                  <a:cubicBezTo>
                    <a:pt x="66" y="137"/>
                    <a:pt x="63" y="144"/>
                    <a:pt x="58" y="150"/>
                  </a:cubicBezTo>
                  <a:cubicBezTo>
                    <a:pt x="54" y="156"/>
                    <a:pt x="49" y="160"/>
                    <a:pt x="43" y="164"/>
                  </a:cubicBezTo>
                  <a:cubicBezTo>
                    <a:pt x="40" y="166"/>
                    <a:pt x="37" y="168"/>
                    <a:pt x="34" y="169"/>
                  </a:cubicBezTo>
                  <a:cubicBezTo>
                    <a:pt x="33" y="170"/>
                    <a:pt x="32" y="170"/>
                    <a:pt x="31" y="171"/>
                  </a:cubicBezTo>
                  <a:cubicBezTo>
                    <a:pt x="26" y="170"/>
                    <a:pt x="21" y="171"/>
                    <a:pt x="16" y="172"/>
                  </a:cubicBezTo>
                  <a:cubicBezTo>
                    <a:pt x="11" y="174"/>
                    <a:pt x="6" y="175"/>
                    <a:pt x="0" y="176"/>
                  </a:cubicBezTo>
                  <a:cubicBezTo>
                    <a:pt x="28" y="155"/>
                    <a:pt x="44" y="125"/>
                    <a:pt x="54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62" y="94"/>
                    <a:pt x="70" y="95"/>
                    <a:pt x="75" y="90"/>
                  </a:cubicBezTo>
                  <a:cubicBezTo>
                    <a:pt x="76" y="90"/>
                    <a:pt x="76" y="89"/>
                    <a:pt x="76" y="88"/>
                  </a:cubicBezTo>
                  <a:cubicBezTo>
                    <a:pt x="78" y="87"/>
                    <a:pt x="78" y="84"/>
                    <a:pt x="78" y="82"/>
                  </a:cubicBezTo>
                  <a:cubicBezTo>
                    <a:pt x="78" y="79"/>
                    <a:pt x="78" y="75"/>
                    <a:pt x="78" y="72"/>
                  </a:cubicBezTo>
                  <a:cubicBezTo>
                    <a:pt x="79" y="68"/>
                    <a:pt x="78" y="65"/>
                    <a:pt x="78" y="62"/>
                  </a:cubicBezTo>
                  <a:cubicBezTo>
                    <a:pt x="78" y="58"/>
                    <a:pt x="78" y="55"/>
                    <a:pt x="78" y="52"/>
                  </a:cubicBezTo>
                  <a:cubicBezTo>
                    <a:pt x="79" y="45"/>
                    <a:pt x="79" y="39"/>
                    <a:pt x="79" y="33"/>
                  </a:cubicBezTo>
                  <a:cubicBezTo>
                    <a:pt x="80" y="27"/>
                    <a:pt x="80" y="20"/>
                    <a:pt x="76" y="15"/>
                  </a:cubicBezTo>
                  <a:cubicBezTo>
                    <a:pt x="76" y="15"/>
                    <a:pt x="74" y="14"/>
                    <a:pt x="73" y="15"/>
                  </a:cubicBezTo>
                  <a:cubicBezTo>
                    <a:pt x="71" y="15"/>
                    <a:pt x="69" y="15"/>
                    <a:pt x="67" y="15"/>
                  </a:cubicBezTo>
                  <a:cubicBezTo>
                    <a:pt x="67" y="10"/>
                    <a:pt x="67" y="5"/>
                    <a:pt x="67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76" y="0"/>
                    <a:pt x="84" y="0"/>
                    <a:pt x="92" y="0"/>
                  </a:cubicBezTo>
                  <a:cubicBezTo>
                    <a:pt x="91" y="4"/>
                    <a:pt x="91" y="9"/>
                    <a:pt x="92" y="14"/>
                  </a:cubicBezTo>
                  <a:cubicBezTo>
                    <a:pt x="93" y="24"/>
                    <a:pt x="92" y="34"/>
                    <a:pt x="91" y="44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iṥlïḓè"/>
            <p:cNvSpPr/>
            <p:nvPr/>
          </p:nvSpPr>
          <p:spPr bwMode="auto">
            <a:xfrm>
              <a:off x="5210378" y="2781817"/>
              <a:ext cx="1490504" cy="992541"/>
            </a:xfrm>
            <a:custGeom>
              <a:avLst/>
              <a:gdLst>
                <a:gd name="T0" fmla="*/ 24 w 212"/>
                <a:gd name="T1" fmla="*/ 35 h 141"/>
                <a:gd name="T2" fmla="*/ 24 w 212"/>
                <a:gd name="T3" fmla="*/ 35 h 141"/>
                <a:gd name="T4" fmla="*/ 116 w 212"/>
                <a:gd name="T5" fmla="*/ 1 h 141"/>
                <a:gd name="T6" fmla="*/ 135 w 212"/>
                <a:gd name="T7" fmla="*/ 1 h 141"/>
                <a:gd name="T8" fmla="*/ 150 w 212"/>
                <a:gd name="T9" fmla="*/ 10 h 141"/>
                <a:gd name="T10" fmla="*/ 167 w 212"/>
                <a:gd name="T11" fmla="*/ 21 h 141"/>
                <a:gd name="T12" fmla="*/ 182 w 212"/>
                <a:gd name="T13" fmla="*/ 36 h 141"/>
                <a:gd name="T14" fmla="*/ 195 w 212"/>
                <a:gd name="T15" fmla="*/ 53 h 141"/>
                <a:gd name="T16" fmla="*/ 209 w 212"/>
                <a:gd name="T17" fmla="*/ 95 h 141"/>
                <a:gd name="T18" fmla="*/ 212 w 212"/>
                <a:gd name="T19" fmla="*/ 118 h 141"/>
                <a:gd name="T20" fmla="*/ 212 w 212"/>
                <a:gd name="T21" fmla="*/ 134 h 141"/>
                <a:gd name="T22" fmla="*/ 202 w 212"/>
                <a:gd name="T23" fmla="*/ 135 h 141"/>
                <a:gd name="T24" fmla="*/ 188 w 212"/>
                <a:gd name="T25" fmla="*/ 135 h 141"/>
                <a:gd name="T26" fmla="*/ 161 w 212"/>
                <a:gd name="T27" fmla="*/ 137 h 141"/>
                <a:gd name="T28" fmla="*/ 104 w 212"/>
                <a:gd name="T29" fmla="*/ 138 h 141"/>
                <a:gd name="T30" fmla="*/ 76 w 212"/>
                <a:gd name="T31" fmla="*/ 140 h 141"/>
                <a:gd name="T32" fmla="*/ 49 w 212"/>
                <a:gd name="T33" fmla="*/ 139 h 141"/>
                <a:gd name="T34" fmla="*/ 21 w 212"/>
                <a:gd name="T35" fmla="*/ 140 h 141"/>
                <a:gd name="T36" fmla="*/ 7 w 212"/>
                <a:gd name="T37" fmla="*/ 141 h 141"/>
                <a:gd name="T38" fmla="*/ 0 w 212"/>
                <a:gd name="T39" fmla="*/ 141 h 141"/>
                <a:gd name="T40" fmla="*/ 0 w 212"/>
                <a:gd name="T41" fmla="*/ 114 h 141"/>
                <a:gd name="T42" fmla="*/ 0 w 212"/>
                <a:gd name="T43" fmla="*/ 101 h 141"/>
                <a:gd name="T44" fmla="*/ 1 w 212"/>
                <a:gd name="T45" fmla="*/ 96 h 141"/>
                <a:gd name="T46" fmla="*/ 2 w 212"/>
                <a:gd name="T47" fmla="*/ 85 h 141"/>
                <a:gd name="T48" fmla="*/ 24 w 212"/>
                <a:gd name="T49" fmla="*/ 3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2" h="141"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46" y="9"/>
                    <a:pt x="82" y="0"/>
                    <a:pt x="116" y="1"/>
                  </a:cubicBezTo>
                  <a:cubicBezTo>
                    <a:pt x="122" y="1"/>
                    <a:pt x="129" y="2"/>
                    <a:pt x="135" y="1"/>
                  </a:cubicBezTo>
                  <a:cubicBezTo>
                    <a:pt x="139" y="5"/>
                    <a:pt x="145" y="7"/>
                    <a:pt x="150" y="10"/>
                  </a:cubicBezTo>
                  <a:cubicBezTo>
                    <a:pt x="156" y="13"/>
                    <a:pt x="162" y="17"/>
                    <a:pt x="167" y="21"/>
                  </a:cubicBezTo>
                  <a:cubicBezTo>
                    <a:pt x="172" y="26"/>
                    <a:pt x="177" y="31"/>
                    <a:pt x="182" y="36"/>
                  </a:cubicBezTo>
                  <a:cubicBezTo>
                    <a:pt x="187" y="42"/>
                    <a:pt x="191" y="47"/>
                    <a:pt x="195" y="53"/>
                  </a:cubicBezTo>
                  <a:cubicBezTo>
                    <a:pt x="204" y="66"/>
                    <a:pt x="206" y="80"/>
                    <a:pt x="209" y="95"/>
                  </a:cubicBezTo>
                  <a:cubicBezTo>
                    <a:pt x="211" y="102"/>
                    <a:pt x="212" y="110"/>
                    <a:pt x="212" y="118"/>
                  </a:cubicBezTo>
                  <a:cubicBezTo>
                    <a:pt x="212" y="123"/>
                    <a:pt x="212" y="129"/>
                    <a:pt x="212" y="134"/>
                  </a:cubicBezTo>
                  <a:cubicBezTo>
                    <a:pt x="209" y="134"/>
                    <a:pt x="206" y="134"/>
                    <a:pt x="202" y="135"/>
                  </a:cubicBezTo>
                  <a:cubicBezTo>
                    <a:pt x="198" y="135"/>
                    <a:pt x="193" y="135"/>
                    <a:pt x="188" y="135"/>
                  </a:cubicBezTo>
                  <a:cubicBezTo>
                    <a:pt x="179" y="136"/>
                    <a:pt x="170" y="136"/>
                    <a:pt x="161" y="137"/>
                  </a:cubicBezTo>
                  <a:cubicBezTo>
                    <a:pt x="142" y="138"/>
                    <a:pt x="123" y="138"/>
                    <a:pt x="104" y="138"/>
                  </a:cubicBezTo>
                  <a:cubicBezTo>
                    <a:pt x="95" y="139"/>
                    <a:pt x="86" y="140"/>
                    <a:pt x="76" y="140"/>
                  </a:cubicBezTo>
                  <a:cubicBezTo>
                    <a:pt x="67" y="140"/>
                    <a:pt x="58" y="140"/>
                    <a:pt x="49" y="139"/>
                  </a:cubicBezTo>
                  <a:cubicBezTo>
                    <a:pt x="39" y="139"/>
                    <a:pt x="30" y="140"/>
                    <a:pt x="21" y="140"/>
                  </a:cubicBezTo>
                  <a:cubicBezTo>
                    <a:pt x="16" y="140"/>
                    <a:pt x="12" y="140"/>
                    <a:pt x="7" y="141"/>
                  </a:cubicBezTo>
                  <a:cubicBezTo>
                    <a:pt x="5" y="141"/>
                    <a:pt x="2" y="141"/>
                    <a:pt x="0" y="141"/>
                  </a:cubicBezTo>
                  <a:cubicBezTo>
                    <a:pt x="0" y="132"/>
                    <a:pt x="0" y="123"/>
                    <a:pt x="0" y="114"/>
                  </a:cubicBezTo>
                  <a:cubicBezTo>
                    <a:pt x="0" y="109"/>
                    <a:pt x="0" y="105"/>
                    <a:pt x="0" y="101"/>
                  </a:cubicBezTo>
                  <a:cubicBezTo>
                    <a:pt x="1" y="99"/>
                    <a:pt x="1" y="97"/>
                    <a:pt x="1" y="96"/>
                  </a:cubicBezTo>
                  <a:cubicBezTo>
                    <a:pt x="1" y="92"/>
                    <a:pt x="1" y="88"/>
                    <a:pt x="2" y="85"/>
                  </a:cubicBezTo>
                  <a:cubicBezTo>
                    <a:pt x="5" y="67"/>
                    <a:pt x="12" y="49"/>
                    <a:pt x="24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íṡľiḋê"/>
            <p:cNvSpPr/>
            <p:nvPr/>
          </p:nvSpPr>
          <p:spPr bwMode="auto">
            <a:xfrm>
              <a:off x="5969180" y="2788592"/>
              <a:ext cx="731702" cy="941727"/>
            </a:xfrm>
            <a:custGeom>
              <a:avLst/>
              <a:gdLst>
                <a:gd name="T0" fmla="*/ 0 w 104"/>
                <a:gd name="T1" fmla="*/ 0 h 134"/>
                <a:gd name="T2" fmla="*/ 8 w 104"/>
                <a:gd name="T3" fmla="*/ 0 h 134"/>
                <a:gd name="T4" fmla="*/ 27 w 104"/>
                <a:gd name="T5" fmla="*/ 0 h 134"/>
                <a:gd name="T6" fmla="*/ 42 w 104"/>
                <a:gd name="T7" fmla="*/ 9 h 134"/>
                <a:gd name="T8" fmla="*/ 59 w 104"/>
                <a:gd name="T9" fmla="*/ 20 h 134"/>
                <a:gd name="T10" fmla="*/ 74 w 104"/>
                <a:gd name="T11" fmla="*/ 35 h 134"/>
                <a:gd name="T12" fmla="*/ 87 w 104"/>
                <a:gd name="T13" fmla="*/ 52 h 134"/>
                <a:gd name="T14" fmla="*/ 101 w 104"/>
                <a:gd name="T15" fmla="*/ 94 h 134"/>
                <a:gd name="T16" fmla="*/ 104 w 104"/>
                <a:gd name="T17" fmla="*/ 117 h 134"/>
                <a:gd name="T18" fmla="*/ 104 w 104"/>
                <a:gd name="T19" fmla="*/ 133 h 134"/>
                <a:gd name="T20" fmla="*/ 94 w 104"/>
                <a:gd name="T21" fmla="*/ 134 h 134"/>
                <a:gd name="T22" fmla="*/ 81 w 104"/>
                <a:gd name="T23" fmla="*/ 134 h 134"/>
                <a:gd name="T24" fmla="*/ 0 w 104"/>
                <a:gd name="T25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34">
                  <a:moveTo>
                    <a:pt x="0" y="0"/>
                  </a:moveTo>
                  <a:cubicBezTo>
                    <a:pt x="3" y="0"/>
                    <a:pt x="5" y="0"/>
                    <a:pt x="8" y="0"/>
                  </a:cubicBezTo>
                  <a:cubicBezTo>
                    <a:pt x="14" y="0"/>
                    <a:pt x="21" y="1"/>
                    <a:pt x="27" y="0"/>
                  </a:cubicBezTo>
                  <a:cubicBezTo>
                    <a:pt x="31" y="4"/>
                    <a:pt x="37" y="6"/>
                    <a:pt x="42" y="9"/>
                  </a:cubicBezTo>
                  <a:cubicBezTo>
                    <a:pt x="48" y="12"/>
                    <a:pt x="54" y="16"/>
                    <a:pt x="59" y="20"/>
                  </a:cubicBezTo>
                  <a:cubicBezTo>
                    <a:pt x="64" y="25"/>
                    <a:pt x="69" y="30"/>
                    <a:pt x="74" y="35"/>
                  </a:cubicBezTo>
                  <a:cubicBezTo>
                    <a:pt x="79" y="41"/>
                    <a:pt x="83" y="46"/>
                    <a:pt x="87" y="52"/>
                  </a:cubicBezTo>
                  <a:cubicBezTo>
                    <a:pt x="96" y="65"/>
                    <a:pt x="98" y="79"/>
                    <a:pt x="101" y="94"/>
                  </a:cubicBezTo>
                  <a:cubicBezTo>
                    <a:pt x="103" y="101"/>
                    <a:pt x="104" y="109"/>
                    <a:pt x="104" y="117"/>
                  </a:cubicBezTo>
                  <a:cubicBezTo>
                    <a:pt x="104" y="122"/>
                    <a:pt x="104" y="128"/>
                    <a:pt x="104" y="133"/>
                  </a:cubicBezTo>
                  <a:cubicBezTo>
                    <a:pt x="101" y="133"/>
                    <a:pt x="98" y="133"/>
                    <a:pt x="94" y="134"/>
                  </a:cubicBezTo>
                  <a:cubicBezTo>
                    <a:pt x="90" y="134"/>
                    <a:pt x="86" y="134"/>
                    <a:pt x="81" y="134"/>
                  </a:cubicBezTo>
                  <a:cubicBezTo>
                    <a:pt x="88" y="2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îṧḻíḓé"/>
            <p:cNvSpPr/>
            <p:nvPr/>
          </p:nvSpPr>
          <p:spPr bwMode="auto">
            <a:xfrm>
              <a:off x="4786941" y="2063665"/>
              <a:ext cx="2300120" cy="1788604"/>
            </a:xfrm>
            <a:custGeom>
              <a:avLst/>
              <a:gdLst>
                <a:gd name="T0" fmla="*/ 12 w 327"/>
                <a:gd name="T1" fmla="*/ 224 h 254"/>
                <a:gd name="T2" fmla="*/ 49 w 327"/>
                <a:gd name="T3" fmla="*/ 205 h 254"/>
                <a:gd name="T4" fmla="*/ 57 w 327"/>
                <a:gd name="T5" fmla="*/ 249 h 254"/>
                <a:gd name="T6" fmla="*/ 135 w 327"/>
                <a:gd name="T7" fmla="*/ 254 h 254"/>
                <a:gd name="T8" fmla="*/ 262 w 327"/>
                <a:gd name="T9" fmla="*/ 250 h 254"/>
                <a:gd name="T10" fmla="*/ 285 w 327"/>
                <a:gd name="T11" fmla="*/ 245 h 254"/>
                <a:gd name="T12" fmla="*/ 284 w 327"/>
                <a:gd name="T13" fmla="*/ 200 h 254"/>
                <a:gd name="T14" fmla="*/ 308 w 327"/>
                <a:gd name="T15" fmla="*/ 216 h 254"/>
                <a:gd name="T16" fmla="*/ 327 w 327"/>
                <a:gd name="T17" fmla="*/ 164 h 254"/>
                <a:gd name="T18" fmla="*/ 300 w 327"/>
                <a:gd name="T19" fmla="*/ 143 h 254"/>
                <a:gd name="T20" fmla="*/ 277 w 327"/>
                <a:gd name="T21" fmla="*/ 157 h 254"/>
                <a:gd name="T22" fmla="*/ 236 w 327"/>
                <a:gd name="T23" fmla="*/ 113 h 254"/>
                <a:gd name="T24" fmla="*/ 169 w 327"/>
                <a:gd name="T25" fmla="*/ 92 h 254"/>
                <a:gd name="T26" fmla="*/ 125 w 327"/>
                <a:gd name="T27" fmla="*/ 17 h 254"/>
                <a:gd name="T28" fmla="*/ 105 w 327"/>
                <a:gd name="T29" fmla="*/ 45 h 254"/>
                <a:gd name="T30" fmla="*/ 154 w 327"/>
                <a:gd name="T31" fmla="*/ 64 h 254"/>
                <a:gd name="T32" fmla="*/ 140 w 327"/>
                <a:gd name="T33" fmla="*/ 94 h 254"/>
                <a:gd name="T34" fmla="*/ 55 w 327"/>
                <a:gd name="T35" fmla="*/ 162 h 254"/>
                <a:gd name="T36" fmla="*/ 5 w 327"/>
                <a:gd name="T37" fmla="*/ 150 h 254"/>
                <a:gd name="T38" fmla="*/ 0 w 327"/>
                <a:gd name="T39" fmla="*/ 191 h 254"/>
                <a:gd name="T40" fmla="*/ 91 w 327"/>
                <a:gd name="T41" fmla="*/ 25 h 254"/>
                <a:gd name="T42" fmla="*/ 103 w 327"/>
                <a:gd name="T43" fmla="*/ 34 h 254"/>
                <a:gd name="T44" fmla="*/ 305 w 327"/>
                <a:gd name="T45" fmla="*/ 204 h 254"/>
                <a:gd name="T46" fmla="*/ 312 w 327"/>
                <a:gd name="T47" fmla="*/ 155 h 254"/>
                <a:gd name="T48" fmla="*/ 305 w 327"/>
                <a:gd name="T49" fmla="*/ 152 h 254"/>
                <a:gd name="T50" fmla="*/ 312 w 327"/>
                <a:gd name="T51" fmla="*/ 155 h 254"/>
                <a:gd name="T52" fmla="*/ 312 w 327"/>
                <a:gd name="T53" fmla="*/ 196 h 254"/>
                <a:gd name="T54" fmla="*/ 310 w 327"/>
                <a:gd name="T55" fmla="*/ 205 h 254"/>
                <a:gd name="T56" fmla="*/ 304 w 327"/>
                <a:gd name="T57" fmla="*/ 200 h 254"/>
                <a:gd name="T58" fmla="*/ 304 w 327"/>
                <a:gd name="T59" fmla="*/ 170 h 254"/>
                <a:gd name="T60" fmla="*/ 283 w 327"/>
                <a:gd name="T61" fmla="*/ 168 h 254"/>
                <a:gd name="T62" fmla="*/ 290 w 327"/>
                <a:gd name="T63" fmla="*/ 188 h 254"/>
                <a:gd name="T64" fmla="*/ 283 w 327"/>
                <a:gd name="T65" fmla="*/ 168 h 254"/>
                <a:gd name="T66" fmla="*/ 195 w 327"/>
                <a:gd name="T67" fmla="*/ 103 h 254"/>
                <a:gd name="T68" fmla="*/ 255 w 327"/>
                <a:gd name="T69" fmla="*/ 155 h 254"/>
                <a:gd name="T70" fmla="*/ 262 w 327"/>
                <a:gd name="T71" fmla="*/ 237 h 254"/>
                <a:gd name="T72" fmla="*/ 136 w 327"/>
                <a:gd name="T73" fmla="*/ 242 h 254"/>
                <a:gd name="T74" fmla="*/ 60 w 327"/>
                <a:gd name="T75" fmla="*/ 243 h 254"/>
                <a:gd name="T76" fmla="*/ 62 w 327"/>
                <a:gd name="T77" fmla="*/ 187 h 254"/>
                <a:gd name="T78" fmla="*/ 50 w 327"/>
                <a:gd name="T79" fmla="*/ 193 h 254"/>
                <a:gd name="T80" fmla="*/ 40 w 327"/>
                <a:gd name="T81" fmla="*/ 172 h 254"/>
                <a:gd name="T82" fmla="*/ 18 w 327"/>
                <a:gd name="T83" fmla="*/ 152 h 254"/>
                <a:gd name="T84" fmla="*/ 24 w 327"/>
                <a:gd name="T85" fmla="*/ 155 h 254"/>
                <a:gd name="T86" fmla="*/ 25 w 327"/>
                <a:gd name="T87" fmla="*/ 183 h 254"/>
                <a:gd name="T88" fmla="*/ 20 w 327"/>
                <a:gd name="T89" fmla="*/ 210 h 254"/>
                <a:gd name="T90" fmla="*/ 14 w 327"/>
                <a:gd name="T91" fmla="*/ 211 h 254"/>
                <a:gd name="T92" fmla="*/ 13 w 327"/>
                <a:gd name="T93" fmla="*/ 168 h 254"/>
                <a:gd name="T94" fmla="*/ 17 w 327"/>
                <a:gd name="T95" fmla="*/ 152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7" h="254">
                  <a:moveTo>
                    <a:pt x="1" y="209"/>
                  </a:moveTo>
                  <a:cubicBezTo>
                    <a:pt x="1" y="215"/>
                    <a:pt x="2" y="220"/>
                    <a:pt x="8" y="222"/>
                  </a:cubicBezTo>
                  <a:cubicBezTo>
                    <a:pt x="8" y="222"/>
                    <a:pt x="9" y="222"/>
                    <a:pt x="9" y="222"/>
                  </a:cubicBezTo>
                  <a:cubicBezTo>
                    <a:pt x="10" y="223"/>
                    <a:pt x="11" y="224"/>
                    <a:pt x="12" y="224"/>
                  </a:cubicBezTo>
                  <a:cubicBezTo>
                    <a:pt x="17" y="225"/>
                    <a:pt x="22" y="225"/>
                    <a:pt x="27" y="221"/>
                  </a:cubicBezTo>
                  <a:cubicBezTo>
                    <a:pt x="33" y="218"/>
                    <a:pt x="35" y="212"/>
                    <a:pt x="36" y="206"/>
                  </a:cubicBezTo>
                  <a:cubicBezTo>
                    <a:pt x="39" y="206"/>
                    <a:pt x="41" y="205"/>
                    <a:pt x="44" y="205"/>
                  </a:cubicBezTo>
                  <a:cubicBezTo>
                    <a:pt x="45" y="205"/>
                    <a:pt x="47" y="205"/>
                    <a:pt x="49" y="205"/>
                  </a:cubicBezTo>
                  <a:cubicBezTo>
                    <a:pt x="49" y="207"/>
                    <a:pt x="48" y="208"/>
                    <a:pt x="48" y="210"/>
                  </a:cubicBezTo>
                  <a:cubicBezTo>
                    <a:pt x="48" y="216"/>
                    <a:pt x="48" y="221"/>
                    <a:pt x="49" y="227"/>
                  </a:cubicBezTo>
                  <a:cubicBezTo>
                    <a:pt x="49" y="233"/>
                    <a:pt x="49" y="240"/>
                    <a:pt x="50" y="246"/>
                  </a:cubicBezTo>
                  <a:cubicBezTo>
                    <a:pt x="51" y="250"/>
                    <a:pt x="55" y="250"/>
                    <a:pt x="57" y="249"/>
                  </a:cubicBezTo>
                  <a:cubicBezTo>
                    <a:pt x="60" y="250"/>
                    <a:pt x="63" y="250"/>
                    <a:pt x="66" y="251"/>
                  </a:cubicBezTo>
                  <a:cubicBezTo>
                    <a:pt x="70" y="251"/>
                    <a:pt x="75" y="252"/>
                    <a:pt x="80" y="252"/>
                  </a:cubicBezTo>
                  <a:cubicBezTo>
                    <a:pt x="89" y="253"/>
                    <a:pt x="98" y="253"/>
                    <a:pt x="107" y="253"/>
                  </a:cubicBezTo>
                  <a:cubicBezTo>
                    <a:pt x="117" y="254"/>
                    <a:pt x="126" y="254"/>
                    <a:pt x="135" y="254"/>
                  </a:cubicBezTo>
                  <a:cubicBezTo>
                    <a:pt x="145" y="254"/>
                    <a:pt x="155" y="254"/>
                    <a:pt x="164" y="253"/>
                  </a:cubicBezTo>
                  <a:cubicBezTo>
                    <a:pt x="183" y="253"/>
                    <a:pt x="202" y="253"/>
                    <a:pt x="221" y="252"/>
                  </a:cubicBezTo>
                  <a:cubicBezTo>
                    <a:pt x="230" y="251"/>
                    <a:pt x="239" y="251"/>
                    <a:pt x="248" y="250"/>
                  </a:cubicBezTo>
                  <a:cubicBezTo>
                    <a:pt x="253" y="250"/>
                    <a:pt x="258" y="250"/>
                    <a:pt x="262" y="250"/>
                  </a:cubicBezTo>
                  <a:cubicBezTo>
                    <a:pt x="267" y="249"/>
                    <a:pt x="271" y="249"/>
                    <a:pt x="275" y="247"/>
                  </a:cubicBezTo>
                  <a:cubicBezTo>
                    <a:pt x="276" y="248"/>
                    <a:pt x="277" y="248"/>
                    <a:pt x="277" y="248"/>
                  </a:cubicBezTo>
                  <a:cubicBezTo>
                    <a:pt x="277" y="248"/>
                    <a:pt x="278" y="248"/>
                    <a:pt x="278" y="248"/>
                  </a:cubicBezTo>
                  <a:cubicBezTo>
                    <a:pt x="281" y="249"/>
                    <a:pt x="283" y="248"/>
                    <a:pt x="285" y="245"/>
                  </a:cubicBezTo>
                  <a:cubicBezTo>
                    <a:pt x="285" y="244"/>
                    <a:pt x="285" y="244"/>
                    <a:pt x="285" y="244"/>
                  </a:cubicBezTo>
                  <a:cubicBezTo>
                    <a:pt x="285" y="243"/>
                    <a:pt x="285" y="242"/>
                    <a:pt x="285" y="241"/>
                  </a:cubicBezTo>
                  <a:cubicBezTo>
                    <a:pt x="286" y="234"/>
                    <a:pt x="286" y="227"/>
                    <a:pt x="286" y="220"/>
                  </a:cubicBezTo>
                  <a:cubicBezTo>
                    <a:pt x="286" y="213"/>
                    <a:pt x="285" y="207"/>
                    <a:pt x="284" y="200"/>
                  </a:cubicBezTo>
                  <a:cubicBezTo>
                    <a:pt x="285" y="200"/>
                    <a:pt x="286" y="199"/>
                    <a:pt x="287" y="199"/>
                  </a:cubicBezTo>
                  <a:cubicBezTo>
                    <a:pt x="288" y="199"/>
                    <a:pt x="289" y="199"/>
                    <a:pt x="290" y="199"/>
                  </a:cubicBezTo>
                  <a:cubicBezTo>
                    <a:pt x="291" y="202"/>
                    <a:pt x="291" y="206"/>
                    <a:pt x="293" y="210"/>
                  </a:cubicBezTo>
                  <a:cubicBezTo>
                    <a:pt x="295" y="215"/>
                    <a:pt x="302" y="219"/>
                    <a:pt x="308" y="216"/>
                  </a:cubicBezTo>
                  <a:cubicBezTo>
                    <a:pt x="309" y="216"/>
                    <a:pt x="309" y="216"/>
                    <a:pt x="310" y="217"/>
                  </a:cubicBezTo>
                  <a:cubicBezTo>
                    <a:pt x="321" y="219"/>
                    <a:pt x="325" y="207"/>
                    <a:pt x="325" y="198"/>
                  </a:cubicBezTo>
                  <a:cubicBezTo>
                    <a:pt x="325" y="193"/>
                    <a:pt x="325" y="187"/>
                    <a:pt x="325" y="181"/>
                  </a:cubicBezTo>
                  <a:cubicBezTo>
                    <a:pt x="325" y="176"/>
                    <a:pt x="326" y="170"/>
                    <a:pt x="327" y="164"/>
                  </a:cubicBezTo>
                  <a:cubicBezTo>
                    <a:pt x="327" y="158"/>
                    <a:pt x="326" y="153"/>
                    <a:pt x="323" y="148"/>
                  </a:cubicBezTo>
                  <a:cubicBezTo>
                    <a:pt x="321" y="145"/>
                    <a:pt x="317" y="143"/>
                    <a:pt x="313" y="142"/>
                  </a:cubicBezTo>
                  <a:cubicBezTo>
                    <a:pt x="309" y="141"/>
                    <a:pt x="305" y="141"/>
                    <a:pt x="301" y="142"/>
                  </a:cubicBezTo>
                  <a:cubicBezTo>
                    <a:pt x="301" y="142"/>
                    <a:pt x="300" y="143"/>
                    <a:pt x="300" y="143"/>
                  </a:cubicBezTo>
                  <a:cubicBezTo>
                    <a:pt x="298" y="142"/>
                    <a:pt x="296" y="143"/>
                    <a:pt x="295" y="144"/>
                  </a:cubicBezTo>
                  <a:cubicBezTo>
                    <a:pt x="293" y="148"/>
                    <a:pt x="292" y="153"/>
                    <a:pt x="292" y="157"/>
                  </a:cubicBezTo>
                  <a:cubicBezTo>
                    <a:pt x="289" y="157"/>
                    <a:pt x="287" y="157"/>
                    <a:pt x="284" y="157"/>
                  </a:cubicBezTo>
                  <a:cubicBezTo>
                    <a:pt x="282" y="157"/>
                    <a:pt x="280" y="157"/>
                    <a:pt x="277" y="157"/>
                  </a:cubicBezTo>
                  <a:cubicBezTo>
                    <a:pt x="276" y="157"/>
                    <a:pt x="274" y="157"/>
                    <a:pt x="272" y="157"/>
                  </a:cubicBezTo>
                  <a:cubicBezTo>
                    <a:pt x="270" y="154"/>
                    <a:pt x="269" y="151"/>
                    <a:pt x="267" y="148"/>
                  </a:cubicBezTo>
                  <a:cubicBezTo>
                    <a:pt x="263" y="142"/>
                    <a:pt x="258" y="136"/>
                    <a:pt x="252" y="130"/>
                  </a:cubicBezTo>
                  <a:cubicBezTo>
                    <a:pt x="247" y="124"/>
                    <a:pt x="242" y="118"/>
                    <a:pt x="236" y="113"/>
                  </a:cubicBezTo>
                  <a:cubicBezTo>
                    <a:pt x="231" y="109"/>
                    <a:pt x="224" y="105"/>
                    <a:pt x="218" y="102"/>
                  </a:cubicBezTo>
                  <a:cubicBezTo>
                    <a:pt x="212" y="99"/>
                    <a:pt x="204" y="96"/>
                    <a:pt x="197" y="96"/>
                  </a:cubicBezTo>
                  <a:cubicBezTo>
                    <a:pt x="193" y="94"/>
                    <a:pt x="188" y="93"/>
                    <a:pt x="184" y="93"/>
                  </a:cubicBezTo>
                  <a:cubicBezTo>
                    <a:pt x="179" y="92"/>
                    <a:pt x="174" y="92"/>
                    <a:pt x="169" y="92"/>
                  </a:cubicBezTo>
                  <a:cubicBezTo>
                    <a:pt x="169" y="89"/>
                    <a:pt x="169" y="87"/>
                    <a:pt x="169" y="85"/>
                  </a:cubicBezTo>
                  <a:cubicBezTo>
                    <a:pt x="168" y="77"/>
                    <a:pt x="166" y="70"/>
                    <a:pt x="164" y="63"/>
                  </a:cubicBezTo>
                  <a:cubicBezTo>
                    <a:pt x="162" y="53"/>
                    <a:pt x="158" y="42"/>
                    <a:pt x="152" y="33"/>
                  </a:cubicBezTo>
                  <a:cubicBezTo>
                    <a:pt x="146" y="26"/>
                    <a:pt x="135" y="17"/>
                    <a:pt x="125" y="17"/>
                  </a:cubicBezTo>
                  <a:cubicBezTo>
                    <a:pt x="123" y="11"/>
                    <a:pt x="119" y="5"/>
                    <a:pt x="113" y="3"/>
                  </a:cubicBezTo>
                  <a:cubicBezTo>
                    <a:pt x="107" y="0"/>
                    <a:pt x="98" y="0"/>
                    <a:pt x="94" y="6"/>
                  </a:cubicBezTo>
                  <a:cubicBezTo>
                    <a:pt x="87" y="10"/>
                    <a:pt x="81" y="17"/>
                    <a:pt x="80" y="26"/>
                  </a:cubicBezTo>
                  <a:cubicBezTo>
                    <a:pt x="79" y="40"/>
                    <a:pt x="93" y="48"/>
                    <a:pt x="105" y="45"/>
                  </a:cubicBezTo>
                  <a:cubicBezTo>
                    <a:pt x="113" y="43"/>
                    <a:pt x="121" y="36"/>
                    <a:pt x="124" y="28"/>
                  </a:cubicBezTo>
                  <a:cubicBezTo>
                    <a:pt x="127" y="30"/>
                    <a:pt x="130" y="31"/>
                    <a:pt x="133" y="32"/>
                  </a:cubicBezTo>
                  <a:cubicBezTo>
                    <a:pt x="137" y="34"/>
                    <a:pt x="140" y="37"/>
                    <a:pt x="143" y="41"/>
                  </a:cubicBezTo>
                  <a:cubicBezTo>
                    <a:pt x="148" y="47"/>
                    <a:pt x="151" y="56"/>
                    <a:pt x="154" y="64"/>
                  </a:cubicBezTo>
                  <a:cubicBezTo>
                    <a:pt x="155" y="70"/>
                    <a:pt x="157" y="75"/>
                    <a:pt x="158" y="81"/>
                  </a:cubicBezTo>
                  <a:cubicBezTo>
                    <a:pt x="159" y="84"/>
                    <a:pt x="159" y="87"/>
                    <a:pt x="159" y="90"/>
                  </a:cubicBezTo>
                  <a:cubicBezTo>
                    <a:pt x="159" y="91"/>
                    <a:pt x="159" y="91"/>
                    <a:pt x="160" y="92"/>
                  </a:cubicBezTo>
                  <a:cubicBezTo>
                    <a:pt x="153" y="92"/>
                    <a:pt x="146" y="93"/>
                    <a:pt x="140" y="94"/>
                  </a:cubicBezTo>
                  <a:cubicBezTo>
                    <a:pt x="123" y="97"/>
                    <a:pt x="108" y="104"/>
                    <a:pt x="94" y="113"/>
                  </a:cubicBezTo>
                  <a:cubicBezTo>
                    <a:pt x="79" y="123"/>
                    <a:pt x="68" y="136"/>
                    <a:pt x="60" y="152"/>
                  </a:cubicBezTo>
                  <a:cubicBezTo>
                    <a:pt x="59" y="155"/>
                    <a:pt x="58" y="159"/>
                    <a:pt x="57" y="162"/>
                  </a:cubicBezTo>
                  <a:cubicBezTo>
                    <a:pt x="56" y="162"/>
                    <a:pt x="55" y="162"/>
                    <a:pt x="55" y="162"/>
                  </a:cubicBezTo>
                  <a:cubicBezTo>
                    <a:pt x="50" y="161"/>
                    <a:pt x="45" y="162"/>
                    <a:pt x="40" y="163"/>
                  </a:cubicBezTo>
                  <a:cubicBezTo>
                    <a:pt x="40" y="152"/>
                    <a:pt x="33" y="142"/>
                    <a:pt x="22" y="141"/>
                  </a:cubicBezTo>
                  <a:cubicBezTo>
                    <a:pt x="18" y="140"/>
                    <a:pt x="13" y="140"/>
                    <a:pt x="9" y="143"/>
                  </a:cubicBezTo>
                  <a:cubicBezTo>
                    <a:pt x="7" y="145"/>
                    <a:pt x="5" y="147"/>
                    <a:pt x="5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3" y="153"/>
                    <a:pt x="2" y="156"/>
                    <a:pt x="2" y="159"/>
                  </a:cubicBezTo>
                  <a:cubicBezTo>
                    <a:pt x="2" y="162"/>
                    <a:pt x="1" y="166"/>
                    <a:pt x="1" y="170"/>
                  </a:cubicBezTo>
                  <a:cubicBezTo>
                    <a:pt x="0" y="177"/>
                    <a:pt x="0" y="184"/>
                    <a:pt x="0" y="191"/>
                  </a:cubicBezTo>
                  <a:cubicBezTo>
                    <a:pt x="0" y="197"/>
                    <a:pt x="1" y="203"/>
                    <a:pt x="1" y="209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4"/>
                    <a:pt x="103" y="34"/>
                  </a:cubicBezTo>
                  <a:cubicBezTo>
                    <a:pt x="97" y="36"/>
                    <a:pt x="90" y="32"/>
                    <a:pt x="91" y="25"/>
                  </a:cubicBezTo>
                  <a:cubicBezTo>
                    <a:pt x="91" y="21"/>
                    <a:pt x="93" y="16"/>
                    <a:pt x="97" y="13"/>
                  </a:cubicBezTo>
                  <a:cubicBezTo>
                    <a:pt x="100" y="14"/>
                    <a:pt x="104" y="13"/>
                    <a:pt x="107" y="14"/>
                  </a:cubicBezTo>
                  <a:cubicBezTo>
                    <a:pt x="110" y="15"/>
                    <a:pt x="113" y="18"/>
                    <a:pt x="113" y="20"/>
                  </a:cubicBezTo>
                  <a:cubicBezTo>
                    <a:pt x="114" y="26"/>
                    <a:pt x="108" y="32"/>
                    <a:pt x="103" y="34"/>
                  </a:cubicBezTo>
                  <a:close/>
                  <a:moveTo>
                    <a:pt x="305" y="204"/>
                  </a:moveTo>
                  <a:cubicBezTo>
                    <a:pt x="305" y="204"/>
                    <a:pt x="305" y="204"/>
                    <a:pt x="305" y="204"/>
                  </a:cubicBezTo>
                  <a:cubicBezTo>
                    <a:pt x="305" y="204"/>
                    <a:pt x="305" y="204"/>
                    <a:pt x="305" y="204"/>
                  </a:cubicBezTo>
                  <a:cubicBezTo>
                    <a:pt x="305" y="204"/>
                    <a:pt x="305" y="204"/>
                    <a:pt x="305" y="204"/>
                  </a:cubicBezTo>
                  <a:close/>
                  <a:moveTo>
                    <a:pt x="312" y="155"/>
                  </a:move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lose/>
                  <a:moveTo>
                    <a:pt x="304" y="152"/>
                  </a:moveTo>
                  <a:cubicBezTo>
                    <a:pt x="304" y="152"/>
                    <a:pt x="304" y="152"/>
                    <a:pt x="304" y="152"/>
                  </a:cubicBezTo>
                  <a:cubicBezTo>
                    <a:pt x="305" y="152"/>
                    <a:pt x="305" y="152"/>
                    <a:pt x="305" y="152"/>
                  </a:cubicBezTo>
                  <a:cubicBezTo>
                    <a:pt x="305" y="152"/>
                    <a:pt x="305" y="152"/>
                    <a:pt x="305" y="152"/>
                  </a:cubicBezTo>
                  <a:cubicBezTo>
                    <a:pt x="308" y="153"/>
                    <a:pt x="309" y="153"/>
                    <a:pt x="311" y="154"/>
                  </a:cubicBezTo>
                  <a:cubicBezTo>
                    <a:pt x="312" y="154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3" y="156"/>
                    <a:pt x="313" y="158"/>
                    <a:pt x="313" y="159"/>
                  </a:cubicBezTo>
                  <a:cubicBezTo>
                    <a:pt x="314" y="162"/>
                    <a:pt x="313" y="166"/>
                    <a:pt x="313" y="169"/>
                  </a:cubicBezTo>
                  <a:cubicBezTo>
                    <a:pt x="311" y="178"/>
                    <a:pt x="312" y="187"/>
                    <a:pt x="312" y="196"/>
                  </a:cubicBezTo>
                  <a:cubicBezTo>
                    <a:pt x="312" y="199"/>
                    <a:pt x="311" y="201"/>
                    <a:pt x="311" y="203"/>
                  </a:cubicBezTo>
                  <a:cubicBezTo>
                    <a:pt x="311" y="203"/>
                    <a:pt x="311" y="204"/>
                    <a:pt x="311" y="204"/>
                  </a:cubicBezTo>
                  <a:cubicBezTo>
                    <a:pt x="311" y="203"/>
                    <a:pt x="310" y="205"/>
                    <a:pt x="311" y="204"/>
                  </a:cubicBezTo>
                  <a:cubicBezTo>
                    <a:pt x="310" y="205"/>
                    <a:pt x="310" y="205"/>
                    <a:pt x="310" y="205"/>
                  </a:cubicBezTo>
                  <a:cubicBezTo>
                    <a:pt x="309" y="204"/>
                    <a:pt x="307" y="203"/>
                    <a:pt x="305" y="203"/>
                  </a:cubicBezTo>
                  <a:cubicBezTo>
                    <a:pt x="305" y="203"/>
                    <a:pt x="305" y="203"/>
                    <a:pt x="305" y="203"/>
                  </a:cubicBezTo>
                  <a:cubicBezTo>
                    <a:pt x="304" y="202"/>
                    <a:pt x="304" y="201"/>
                    <a:pt x="304" y="201"/>
                  </a:cubicBezTo>
                  <a:cubicBezTo>
                    <a:pt x="304" y="200"/>
                    <a:pt x="304" y="200"/>
                    <a:pt x="304" y="200"/>
                  </a:cubicBezTo>
                  <a:cubicBezTo>
                    <a:pt x="304" y="200"/>
                    <a:pt x="304" y="199"/>
                    <a:pt x="304" y="199"/>
                  </a:cubicBezTo>
                  <a:cubicBezTo>
                    <a:pt x="304" y="198"/>
                    <a:pt x="304" y="196"/>
                    <a:pt x="304" y="195"/>
                  </a:cubicBezTo>
                  <a:cubicBezTo>
                    <a:pt x="303" y="193"/>
                    <a:pt x="304" y="191"/>
                    <a:pt x="304" y="189"/>
                  </a:cubicBezTo>
                  <a:cubicBezTo>
                    <a:pt x="304" y="183"/>
                    <a:pt x="304" y="177"/>
                    <a:pt x="304" y="170"/>
                  </a:cubicBezTo>
                  <a:cubicBezTo>
                    <a:pt x="304" y="166"/>
                    <a:pt x="304" y="161"/>
                    <a:pt x="304" y="157"/>
                  </a:cubicBezTo>
                  <a:cubicBezTo>
                    <a:pt x="304" y="155"/>
                    <a:pt x="304" y="154"/>
                    <a:pt x="304" y="152"/>
                  </a:cubicBezTo>
                  <a:cubicBezTo>
                    <a:pt x="304" y="152"/>
                    <a:pt x="304" y="152"/>
                    <a:pt x="304" y="152"/>
                  </a:cubicBezTo>
                  <a:close/>
                  <a:moveTo>
                    <a:pt x="283" y="168"/>
                  </a:moveTo>
                  <a:cubicBezTo>
                    <a:pt x="283" y="168"/>
                    <a:pt x="283" y="168"/>
                    <a:pt x="283" y="168"/>
                  </a:cubicBezTo>
                  <a:cubicBezTo>
                    <a:pt x="286" y="168"/>
                    <a:pt x="289" y="168"/>
                    <a:pt x="292" y="168"/>
                  </a:cubicBezTo>
                  <a:cubicBezTo>
                    <a:pt x="291" y="170"/>
                    <a:pt x="291" y="172"/>
                    <a:pt x="291" y="174"/>
                  </a:cubicBezTo>
                  <a:cubicBezTo>
                    <a:pt x="291" y="179"/>
                    <a:pt x="291" y="183"/>
                    <a:pt x="290" y="188"/>
                  </a:cubicBezTo>
                  <a:cubicBezTo>
                    <a:pt x="289" y="188"/>
                    <a:pt x="287" y="188"/>
                    <a:pt x="285" y="188"/>
                  </a:cubicBezTo>
                  <a:cubicBezTo>
                    <a:pt x="284" y="188"/>
                    <a:pt x="283" y="188"/>
                    <a:pt x="281" y="188"/>
                  </a:cubicBezTo>
                  <a:cubicBezTo>
                    <a:pt x="280" y="181"/>
                    <a:pt x="278" y="174"/>
                    <a:pt x="276" y="167"/>
                  </a:cubicBezTo>
                  <a:cubicBezTo>
                    <a:pt x="278" y="167"/>
                    <a:pt x="281" y="168"/>
                    <a:pt x="283" y="168"/>
                  </a:cubicBezTo>
                  <a:close/>
                  <a:moveTo>
                    <a:pt x="84" y="137"/>
                  </a:moveTo>
                  <a:cubicBezTo>
                    <a:pt x="84" y="137"/>
                    <a:pt x="84" y="137"/>
                    <a:pt x="84" y="137"/>
                  </a:cubicBezTo>
                  <a:cubicBezTo>
                    <a:pt x="106" y="111"/>
                    <a:pt x="142" y="102"/>
                    <a:pt x="176" y="103"/>
                  </a:cubicBezTo>
                  <a:cubicBezTo>
                    <a:pt x="182" y="103"/>
                    <a:pt x="189" y="104"/>
                    <a:pt x="195" y="103"/>
                  </a:cubicBezTo>
                  <a:cubicBezTo>
                    <a:pt x="199" y="107"/>
                    <a:pt x="205" y="109"/>
                    <a:pt x="210" y="112"/>
                  </a:cubicBezTo>
                  <a:cubicBezTo>
                    <a:pt x="216" y="115"/>
                    <a:pt x="222" y="119"/>
                    <a:pt x="227" y="123"/>
                  </a:cubicBezTo>
                  <a:cubicBezTo>
                    <a:pt x="232" y="128"/>
                    <a:pt x="237" y="133"/>
                    <a:pt x="242" y="138"/>
                  </a:cubicBezTo>
                  <a:cubicBezTo>
                    <a:pt x="247" y="144"/>
                    <a:pt x="251" y="149"/>
                    <a:pt x="255" y="155"/>
                  </a:cubicBezTo>
                  <a:cubicBezTo>
                    <a:pt x="264" y="168"/>
                    <a:pt x="266" y="182"/>
                    <a:pt x="269" y="197"/>
                  </a:cubicBezTo>
                  <a:cubicBezTo>
                    <a:pt x="271" y="204"/>
                    <a:pt x="272" y="212"/>
                    <a:pt x="272" y="220"/>
                  </a:cubicBezTo>
                  <a:cubicBezTo>
                    <a:pt x="272" y="225"/>
                    <a:pt x="272" y="231"/>
                    <a:pt x="272" y="236"/>
                  </a:cubicBezTo>
                  <a:cubicBezTo>
                    <a:pt x="269" y="236"/>
                    <a:pt x="266" y="236"/>
                    <a:pt x="262" y="237"/>
                  </a:cubicBezTo>
                  <a:cubicBezTo>
                    <a:pt x="258" y="237"/>
                    <a:pt x="253" y="237"/>
                    <a:pt x="248" y="237"/>
                  </a:cubicBezTo>
                  <a:cubicBezTo>
                    <a:pt x="239" y="238"/>
                    <a:pt x="230" y="238"/>
                    <a:pt x="221" y="239"/>
                  </a:cubicBezTo>
                  <a:cubicBezTo>
                    <a:pt x="202" y="240"/>
                    <a:pt x="183" y="240"/>
                    <a:pt x="164" y="240"/>
                  </a:cubicBezTo>
                  <a:cubicBezTo>
                    <a:pt x="155" y="241"/>
                    <a:pt x="146" y="242"/>
                    <a:pt x="136" y="242"/>
                  </a:cubicBezTo>
                  <a:cubicBezTo>
                    <a:pt x="127" y="242"/>
                    <a:pt x="118" y="242"/>
                    <a:pt x="109" y="241"/>
                  </a:cubicBezTo>
                  <a:cubicBezTo>
                    <a:pt x="99" y="241"/>
                    <a:pt x="90" y="242"/>
                    <a:pt x="81" y="242"/>
                  </a:cubicBezTo>
                  <a:cubicBezTo>
                    <a:pt x="76" y="242"/>
                    <a:pt x="72" y="242"/>
                    <a:pt x="67" y="243"/>
                  </a:cubicBezTo>
                  <a:cubicBezTo>
                    <a:pt x="65" y="243"/>
                    <a:pt x="62" y="243"/>
                    <a:pt x="60" y="243"/>
                  </a:cubicBezTo>
                  <a:cubicBezTo>
                    <a:pt x="60" y="234"/>
                    <a:pt x="60" y="225"/>
                    <a:pt x="60" y="216"/>
                  </a:cubicBezTo>
                  <a:cubicBezTo>
                    <a:pt x="60" y="211"/>
                    <a:pt x="60" y="207"/>
                    <a:pt x="60" y="203"/>
                  </a:cubicBezTo>
                  <a:cubicBezTo>
                    <a:pt x="61" y="201"/>
                    <a:pt x="61" y="199"/>
                    <a:pt x="61" y="198"/>
                  </a:cubicBezTo>
                  <a:cubicBezTo>
                    <a:pt x="61" y="194"/>
                    <a:pt x="61" y="190"/>
                    <a:pt x="62" y="187"/>
                  </a:cubicBezTo>
                  <a:cubicBezTo>
                    <a:pt x="65" y="169"/>
                    <a:pt x="72" y="151"/>
                    <a:pt x="84" y="137"/>
                  </a:cubicBezTo>
                  <a:close/>
                  <a:moveTo>
                    <a:pt x="53" y="173"/>
                  </a:moveTo>
                  <a:cubicBezTo>
                    <a:pt x="53" y="173"/>
                    <a:pt x="53" y="173"/>
                    <a:pt x="53" y="173"/>
                  </a:cubicBezTo>
                  <a:cubicBezTo>
                    <a:pt x="51" y="180"/>
                    <a:pt x="50" y="186"/>
                    <a:pt x="50" y="193"/>
                  </a:cubicBezTo>
                  <a:cubicBezTo>
                    <a:pt x="47" y="193"/>
                    <a:pt x="45" y="193"/>
                    <a:pt x="43" y="194"/>
                  </a:cubicBezTo>
                  <a:cubicBezTo>
                    <a:pt x="42" y="194"/>
                    <a:pt x="40" y="194"/>
                    <a:pt x="37" y="195"/>
                  </a:cubicBezTo>
                  <a:cubicBezTo>
                    <a:pt x="38" y="191"/>
                    <a:pt x="38" y="187"/>
                    <a:pt x="38" y="183"/>
                  </a:cubicBezTo>
                  <a:cubicBezTo>
                    <a:pt x="39" y="179"/>
                    <a:pt x="39" y="176"/>
                    <a:pt x="40" y="172"/>
                  </a:cubicBezTo>
                  <a:cubicBezTo>
                    <a:pt x="44" y="173"/>
                    <a:pt x="49" y="173"/>
                    <a:pt x="53" y="173"/>
                  </a:cubicBezTo>
                  <a:close/>
                  <a:moveTo>
                    <a:pt x="17" y="152"/>
                  </a:moveTo>
                  <a:cubicBezTo>
                    <a:pt x="17" y="152"/>
                    <a:pt x="17" y="152"/>
                    <a:pt x="17" y="152"/>
                  </a:cubicBezTo>
                  <a:cubicBezTo>
                    <a:pt x="17" y="152"/>
                    <a:pt x="18" y="152"/>
                    <a:pt x="18" y="152"/>
                  </a:cubicBezTo>
                  <a:cubicBezTo>
                    <a:pt x="18" y="152"/>
                    <a:pt x="18" y="152"/>
                    <a:pt x="18" y="153"/>
                  </a:cubicBezTo>
                  <a:cubicBezTo>
                    <a:pt x="19" y="153"/>
                    <a:pt x="20" y="153"/>
                    <a:pt x="21" y="153"/>
                  </a:cubicBezTo>
                  <a:cubicBezTo>
                    <a:pt x="22" y="154"/>
                    <a:pt x="22" y="154"/>
                    <a:pt x="24" y="155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4" y="155"/>
                    <a:pt x="25" y="156"/>
                    <a:pt x="25" y="156"/>
                  </a:cubicBezTo>
                  <a:cubicBezTo>
                    <a:pt x="27" y="159"/>
                    <a:pt x="27" y="165"/>
                    <a:pt x="27" y="168"/>
                  </a:cubicBezTo>
                  <a:cubicBezTo>
                    <a:pt x="26" y="173"/>
                    <a:pt x="25" y="178"/>
                    <a:pt x="25" y="183"/>
                  </a:cubicBezTo>
                  <a:cubicBezTo>
                    <a:pt x="24" y="188"/>
                    <a:pt x="24" y="194"/>
                    <a:pt x="23" y="200"/>
                  </a:cubicBezTo>
                  <a:cubicBezTo>
                    <a:pt x="23" y="202"/>
                    <a:pt x="23" y="204"/>
                    <a:pt x="22" y="207"/>
                  </a:cubicBezTo>
                  <a:cubicBezTo>
                    <a:pt x="22" y="208"/>
                    <a:pt x="21" y="209"/>
                    <a:pt x="20" y="210"/>
                  </a:cubicBezTo>
                  <a:cubicBezTo>
                    <a:pt x="20" y="210"/>
                    <a:pt x="20" y="210"/>
                    <a:pt x="20" y="210"/>
                  </a:cubicBezTo>
                  <a:cubicBezTo>
                    <a:pt x="20" y="210"/>
                    <a:pt x="20" y="210"/>
                    <a:pt x="19" y="210"/>
                  </a:cubicBezTo>
                  <a:cubicBezTo>
                    <a:pt x="19" y="211"/>
                    <a:pt x="19" y="211"/>
                    <a:pt x="17" y="211"/>
                  </a:cubicBezTo>
                  <a:cubicBezTo>
                    <a:pt x="16" y="211"/>
                    <a:pt x="15" y="212"/>
                    <a:pt x="14" y="212"/>
                  </a:cubicBezTo>
                  <a:cubicBezTo>
                    <a:pt x="14" y="212"/>
                    <a:pt x="14" y="211"/>
                    <a:pt x="14" y="211"/>
                  </a:cubicBezTo>
                  <a:cubicBezTo>
                    <a:pt x="14" y="211"/>
                    <a:pt x="14" y="210"/>
                    <a:pt x="13" y="209"/>
                  </a:cubicBezTo>
                  <a:cubicBezTo>
                    <a:pt x="13" y="207"/>
                    <a:pt x="13" y="205"/>
                    <a:pt x="13" y="202"/>
                  </a:cubicBezTo>
                  <a:cubicBezTo>
                    <a:pt x="13" y="197"/>
                    <a:pt x="12" y="191"/>
                    <a:pt x="12" y="186"/>
                  </a:cubicBezTo>
                  <a:cubicBezTo>
                    <a:pt x="12" y="180"/>
                    <a:pt x="13" y="174"/>
                    <a:pt x="13" y="168"/>
                  </a:cubicBezTo>
                  <a:cubicBezTo>
                    <a:pt x="12" y="164"/>
                    <a:pt x="13" y="159"/>
                    <a:pt x="12" y="154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13" y="153"/>
                    <a:pt x="13" y="153"/>
                    <a:pt x="14" y="153"/>
                  </a:cubicBezTo>
                  <a:cubicBezTo>
                    <a:pt x="15" y="152"/>
                    <a:pt x="16" y="152"/>
                    <a:pt x="17" y="15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îṧḻïḓê"/>
            <p:cNvSpPr/>
            <p:nvPr/>
          </p:nvSpPr>
          <p:spPr bwMode="auto">
            <a:xfrm>
              <a:off x="5420404" y="3401730"/>
              <a:ext cx="1063678" cy="335364"/>
            </a:xfrm>
            <a:custGeom>
              <a:avLst/>
              <a:gdLst>
                <a:gd name="T0" fmla="*/ 1 w 151"/>
                <a:gd name="T1" fmla="*/ 42 h 48"/>
                <a:gd name="T2" fmla="*/ 10 w 151"/>
                <a:gd name="T3" fmla="*/ 46 h 48"/>
                <a:gd name="T4" fmla="*/ 38 w 151"/>
                <a:gd name="T5" fmla="*/ 46 h 48"/>
                <a:gd name="T6" fmla="*/ 76 w 151"/>
                <a:gd name="T7" fmla="*/ 48 h 48"/>
                <a:gd name="T8" fmla="*/ 113 w 151"/>
                <a:gd name="T9" fmla="*/ 46 h 48"/>
                <a:gd name="T10" fmla="*/ 149 w 151"/>
                <a:gd name="T11" fmla="*/ 43 h 48"/>
                <a:gd name="T12" fmla="*/ 151 w 151"/>
                <a:gd name="T13" fmla="*/ 33 h 48"/>
                <a:gd name="T14" fmla="*/ 150 w 151"/>
                <a:gd name="T15" fmla="*/ 13 h 48"/>
                <a:gd name="T16" fmla="*/ 148 w 151"/>
                <a:gd name="T17" fmla="*/ 4 h 48"/>
                <a:gd name="T18" fmla="*/ 117 w 151"/>
                <a:gd name="T19" fmla="*/ 1 h 48"/>
                <a:gd name="T20" fmla="*/ 78 w 151"/>
                <a:gd name="T21" fmla="*/ 2 h 48"/>
                <a:gd name="T22" fmla="*/ 21 w 151"/>
                <a:gd name="T23" fmla="*/ 2 h 48"/>
                <a:gd name="T24" fmla="*/ 3 w 151"/>
                <a:gd name="T25" fmla="*/ 4 h 48"/>
                <a:gd name="T26" fmla="*/ 1 w 151"/>
                <a:gd name="T27" fmla="*/ 7 h 48"/>
                <a:gd name="T28" fmla="*/ 0 w 151"/>
                <a:gd name="T29" fmla="*/ 28 h 48"/>
                <a:gd name="T30" fmla="*/ 1 w 151"/>
                <a:gd name="T31" fmla="*/ 42 h 48"/>
                <a:gd name="T32" fmla="*/ 102 w 151"/>
                <a:gd name="T33" fmla="*/ 37 h 48"/>
                <a:gd name="T34" fmla="*/ 101 w 151"/>
                <a:gd name="T35" fmla="*/ 25 h 48"/>
                <a:gd name="T36" fmla="*/ 110 w 151"/>
                <a:gd name="T37" fmla="*/ 8 h 48"/>
                <a:gd name="T38" fmla="*/ 111 w 151"/>
                <a:gd name="T39" fmla="*/ 37 h 48"/>
                <a:gd name="T40" fmla="*/ 142 w 151"/>
                <a:gd name="T41" fmla="*/ 9 h 48"/>
                <a:gd name="T42" fmla="*/ 142 w 151"/>
                <a:gd name="T43" fmla="*/ 15 h 48"/>
                <a:gd name="T44" fmla="*/ 144 w 151"/>
                <a:gd name="T45" fmla="*/ 32 h 48"/>
                <a:gd name="T46" fmla="*/ 130 w 151"/>
                <a:gd name="T47" fmla="*/ 38 h 48"/>
                <a:gd name="T48" fmla="*/ 129 w 151"/>
                <a:gd name="T49" fmla="*/ 36 h 48"/>
                <a:gd name="T50" fmla="*/ 129 w 151"/>
                <a:gd name="T51" fmla="*/ 9 h 48"/>
                <a:gd name="T52" fmla="*/ 125 w 151"/>
                <a:gd name="T53" fmla="*/ 9 h 48"/>
                <a:gd name="T54" fmla="*/ 124 w 151"/>
                <a:gd name="T55" fmla="*/ 27 h 48"/>
                <a:gd name="T56" fmla="*/ 124 w 151"/>
                <a:gd name="T57" fmla="*/ 38 h 48"/>
                <a:gd name="T58" fmla="*/ 116 w 151"/>
                <a:gd name="T59" fmla="*/ 23 h 48"/>
                <a:gd name="T60" fmla="*/ 125 w 151"/>
                <a:gd name="T61" fmla="*/ 9 h 48"/>
                <a:gd name="T62" fmla="*/ 96 w 151"/>
                <a:gd name="T63" fmla="*/ 8 h 48"/>
                <a:gd name="T64" fmla="*/ 96 w 151"/>
                <a:gd name="T65" fmla="*/ 38 h 48"/>
                <a:gd name="T66" fmla="*/ 81 w 151"/>
                <a:gd name="T67" fmla="*/ 39 h 48"/>
                <a:gd name="T68" fmla="*/ 81 w 151"/>
                <a:gd name="T69" fmla="*/ 26 h 48"/>
                <a:gd name="T70" fmla="*/ 82 w 151"/>
                <a:gd name="T71" fmla="*/ 9 h 48"/>
                <a:gd name="T72" fmla="*/ 96 w 151"/>
                <a:gd name="T73" fmla="*/ 8 h 48"/>
                <a:gd name="T74" fmla="*/ 72 w 151"/>
                <a:gd name="T75" fmla="*/ 10 h 48"/>
                <a:gd name="T76" fmla="*/ 77 w 151"/>
                <a:gd name="T77" fmla="*/ 14 h 48"/>
                <a:gd name="T78" fmla="*/ 76 w 151"/>
                <a:gd name="T79" fmla="*/ 36 h 48"/>
                <a:gd name="T80" fmla="*/ 75 w 151"/>
                <a:gd name="T81" fmla="*/ 39 h 48"/>
                <a:gd name="T82" fmla="*/ 63 w 151"/>
                <a:gd name="T83" fmla="*/ 32 h 48"/>
                <a:gd name="T84" fmla="*/ 61 w 151"/>
                <a:gd name="T85" fmla="*/ 9 h 48"/>
                <a:gd name="T86" fmla="*/ 57 w 151"/>
                <a:gd name="T87" fmla="*/ 9 h 48"/>
                <a:gd name="T88" fmla="*/ 57 w 151"/>
                <a:gd name="T89" fmla="*/ 22 h 48"/>
                <a:gd name="T90" fmla="*/ 58 w 151"/>
                <a:gd name="T91" fmla="*/ 37 h 48"/>
                <a:gd name="T92" fmla="*/ 40 w 151"/>
                <a:gd name="T93" fmla="*/ 37 h 48"/>
                <a:gd name="T94" fmla="*/ 41 w 151"/>
                <a:gd name="T95" fmla="*/ 31 h 48"/>
                <a:gd name="T96" fmla="*/ 41 w 151"/>
                <a:gd name="T97" fmla="*/ 8 h 48"/>
                <a:gd name="T98" fmla="*/ 37 w 151"/>
                <a:gd name="T99" fmla="*/ 8 h 48"/>
                <a:gd name="T100" fmla="*/ 37 w 151"/>
                <a:gd name="T101" fmla="*/ 21 h 48"/>
                <a:gd name="T102" fmla="*/ 37 w 151"/>
                <a:gd name="T103" fmla="*/ 37 h 48"/>
                <a:gd name="T104" fmla="*/ 25 w 151"/>
                <a:gd name="T105" fmla="*/ 38 h 48"/>
                <a:gd name="T106" fmla="*/ 24 w 151"/>
                <a:gd name="T107" fmla="*/ 27 h 48"/>
                <a:gd name="T108" fmla="*/ 34 w 151"/>
                <a:gd name="T109" fmla="*/ 8 h 48"/>
                <a:gd name="T110" fmla="*/ 15 w 151"/>
                <a:gd name="T111" fmla="*/ 9 h 48"/>
                <a:gd name="T112" fmla="*/ 18 w 151"/>
                <a:gd name="T113" fmla="*/ 9 h 48"/>
                <a:gd name="T114" fmla="*/ 20 w 151"/>
                <a:gd name="T115" fmla="*/ 37 h 48"/>
                <a:gd name="T116" fmla="*/ 11 w 151"/>
                <a:gd name="T117" fmla="*/ 38 h 48"/>
                <a:gd name="T118" fmla="*/ 7 w 151"/>
                <a:gd name="T119" fmla="*/ 37 h 48"/>
                <a:gd name="T120" fmla="*/ 7 w 151"/>
                <a:gd name="T121" fmla="*/ 18 h 48"/>
                <a:gd name="T122" fmla="*/ 6 w 151"/>
                <a:gd name="T123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" h="48">
                  <a:moveTo>
                    <a:pt x="1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" y="43"/>
                    <a:pt x="2" y="44"/>
                    <a:pt x="2" y="44"/>
                  </a:cubicBezTo>
                  <a:cubicBezTo>
                    <a:pt x="5" y="46"/>
                    <a:pt x="7" y="46"/>
                    <a:pt x="10" y="46"/>
                  </a:cubicBezTo>
                  <a:cubicBezTo>
                    <a:pt x="13" y="46"/>
                    <a:pt x="16" y="45"/>
                    <a:pt x="19" y="46"/>
                  </a:cubicBezTo>
                  <a:cubicBezTo>
                    <a:pt x="25" y="46"/>
                    <a:pt x="32" y="46"/>
                    <a:pt x="38" y="46"/>
                  </a:cubicBezTo>
                  <a:cubicBezTo>
                    <a:pt x="44" y="46"/>
                    <a:pt x="51" y="46"/>
                    <a:pt x="57" y="46"/>
                  </a:cubicBezTo>
                  <a:cubicBezTo>
                    <a:pt x="63" y="46"/>
                    <a:pt x="70" y="47"/>
                    <a:pt x="76" y="48"/>
                  </a:cubicBezTo>
                  <a:cubicBezTo>
                    <a:pt x="82" y="48"/>
                    <a:pt x="88" y="48"/>
                    <a:pt x="94" y="47"/>
                  </a:cubicBezTo>
                  <a:cubicBezTo>
                    <a:pt x="100" y="46"/>
                    <a:pt x="106" y="46"/>
                    <a:pt x="113" y="46"/>
                  </a:cubicBezTo>
                  <a:cubicBezTo>
                    <a:pt x="119" y="47"/>
                    <a:pt x="125" y="47"/>
                    <a:pt x="131" y="46"/>
                  </a:cubicBezTo>
                  <a:cubicBezTo>
                    <a:pt x="137" y="46"/>
                    <a:pt x="143" y="46"/>
                    <a:pt x="149" y="43"/>
                  </a:cubicBezTo>
                  <a:cubicBezTo>
                    <a:pt x="150" y="42"/>
                    <a:pt x="150" y="41"/>
                    <a:pt x="150" y="39"/>
                  </a:cubicBezTo>
                  <a:cubicBezTo>
                    <a:pt x="150" y="37"/>
                    <a:pt x="151" y="35"/>
                    <a:pt x="151" y="33"/>
                  </a:cubicBezTo>
                  <a:cubicBezTo>
                    <a:pt x="151" y="30"/>
                    <a:pt x="151" y="27"/>
                    <a:pt x="151" y="23"/>
                  </a:cubicBezTo>
                  <a:cubicBezTo>
                    <a:pt x="150" y="20"/>
                    <a:pt x="150" y="17"/>
                    <a:pt x="150" y="13"/>
                  </a:cubicBezTo>
                  <a:cubicBezTo>
                    <a:pt x="150" y="11"/>
                    <a:pt x="151" y="9"/>
                    <a:pt x="150" y="6"/>
                  </a:cubicBezTo>
                  <a:cubicBezTo>
                    <a:pt x="150" y="5"/>
                    <a:pt x="149" y="4"/>
                    <a:pt x="148" y="4"/>
                  </a:cubicBezTo>
                  <a:cubicBezTo>
                    <a:pt x="145" y="0"/>
                    <a:pt x="140" y="1"/>
                    <a:pt x="136" y="1"/>
                  </a:cubicBezTo>
                  <a:cubicBezTo>
                    <a:pt x="130" y="1"/>
                    <a:pt x="123" y="1"/>
                    <a:pt x="117" y="1"/>
                  </a:cubicBezTo>
                  <a:cubicBezTo>
                    <a:pt x="110" y="0"/>
                    <a:pt x="104" y="0"/>
                    <a:pt x="97" y="0"/>
                  </a:cubicBezTo>
                  <a:cubicBezTo>
                    <a:pt x="91" y="0"/>
                    <a:pt x="85" y="1"/>
                    <a:pt x="78" y="2"/>
                  </a:cubicBezTo>
                  <a:cubicBezTo>
                    <a:pt x="66" y="3"/>
                    <a:pt x="53" y="2"/>
                    <a:pt x="41" y="1"/>
                  </a:cubicBezTo>
                  <a:cubicBezTo>
                    <a:pt x="34" y="1"/>
                    <a:pt x="28" y="2"/>
                    <a:pt x="21" y="2"/>
                  </a:cubicBezTo>
                  <a:cubicBezTo>
                    <a:pt x="18" y="2"/>
                    <a:pt x="14" y="3"/>
                    <a:pt x="11" y="3"/>
                  </a:cubicBezTo>
                  <a:cubicBezTo>
                    <a:pt x="8" y="4"/>
                    <a:pt x="6" y="3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ubicBezTo>
                    <a:pt x="2" y="5"/>
                    <a:pt x="1" y="6"/>
                    <a:pt x="1" y="7"/>
                  </a:cubicBezTo>
                  <a:cubicBezTo>
                    <a:pt x="1" y="10"/>
                    <a:pt x="1" y="13"/>
                    <a:pt x="0" y="17"/>
                  </a:cubicBezTo>
                  <a:cubicBezTo>
                    <a:pt x="0" y="20"/>
                    <a:pt x="0" y="24"/>
                    <a:pt x="0" y="28"/>
                  </a:cubicBezTo>
                  <a:cubicBezTo>
                    <a:pt x="0" y="31"/>
                    <a:pt x="0" y="35"/>
                    <a:pt x="0" y="38"/>
                  </a:cubicBezTo>
                  <a:cubicBezTo>
                    <a:pt x="0" y="40"/>
                    <a:pt x="0" y="41"/>
                    <a:pt x="1" y="42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1" y="36"/>
                    <a:pt x="101" y="34"/>
                    <a:pt x="101" y="33"/>
                  </a:cubicBezTo>
                  <a:cubicBezTo>
                    <a:pt x="101" y="30"/>
                    <a:pt x="101" y="27"/>
                    <a:pt x="101" y="25"/>
                  </a:cubicBezTo>
                  <a:cubicBezTo>
                    <a:pt x="101" y="19"/>
                    <a:pt x="100" y="14"/>
                    <a:pt x="99" y="8"/>
                  </a:cubicBezTo>
                  <a:cubicBezTo>
                    <a:pt x="103" y="8"/>
                    <a:pt x="106" y="8"/>
                    <a:pt x="110" y="8"/>
                  </a:cubicBezTo>
                  <a:cubicBezTo>
                    <a:pt x="111" y="14"/>
                    <a:pt x="111" y="19"/>
                    <a:pt x="111" y="25"/>
                  </a:cubicBezTo>
                  <a:cubicBezTo>
                    <a:pt x="111" y="29"/>
                    <a:pt x="110" y="33"/>
                    <a:pt x="111" y="37"/>
                  </a:cubicBezTo>
                  <a:cubicBezTo>
                    <a:pt x="108" y="37"/>
                    <a:pt x="105" y="37"/>
                    <a:pt x="102" y="37"/>
                  </a:cubicBezTo>
                  <a:close/>
                  <a:moveTo>
                    <a:pt x="142" y="9"/>
                  </a:moveTo>
                  <a:cubicBezTo>
                    <a:pt x="142" y="9"/>
                    <a:pt x="142" y="9"/>
                    <a:pt x="142" y="9"/>
                  </a:cubicBezTo>
                  <a:cubicBezTo>
                    <a:pt x="143" y="11"/>
                    <a:pt x="142" y="13"/>
                    <a:pt x="142" y="15"/>
                  </a:cubicBezTo>
                  <a:cubicBezTo>
                    <a:pt x="142" y="18"/>
                    <a:pt x="142" y="20"/>
                    <a:pt x="143" y="23"/>
                  </a:cubicBezTo>
                  <a:cubicBezTo>
                    <a:pt x="143" y="26"/>
                    <a:pt x="143" y="29"/>
                    <a:pt x="144" y="32"/>
                  </a:cubicBezTo>
                  <a:cubicBezTo>
                    <a:pt x="144" y="33"/>
                    <a:pt x="144" y="36"/>
                    <a:pt x="145" y="38"/>
                  </a:cubicBezTo>
                  <a:cubicBezTo>
                    <a:pt x="140" y="37"/>
                    <a:pt x="135" y="38"/>
                    <a:pt x="130" y="38"/>
                  </a:cubicBezTo>
                  <a:cubicBezTo>
                    <a:pt x="130" y="38"/>
                    <a:pt x="129" y="38"/>
                    <a:pt x="129" y="38"/>
                  </a:cubicBezTo>
                  <a:cubicBezTo>
                    <a:pt x="129" y="37"/>
                    <a:pt x="129" y="37"/>
                    <a:pt x="129" y="36"/>
                  </a:cubicBezTo>
                  <a:cubicBezTo>
                    <a:pt x="129" y="33"/>
                    <a:pt x="129" y="30"/>
                    <a:pt x="129" y="27"/>
                  </a:cubicBezTo>
                  <a:cubicBezTo>
                    <a:pt x="129" y="21"/>
                    <a:pt x="129" y="15"/>
                    <a:pt x="129" y="9"/>
                  </a:cubicBezTo>
                  <a:cubicBezTo>
                    <a:pt x="134" y="9"/>
                    <a:pt x="138" y="9"/>
                    <a:pt x="142" y="9"/>
                  </a:cubicBezTo>
                  <a:close/>
                  <a:moveTo>
                    <a:pt x="125" y="9"/>
                  </a:moveTo>
                  <a:cubicBezTo>
                    <a:pt x="125" y="9"/>
                    <a:pt x="125" y="9"/>
                    <a:pt x="125" y="9"/>
                  </a:cubicBezTo>
                  <a:cubicBezTo>
                    <a:pt x="125" y="15"/>
                    <a:pt x="124" y="21"/>
                    <a:pt x="124" y="27"/>
                  </a:cubicBezTo>
                  <a:cubicBezTo>
                    <a:pt x="124" y="30"/>
                    <a:pt x="124" y="33"/>
                    <a:pt x="124" y="36"/>
                  </a:cubicBezTo>
                  <a:cubicBezTo>
                    <a:pt x="124" y="37"/>
                    <a:pt x="124" y="37"/>
                    <a:pt x="124" y="38"/>
                  </a:cubicBezTo>
                  <a:cubicBezTo>
                    <a:pt x="121" y="38"/>
                    <a:pt x="118" y="38"/>
                    <a:pt x="116" y="37"/>
                  </a:cubicBezTo>
                  <a:cubicBezTo>
                    <a:pt x="116" y="32"/>
                    <a:pt x="116" y="28"/>
                    <a:pt x="116" y="23"/>
                  </a:cubicBezTo>
                  <a:cubicBezTo>
                    <a:pt x="116" y="18"/>
                    <a:pt x="116" y="13"/>
                    <a:pt x="113" y="9"/>
                  </a:cubicBezTo>
                  <a:cubicBezTo>
                    <a:pt x="117" y="9"/>
                    <a:pt x="121" y="9"/>
                    <a:pt x="125" y="9"/>
                  </a:cubicBezTo>
                  <a:close/>
                  <a:moveTo>
                    <a:pt x="96" y="8"/>
                  </a:moveTo>
                  <a:cubicBezTo>
                    <a:pt x="96" y="8"/>
                    <a:pt x="96" y="8"/>
                    <a:pt x="96" y="8"/>
                  </a:cubicBezTo>
                  <a:cubicBezTo>
                    <a:pt x="96" y="14"/>
                    <a:pt x="96" y="20"/>
                    <a:pt x="96" y="26"/>
                  </a:cubicBezTo>
                  <a:cubicBezTo>
                    <a:pt x="96" y="29"/>
                    <a:pt x="95" y="34"/>
                    <a:pt x="96" y="38"/>
                  </a:cubicBezTo>
                  <a:cubicBezTo>
                    <a:pt x="95" y="38"/>
                    <a:pt x="95" y="38"/>
                    <a:pt x="94" y="38"/>
                  </a:cubicBezTo>
                  <a:cubicBezTo>
                    <a:pt x="89" y="39"/>
                    <a:pt x="85" y="39"/>
                    <a:pt x="81" y="39"/>
                  </a:cubicBezTo>
                  <a:cubicBezTo>
                    <a:pt x="81" y="38"/>
                    <a:pt x="81" y="38"/>
                    <a:pt x="81" y="37"/>
                  </a:cubicBezTo>
                  <a:cubicBezTo>
                    <a:pt x="81" y="33"/>
                    <a:pt x="81" y="30"/>
                    <a:pt x="81" y="26"/>
                  </a:cubicBezTo>
                  <a:cubicBezTo>
                    <a:pt x="81" y="23"/>
                    <a:pt x="81" y="19"/>
                    <a:pt x="82" y="15"/>
                  </a:cubicBezTo>
                  <a:cubicBezTo>
                    <a:pt x="82" y="13"/>
                    <a:pt x="82" y="11"/>
                    <a:pt x="82" y="9"/>
                  </a:cubicBezTo>
                  <a:cubicBezTo>
                    <a:pt x="85" y="9"/>
                    <a:pt x="88" y="8"/>
                    <a:pt x="91" y="8"/>
                  </a:cubicBezTo>
                  <a:cubicBezTo>
                    <a:pt x="92" y="8"/>
                    <a:pt x="94" y="8"/>
                    <a:pt x="96" y="8"/>
                  </a:cubicBezTo>
                  <a:close/>
                  <a:moveTo>
                    <a:pt x="72" y="10"/>
                  </a:moveTo>
                  <a:cubicBezTo>
                    <a:pt x="72" y="10"/>
                    <a:pt x="72" y="10"/>
                    <a:pt x="72" y="10"/>
                  </a:cubicBezTo>
                  <a:cubicBezTo>
                    <a:pt x="74" y="10"/>
                    <a:pt x="75" y="10"/>
                    <a:pt x="77" y="10"/>
                  </a:cubicBezTo>
                  <a:cubicBezTo>
                    <a:pt x="77" y="11"/>
                    <a:pt x="77" y="13"/>
                    <a:pt x="77" y="14"/>
                  </a:cubicBezTo>
                  <a:cubicBezTo>
                    <a:pt x="77" y="18"/>
                    <a:pt x="77" y="21"/>
                    <a:pt x="76" y="25"/>
                  </a:cubicBezTo>
                  <a:cubicBezTo>
                    <a:pt x="76" y="28"/>
                    <a:pt x="76" y="32"/>
                    <a:pt x="76" y="36"/>
                  </a:cubicBezTo>
                  <a:cubicBezTo>
                    <a:pt x="76" y="37"/>
                    <a:pt x="76" y="38"/>
                    <a:pt x="76" y="39"/>
                  </a:cubicBezTo>
                  <a:cubicBezTo>
                    <a:pt x="76" y="39"/>
                    <a:pt x="75" y="39"/>
                    <a:pt x="75" y="39"/>
                  </a:cubicBezTo>
                  <a:cubicBezTo>
                    <a:pt x="71" y="38"/>
                    <a:pt x="67" y="38"/>
                    <a:pt x="63" y="38"/>
                  </a:cubicBezTo>
                  <a:cubicBezTo>
                    <a:pt x="63" y="36"/>
                    <a:pt x="63" y="34"/>
                    <a:pt x="63" y="32"/>
                  </a:cubicBezTo>
                  <a:cubicBezTo>
                    <a:pt x="62" y="28"/>
                    <a:pt x="62" y="24"/>
                    <a:pt x="62" y="20"/>
                  </a:cubicBezTo>
                  <a:cubicBezTo>
                    <a:pt x="62" y="16"/>
                    <a:pt x="62" y="13"/>
                    <a:pt x="61" y="9"/>
                  </a:cubicBezTo>
                  <a:cubicBezTo>
                    <a:pt x="65" y="10"/>
                    <a:pt x="68" y="10"/>
                    <a:pt x="72" y="10"/>
                  </a:cubicBezTo>
                  <a:close/>
                  <a:moveTo>
                    <a:pt x="57" y="9"/>
                  </a:moveTo>
                  <a:cubicBezTo>
                    <a:pt x="57" y="9"/>
                    <a:pt x="57" y="9"/>
                    <a:pt x="57" y="9"/>
                  </a:cubicBezTo>
                  <a:cubicBezTo>
                    <a:pt x="58" y="13"/>
                    <a:pt x="57" y="18"/>
                    <a:pt x="57" y="22"/>
                  </a:cubicBezTo>
                  <a:cubicBezTo>
                    <a:pt x="57" y="26"/>
                    <a:pt x="57" y="29"/>
                    <a:pt x="57" y="33"/>
                  </a:cubicBezTo>
                  <a:cubicBezTo>
                    <a:pt x="58" y="34"/>
                    <a:pt x="58" y="36"/>
                    <a:pt x="58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1" y="37"/>
                    <a:pt x="45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1" y="35"/>
                    <a:pt x="41" y="33"/>
                    <a:pt x="41" y="31"/>
                  </a:cubicBezTo>
                  <a:cubicBezTo>
                    <a:pt x="41" y="28"/>
                    <a:pt x="41" y="25"/>
                    <a:pt x="41" y="22"/>
                  </a:cubicBezTo>
                  <a:cubicBezTo>
                    <a:pt x="41" y="17"/>
                    <a:pt x="41" y="13"/>
                    <a:pt x="41" y="8"/>
                  </a:cubicBezTo>
                  <a:cubicBezTo>
                    <a:pt x="46" y="8"/>
                    <a:pt x="51" y="9"/>
                    <a:pt x="57" y="9"/>
                  </a:cubicBezTo>
                  <a:close/>
                  <a:moveTo>
                    <a:pt x="37" y="8"/>
                  </a:moveTo>
                  <a:cubicBezTo>
                    <a:pt x="37" y="8"/>
                    <a:pt x="37" y="8"/>
                    <a:pt x="37" y="8"/>
                  </a:cubicBezTo>
                  <a:cubicBezTo>
                    <a:pt x="36" y="12"/>
                    <a:pt x="37" y="16"/>
                    <a:pt x="37" y="21"/>
                  </a:cubicBezTo>
                  <a:cubicBezTo>
                    <a:pt x="36" y="24"/>
                    <a:pt x="37" y="27"/>
                    <a:pt x="37" y="30"/>
                  </a:cubicBezTo>
                  <a:cubicBezTo>
                    <a:pt x="37" y="32"/>
                    <a:pt x="36" y="35"/>
                    <a:pt x="37" y="37"/>
                  </a:cubicBezTo>
                  <a:cubicBezTo>
                    <a:pt x="38" y="37"/>
                    <a:pt x="38" y="37"/>
                    <a:pt x="38" y="38"/>
                  </a:cubicBezTo>
                  <a:cubicBezTo>
                    <a:pt x="33" y="38"/>
                    <a:pt x="29" y="38"/>
                    <a:pt x="25" y="38"/>
                  </a:cubicBezTo>
                  <a:cubicBezTo>
                    <a:pt x="24" y="37"/>
                    <a:pt x="24" y="36"/>
                    <a:pt x="24" y="35"/>
                  </a:cubicBezTo>
                  <a:cubicBezTo>
                    <a:pt x="24" y="32"/>
                    <a:pt x="24" y="30"/>
                    <a:pt x="24" y="27"/>
                  </a:cubicBezTo>
                  <a:cubicBezTo>
                    <a:pt x="23" y="21"/>
                    <a:pt x="22" y="15"/>
                    <a:pt x="22" y="9"/>
                  </a:cubicBezTo>
                  <a:cubicBezTo>
                    <a:pt x="26" y="8"/>
                    <a:pt x="30" y="8"/>
                    <a:pt x="34" y="8"/>
                  </a:cubicBezTo>
                  <a:cubicBezTo>
                    <a:pt x="35" y="8"/>
                    <a:pt x="36" y="8"/>
                    <a:pt x="37" y="8"/>
                  </a:cubicBezTo>
                  <a:close/>
                  <a:moveTo>
                    <a:pt x="15" y="9"/>
                  </a:move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7" y="9"/>
                    <a:pt x="18" y="9"/>
                  </a:cubicBezTo>
                  <a:cubicBezTo>
                    <a:pt x="18" y="15"/>
                    <a:pt x="19" y="21"/>
                    <a:pt x="19" y="27"/>
                  </a:cubicBezTo>
                  <a:cubicBezTo>
                    <a:pt x="19" y="30"/>
                    <a:pt x="19" y="33"/>
                    <a:pt x="20" y="37"/>
                  </a:cubicBezTo>
                  <a:cubicBezTo>
                    <a:pt x="20" y="37"/>
                    <a:pt x="20" y="37"/>
                    <a:pt x="20" y="38"/>
                  </a:cubicBezTo>
                  <a:cubicBezTo>
                    <a:pt x="17" y="38"/>
                    <a:pt x="14" y="38"/>
                    <a:pt x="11" y="38"/>
                  </a:cubicBezTo>
                  <a:cubicBezTo>
                    <a:pt x="10" y="38"/>
                    <a:pt x="9" y="39"/>
                    <a:pt x="7" y="39"/>
                  </a:cubicBezTo>
                  <a:cubicBezTo>
                    <a:pt x="8" y="38"/>
                    <a:pt x="8" y="38"/>
                    <a:pt x="7" y="37"/>
                  </a:cubicBezTo>
                  <a:cubicBezTo>
                    <a:pt x="7" y="34"/>
                    <a:pt x="8" y="31"/>
                    <a:pt x="7" y="28"/>
                  </a:cubicBezTo>
                  <a:cubicBezTo>
                    <a:pt x="7" y="25"/>
                    <a:pt x="7" y="21"/>
                    <a:pt x="7" y="18"/>
                  </a:cubicBezTo>
                  <a:cubicBezTo>
                    <a:pt x="6" y="15"/>
                    <a:pt x="6" y="12"/>
                    <a:pt x="5" y="8"/>
                  </a:cubicBezTo>
                  <a:cubicBezTo>
                    <a:pt x="5" y="8"/>
                    <a:pt x="5" y="8"/>
                    <a:pt x="6" y="9"/>
                  </a:cubicBezTo>
                  <a:cubicBezTo>
                    <a:pt x="9" y="9"/>
                    <a:pt x="12" y="9"/>
                    <a:pt x="15" y="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iṥľiḍe"/>
            <p:cNvSpPr/>
            <p:nvPr/>
          </p:nvSpPr>
          <p:spPr bwMode="auto">
            <a:xfrm>
              <a:off x="5518643" y="3120567"/>
              <a:ext cx="233739" cy="250676"/>
            </a:xfrm>
            <a:custGeom>
              <a:avLst/>
              <a:gdLst>
                <a:gd name="T0" fmla="*/ 30 w 33"/>
                <a:gd name="T1" fmla="*/ 11 h 36"/>
                <a:gd name="T2" fmla="*/ 17 w 33"/>
                <a:gd name="T3" fmla="*/ 1 h 36"/>
                <a:gd name="T4" fmla="*/ 11 w 33"/>
                <a:gd name="T5" fmla="*/ 2 h 36"/>
                <a:gd name="T6" fmla="*/ 2 w 33"/>
                <a:gd name="T7" fmla="*/ 8 h 36"/>
                <a:gd name="T8" fmla="*/ 3 w 33"/>
                <a:gd name="T9" fmla="*/ 23 h 36"/>
                <a:gd name="T10" fmla="*/ 30 w 33"/>
                <a:gd name="T11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6">
                  <a:moveTo>
                    <a:pt x="30" y="11"/>
                  </a:moveTo>
                  <a:cubicBezTo>
                    <a:pt x="29" y="5"/>
                    <a:pt x="23" y="0"/>
                    <a:pt x="17" y="1"/>
                  </a:cubicBezTo>
                  <a:cubicBezTo>
                    <a:pt x="15" y="1"/>
                    <a:pt x="12" y="1"/>
                    <a:pt x="11" y="2"/>
                  </a:cubicBezTo>
                  <a:cubicBezTo>
                    <a:pt x="7" y="3"/>
                    <a:pt x="4" y="5"/>
                    <a:pt x="2" y="8"/>
                  </a:cubicBezTo>
                  <a:cubicBezTo>
                    <a:pt x="0" y="12"/>
                    <a:pt x="0" y="18"/>
                    <a:pt x="3" y="23"/>
                  </a:cubicBezTo>
                  <a:cubicBezTo>
                    <a:pt x="11" y="36"/>
                    <a:pt x="33" y="26"/>
                    <a:pt x="30" y="1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îśḷiḍé"/>
            <p:cNvSpPr/>
            <p:nvPr/>
          </p:nvSpPr>
          <p:spPr bwMode="auto">
            <a:xfrm>
              <a:off x="6138556" y="3120567"/>
              <a:ext cx="240514" cy="210025"/>
            </a:xfrm>
            <a:custGeom>
              <a:avLst/>
              <a:gdLst>
                <a:gd name="T0" fmla="*/ 19 w 34"/>
                <a:gd name="T1" fmla="*/ 28 h 30"/>
                <a:gd name="T2" fmla="*/ 31 w 34"/>
                <a:gd name="T3" fmla="*/ 10 h 30"/>
                <a:gd name="T4" fmla="*/ 14 w 34"/>
                <a:gd name="T5" fmla="*/ 0 h 30"/>
                <a:gd name="T6" fmla="*/ 7 w 34"/>
                <a:gd name="T7" fmla="*/ 3 h 30"/>
                <a:gd name="T8" fmla="*/ 4 w 34"/>
                <a:gd name="T9" fmla="*/ 5 h 30"/>
                <a:gd name="T10" fmla="*/ 0 w 34"/>
                <a:gd name="T11" fmla="*/ 15 h 30"/>
                <a:gd name="T12" fmla="*/ 19 w 34"/>
                <a:gd name="T13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0">
                  <a:moveTo>
                    <a:pt x="19" y="28"/>
                  </a:moveTo>
                  <a:cubicBezTo>
                    <a:pt x="27" y="27"/>
                    <a:pt x="34" y="18"/>
                    <a:pt x="31" y="10"/>
                  </a:cubicBezTo>
                  <a:cubicBezTo>
                    <a:pt x="29" y="3"/>
                    <a:pt x="20" y="0"/>
                    <a:pt x="14" y="0"/>
                  </a:cubicBezTo>
                  <a:cubicBezTo>
                    <a:pt x="11" y="0"/>
                    <a:pt x="8" y="1"/>
                    <a:pt x="7" y="3"/>
                  </a:cubicBezTo>
                  <a:cubicBezTo>
                    <a:pt x="6" y="3"/>
                    <a:pt x="5" y="4"/>
                    <a:pt x="4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4"/>
                    <a:pt x="11" y="30"/>
                    <a:pt x="19" y="2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ïṥliḑè"/>
            <p:cNvSpPr/>
            <p:nvPr/>
          </p:nvSpPr>
          <p:spPr bwMode="auto">
            <a:xfrm>
              <a:off x="5335717" y="4041970"/>
              <a:ext cx="1294029" cy="596201"/>
            </a:xfrm>
            <a:custGeom>
              <a:avLst/>
              <a:gdLst>
                <a:gd name="T0" fmla="*/ 177 w 184"/>
                <a:gd name="T1" fmla="*/ 2 h 85"/>
                <a:gd name="T2" fmla="*/ 152 w 184"/>
                <a:gd name="T3" fmla="*/ 1 h 85"/>
                <a:gd name="T4" fmla="*/ 126 w 184"/>
                <a:gd name="T5" fmla="*/ 1 h 85"/>
                <a:gd name="T6" fmla="*/ 75 w 184"/>
                <a:gd name="T7" fmla="*/ 1 h 85"/>
                <a:gd name="T8" fmla="*/ 50 w 184"/>
                <a:gd name="T9" fmla="*/ 1 h 85"/>
                <a:gd name="T10" fmla="*/ 25 w 184"/>
                <a:gd name="T11" fmla="*/ 1 h 85"/>
                <a:gd name="T12" fmla="*/ 6 w 184"/>
                <a:gd name="T13" fmla="*/ 4 h 85"/>
                <a:gd name="T14" fmla="*/ 2 w 184"/>
                <a:gd name="T15" fmla="*/ 17 h 85"/>
                <a:gd name="T16" fmla="*/ 2 w 184"/>
                <a:gd name="T17" fmla="*/ 17 h 85"/>
                <a:gd name="T18" fmla="*/ 1 w 184"/>
                <a:gd name="T19" fmla="*/ 27 h 85"/>
                <a:gd name="T20" fmla="*/ 2 w 184"/>
                <a:gd name="T21" fmla="*/ 45 h 85"/>
                <a:gd name="T22" fmla="*/ 2 w 184"/>
                <a:gd name="T23" fmla="*/ 63 h 85"/>
                <a:gd name="T24" fmla="*/ 2 w 184"/>
                <a:gd name="T25" fmla="*/ 76 h 85"/>
                <a:gd name="T26" fmla="*/ 2 w 184"/>
                <a:gd name="T27" fmla="*/ 80 h 85"/>
                <a:gd name="T28" fmla="*/ 21 w 184"/>
                <a:gd name="T29" fmla="*/ 84 h 85"/>
                <a:gd name="T30" fmla="*/ 42 w 184"/>
                <a:gd name="T31" fmla="*/ 84 h 85"/>
                <a:gd name="T32" fmla="*/ 88 w 184"/>
                <a:gd name="T33" fmla="*/ 84 h 85"/>
                <a:gd name="T34" fmla="*/ 111 w 184"/>
                <a:gd name="T35" fmla="*/ 83 h 85"/>
                <a:gd name="T36" fmla="*/ 135 w 184"/>
                <a:gd name="T37" fmla="*/ 83 h 85"/>
                <a:gd name="T38" fmla="*/ 159 w 184"/>
                <a:gd name="T39" fmla="*/ 82 h 85"/>
                <a:gd name="T40" fmla="*/ 179 w 184"/>
                <a:gd name="T41" fmla="*/ 77 h 85"/>
                <a:gd name="T42" fmla="*/ 180 w 184"/>
                <a:gd name="T43" fmla="*/ 75 h 85"/>
                <a:gd name="T44" fmla="*/ 182 w 184"/>
                <a:gd name="T45" fmla="*/ 69 h 85"/>
                <a:gd name="T46" fmla="*/ 182 w 184"/>
                <a:gd name="T47" fmla="*/ 59 h 85"/>
                <a:gd name="T48" fmla="*/ 182 w 184"/>
                <a:gd name="T49" fmla="*/ 49 h 85"/>
                <a:gd name="T50" fmla="*/ 182 w 184"/>
                <a:gd name="T51" fmla="*/ 39 h 85"/>
                <a:gd name="T52" fmla="*/ 183 w 184"/>
                <a:gd name="T53" fmla="*/ 20 h 85"/>
                <a:gd name="T54" fmla="*/ 180 w 184"/>
                <a:gd name="T55" fmla="*/ 2 h 85"/>
                <a:gd name="T56" fmla="*/ 177 w 184"/>
                <a:gd name="T57" fmla="*/ 2 h 85"/>
                <a:gd name="T58" fmla="*/ 155 w 184"/>
                <a:gd name="T59" fmla="*/ 73 h 85"/>
                <a:gd name="T60" fmla="*/ 155 w 184"/>
                <a:gd name="T61" fmla="*/ 73 h 85"/>
                <a:gd name="T62" fmla="*/ 132 w 184"/>
                <a:gd name="T63" fmla="*/ 75 h 85"/>
                <a:gd name="T64" fmla="*/ 110 w 184"/>
                <a:gd name="T65" fmla="*/ 75 h 85"/>
                <a:gd name="T66" fmla="*/ 88 w 184"/>
                <a:gd name="T67" fmla="*/ 76 h 85"/>
                <a:gd name="T68" fmla="*/ 44 w 184"/>
                <a:gd name="T69" fmla="*/ 76 h 85"/>
                <a:gd name="T70" fmla="*/ 24 w 184"/>
                <a:gd name="T71" fmla="*/ 75 h 85"/>
                <a:gd name="T72" fmla="*/ 14 w 184"/>
                <a:gd name="T73" fmla="*/ 76 h 85"/>
                <a:gd name="T74" fmla="*/ 9 w 184"/>
                <a:gd name="T75" fmla="*/ 76 h 85"/>
                <a:gd name="T76" fmla="*/ 10 w 184"/>
                <a:gd name="T77" fmla="*/ 63 h 85"/>
                <a:gd name="T78" fmla="*/ 8 w 184"/>
                <a:gd name="T79" fmla="*/ 45 h 85"/>
                <a:gd name="T80" fmla="*/ 7 w 184"/>
                <a:gd name="T81" fmla="*/ 27 h 85"/>
                <a:gd name="T82" fmla="*/ 6 w 184"/>
                <a:gd name="T83" fmla="*/ 20 h 85"/>
                <a:gd name="T84" fmla="*/ 7 w 184"/>
                <a:gd name="T85" fmla="*/ 19 h 85"/>
                <a:gd name="T86" fmla="*/ 9 w 184"/>
                <a:gd name="T87" fmla="*/ 12 h 85"/>
                <a:gd name="T88" fmla="*/ 9 w 184"/>
                <a:gd name="T89" fmla="*/ 11 h 85"/>
                <a:gd name="T90" fmla="*/ 10 w 184"/>
                <a:gd name="T91" fmla="*/ 11 h 85"/>
                <a:gd name="T92" fmla="*/ 10 w 184"/>
                <a:gd name="T93" fmla="*/ 11 h 85"/>
                <a:gd name="T94" fmla="*/ 14 w 184"/>
                <a:gd name="T95" fmla="*/ 10 h 85"/>
                <a:gd name="T96" fmla="*/ 36 w 184"/>
                <a:gd name="T97" fmla="*/ 10 h 85"/>
                <a:gd name="T98" fmla="*/ 83 w 184"/>
                <a:gd name="T99" fmla="*/ 10 h 85"/>
                <a:gd name="T100" fmla="*/ 130 w 184"/>
                <a:gd name="T101" fmla="*/ 9 h 85"/>
                <a:gd name="T102" fmla="*/ 174 w 184"/>
                <a:gd name="T103" fmla="*/ 7 h 85"/>
                <a:gd name="T104" fmla="*/ 175 w 184"/>
                <a:gd name="T105" fmla="*/ 7 h 85"/>
                <a:gd name="T106" fmla="*/ 176 w 184"/>
                <a:gd name="T107" fmla="*/ 13 h 85"/>
                <a:gd name="T108" fmla="*/ 175 w 184"/>
                <a:gd name="T109" fmla="*/ 22 h 85"/>
                <a:gd name="T110" fmla="*/ 174 w 184"/>
                <a:gd name="T111" fmla="*/ 41 h 85"/>
                <a:gd name="T112" fmla="*/ 174 w 184"/>
                <a:gd name="T113" fmla="*/ 62 h 85"/>
                <a:gd name="T114" fmla="*/ 173 w 184"/>
                <a:gd name="T115" fmla="*/ 72 h 85"/>
                <a:gd name="T116" fmla="*/ 155 w 184"/>
                <a:gd name="T117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4" h="85">
                  <a:moveTo>
                    <a:pt x="177" y="2"/>
                  </a:moveTo>
                  <a:cubicBezTo>
                    <a:pt x="169" y="2"/>
                    <a:pt x="160" y="1"/>
                    <a:pt x="152" y="1"/>
                  </a:cubicBezTo>
                  <a:cubicBezTo>
                    <a:pt x="143" y="0"/>
                    <a:pt x="135" y="0"/>
                    <a:pt x="126" y="1"/>
                  </a:cubicBezTo>
                  <a:cubicBezTo>
                    <a:pt x="109" y="1"/>
                    <a:pt x="92" y="1"/>
                    <a:pt x="75" y="1"/>
                  </a:cubicBezTo>
                  <a:cubicBezTo>
                    <a:pt x="67" y="2"/>
                    <a:pt x="58" y="1"/>
                    <a:pt x="50" y="1"/>
                  </a:cubicBezTo>
                  <a:cubicBezTo>
                    <a:pt x="42" y="1"/>
                    <a:pt x="33" y="1"/>
                    <a:pt x="25" y="1"/>
                  </a:cubicBezTo>
                  <a:cubicBezTo>
                    <a:pt x="19" y="1"/>
                    <a:pt x="12" y="1"/>
                    <a:pt x="6" y="4"/>
                  </a:cubicBezTo>
                  <a:cubicBezTo>
                    <a:pt x="2" y="7"/>
                    <a:pt x="0" y="12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20"/>
                    <a:pt x="1" y="23"/>
                    <a:pt x="1" y="27"/>
                  </a:cubicBezTo>
                  <a:cubicBezTo>
                    <a:pt x="1" y="33"/>
                    <a:pt x="1" y="39"/>
                    <a:pt x="2" y="45"/>
                  </a:cubicBezTo>
                  <a:cubicBezTo>
                    <a:pt x="2" y="51"/>
                    <a:pt x="2" y="57"/>
                    <a:pt x="2" y="63"/>
                  </a:cubicBezTo>
                  <a:cubicBezTo>
                    <a:pt x="2" y="67"/>
                    <a:pt x="1" y="72"/>
                    <a:pt x="2" y="76"/>
                  </a:cubicBezTo>
                  <a:cubicBezTo>
                    <a:pt x="1" y="77"/>
                    <a:pt x="1" y="79"/>
                    <a:pt x="2" y="80"/>
                  </a:cubicBezTo>
                  <a:cubicBezTo>
                    <a:pt x="7" y="84"/>
                    <a:pt x="15" y="84"/>
                    <a:pt x="21" y="84"/>
                  </a:cubicBezTo>
                  <a:cubicBezTo>
                    <a:pt x="28" y="83"/>
                    <a:pt x="34" y="84"/>
                    <a:pt x="42" y="84"/>
                  </a:cubicBezTo>
                  <a:cubicBezTo>
                    <a:pt x="57" y="85"/>
                    <a:pt x="72" y="85"/>
                    <a:pt x="88" y="84"/>
                  </a:cubicBezTo>
                  <a:cubicBezTo>
                    <a:pt x="96" y="84"/>
                    <a:pt x="103" y="84"/>
                    <a:pt x="111" y="83"/>
                  </a:cubicBezTo>
                  <a:cubicBezTo>
                    <a:pt x="119" y="83"/>
                    <a:pt x="127" y="83"/>
                    <a:pt x="135" y="83"/>
                  </a:cubicBezTo>
                  <a:cubicBezTo>
                    <a:pt x="143" y="84"/>
                    <a:pt x="151" y="83"/>
                    <a:pt x="159" y="82"/>
                  </a:cubicBezTo>
                  <a:cubicBezTo>
                    <a:pt x="165" y="81"/>
                    <a:pt x="174" y="82"/>
                    <a:pt x="179" y="77"/>
                  </a:cubicBezTo>
                  <a:cubicBezTo>
                    <a:pt x="180" y="77"/>
                    <a:pt x="180" y="76"/>
                    <a:pt x="180" y="75"/>
                  </a:cubicBezTo>
                  <a:cubicBezTo>
                    <a:pt x="182" y="74"/>
                    <a:pt x="182" y="71"/>
                    <a:pt x="182" y="69"/>
                  </a:cubicBezTo>
                  <a:cubicBezTo>
                    <a:pt x="182" y="66"/>
                    <a:pt x="182" y="62"/>
                    <a:pt x="182" y="59"/>
                  </a:cubicBezTo>
                  <a:cubicBezTo>
                    <a:pt x="183" y="55"/>
                    <a:pt x="182" y="52"/>
                    <a:pt x="182" y="49"/>
                  </a:cubicBezTo>
                  <a:cubicBezTo>
                    <a:pt x="182" y="45"/>
                    <a:pt x="182" y="42"/>
                    <a:pt x="182" y="39"/>
                  </a:cubicBezTo>
                  <a:cubicBezTo>
                    <a:pt x="183" y="32"/>
                    <a:pt x="183" y="26"/>
                    <a:pt x="183" y="20"/>
                  </a:cubicBezTo>
                  <a:cubicBezTo>
                    <a:pt x="184" y="14"/>
                    <a:pt x="184" y="7"/>
                    <a:pt x="180" y="2"/>
                  </a:cubicBezTo>
                  <a:cubicBezTo>
                    <a:pt x="180" y="2"/>
                    <a:pt x="178" y="1"/>
                    <a:pt x="177" y="2"/>
                  </a:cubicBezTo>
                  <a:close/>
                  <a:moveTo>
                    <a:pt x="155" y="73"/>
                  </a:moveTo>
                  <a:cubicBezTo>
                    <a:pt x="155" y="73"/>
                    <a:pt x="155" y="73"/>
                    <a:pt x="155" y="73"/>
                  </a:cubicBezTo>
                  <a:cubicBezTo>
                    <a:pt x="147" y="74"/>
                    <a:pt x="140" y="75"/>
                    <a:pt x="132" y="75"/>
                  </a:cubicBezTo>
                  <a:cubicBezTo>
                    <a:pt x="125" y="75"/>
                    <a:pt x="117" y="74"/>
                    <a:pt x="110" y="75"/>
                  </a:cubicBezTo>
                  <a:cubicBezTo>
                    <a:pt x="103" y="75"/>
                    <a:pt x="95" y="76"/>
                    <a:pt x="88" y="76"/>
                  </a:cubicBezTo>
                  <a:cubicBezTo>
                    <a:pt x="73" y="76"/>
                    <a:pt x="59" y="76"/>
                    <a:pt x="44" y="76"/>
                  </a:cubicBezTo>
                  <a:cubicBezTo>
                    <a:pt x="37" y="76"/>
                    <a:pt x="31" y="75"/>
                    <a:pt x="24" y="75"/>
                  </a:cubicBezTo>
                  <a:cubicBezTo>
                    <a:pt x="21" y="75"/>
                    <a:pt x="17" y="76"/>
                    <a:pt x="14" y="76"/>
                  </a:cubicBezTo>
                  <a:cubicBezTo>
                    <a:pt x="12" y="76"/>
                    <a:pt x="10" y="76"/>
                    <a:pt x="9" y="76"/>
                  </a:cubicBezTo>
                  <a:cubicBezTo>
                    <a:pt x="10" y="72"/>
                    <a:pt x="10" y="67"/>
                    <a:pt x="10" y="63"/>
                  </a:cubicBezTo>
                  <a:cubicBezTo>
                    <a:pt x="10" y="57"/>
                    <a:pt x="9" y="51"/>
                    <a:pt x="8" y="45"/>
                  </a:cubicBezTo>
                  <a:cubicBezTo>
                    <a:pt x="8" y="39"/>
                    <a:pt x="7" y="33"/>
                    <a:pt x="7" y="27"/>
                  </a:cubicBezTo>
                  <a:cubicBezTo>
                    <a:pt x="6" y="24"/>
                    <a:pt x="6" y="22"/>
                    <a:pt x="6" y="20"/>
                  </a:cubicBezTo>
                  <a:cubicBezTo>
                    <a:pt x="6" y="20"/>
                    <a:pt x="7" y="20"/>
                    <a:pt x="7" y="19"/>
                  </a:cubicBezTo>
                  <a:cubicBezTo>
                    <a:pt x="7" y="17"/>
                    <a:pt x="7" y="14"/>
                    <a:pt x="9" y="12"/>
                  </a:cubicBezTo>
                  <a:cubicBezTo>
                    <a:pt x="9" y="12"/>
                    <a:pt x="9" y="11"/>
                    <a:pt x="9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0"/>
                    <a:pt x="13" y="10"/>
                    <a:pt x="14" y="10"/>
                  </a:cubicBezTo>
                  <a:cubicBezTo>
                    <a:pt x="22" y="9"/>
                    <a:pt x="29" y="9"/>
                    <a:pt x="36" y="10"/>
                  </a:cubicBezTo>
                  <a:cubicBezTo>
                    <a:pt x="52" y="11"/>
                    <a:pt x="68" y="10"/>
                    <a:pt x="83" y="10"/>
                  </a:cubicBezTo>
                  <a:cubicBezTo>
                    <a:pt x="99" y="10"/>
                    <a:pt x="115" y="10"/>
                    <a:pt x="130" y="9"/>
                  </a:cubicBezTo>
                  <a:cubicBezTo>
                    <a:pt x="145" y="8"/>
                    <a:pt x="160" y="7"/>
                    <a:pt x="174" y="7"/>
                  </a:cubicBezTo>
                  <a:cubicBezTo>
                    <a:pt x="175" y="7"/>
                    <a:pt x="175" y="7"/>
                    <a:pt x="175" y="7"/>
                  </a:cubicBezTo>
                  <a:cubicBezTo>
                    <a:pt x="175" y="9"/>
                    <a:pt x="176" y="11"/>
                    <a:pt x="176" y="13"/>
                  </a:cubicBezTo>
                  <a:cubicBezTo>
                    <a:pt x="176" y="16"/>
                    <a:pt x="175" y="19"/>
                    <a:pt x="175" y="22"/>
                  </a:cubicBezTo>
                  <a:cubicBezTo>
                    <a:pt x="174" y="28"/>
                    <a:pt x="174" y="35"/>
                    <a:pt x="174" y="41"/>
                  </a:cubicBezTo>
                  <a:cubicBezTo>
                    <a:pt x="174" y="48"/>
                    <a:pt x="174" y="55"/>
                    <a:pt x="174" y="62"/>
                  </a:cubicBezTo>
                  <a:cubicBezTo>
                    <a:pt x="173" y="65"/>
                    <a:pt x="173" y="68"/>
                    <a:pt x="173" y="72"/>
                  </a:cubicBezTo>
                  <a:cubicBezTo>
                    <a:pt x="167" y="73"/>
                    <a:pt x="161" y="73"/>
                    <a:pt x="155" y="7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ïs1iďe"/>
            <p:cNvSpPr/>
            <p:nvPr/>
          </p:nvSpPr>
          <p:spPr bwMode="auto">
            <a:xfrm>
              <a:off x="5362817" y="4651721"/>
              <a:ext cx="64364" cy="162600"/>
            </a:xfrm>
            <a:custGeom>
              <a:avLst/>
              <a:gdLst>
                <a:gd name="T0" fmla="*/ 7 w 9"/>
                <a:gd name="T1" fmla="*/ 2 h 23"/>
                <a:gd name="T2" fmla="*/ 3 w 9"/>
                <a:gd name="T3" fmla="*/ 1 h 23"/>
                <a:gd name="T4" fmla="*/ 1 w 9"/>
                <a:gd name="T5" fmla="*/ 9 h 23"/>
                <a:gd name="T6" fmla="*/ 1 w 9"/>
                <a:gd name="T7" fmla="*/ 19 h 23"/>
                <a:gd name="T8" fmla="*/ 8 w 9"/>
                <a:gd name="T9" fmla="*/ 19 h 23"/>
                <a:gd name="T10" fmla="*/ 8 w 9"/>
                <a:gd name="T11" fmla="*/ 10 h 23"/>
                <a:gd name="T12" fmla="*/ 7 w 9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3">
                  <a:moveTo>
                    <a:pt x="7" y="2"/>
                  </a:moveTo>
                  <a:cubicBezTo>
                    <a:pt x="7" y="0"/>
                    <a:pt x="4" y="0"/>
                    <a:pt x="3" y="1"/>
                  </a:cubicBezTo>
                  <a:cubicBezTo>
                    <a:pt x="1" y="4"/>
                    <a:pt x="1" y="6"/>
                    <a:pt x="1" y="9"/>
                  </a:cubicBezTo>
                  <a:cubicBezTo>
                    <a:pt x="0" y="13"/>
                    <a:pt x="0" y="16"/>
                    <a:pt x="1" y="19"/>
                  </a:cubicBezTo>
                  <a:cubicBezTo>
                    <a:pt x="1" y="23"/>
                    <a:pt x="7" y="23"/>
                    <a:pt x="8" y="19"/>
                  </a:cubicBezTo>
                  <a:cubicBezTo>
                    <a:pt x="9" y="16"/>
                    <a:pt x="8" y="13"/>
                    <a:pt x="8" y="10"/>
                  </a:cubicBezTo>
                  <a:cubicBezTo>
                    <a:pt x="8" y="7"/>
                    <a:pt x="7" y="5"/>
                    <a:pt x="7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íṡ1îḓê"/>
            <p:cNvSpPr/>
            <p:nvPr/>
          </p:nvSpPr>
          <p:spPr bwMode="auto">
            <a:xfrm>
              <a:off x="5467829" y="4644946"/>
              <a:ext cx="64364" cy="169375"/>
            </a:xfrm>
            <a:custGeom>
              <a:avLst/>
              <a:gdLst>
                <a:gd name="T0" fmla="*/ 2 w 9"/>
                <a:gd name="T1" fmla="*/ 3 h 24"/>
                <a:gd name="T2" fmla="*/ 1 w 9"/>
                <a:gd name="T3" fmla="*/ 20 h 24"/>
                <a:gd name="T4" fmla="*/ 4 w 9"/>
                <a:gd name="T5" fmla="*/ 24 h 24"/>
                <a:gd name="T6" fmla="*/ 6 w 9"/>
                <a:gd name="T7" fmla="*/ 24 h 24"/>
                <a:gd name="T8" fmla="*/ 9 w 9"/>
                <a:gd name="T9" fmla="*/ 20 h 24"/>
                <a:gd name="T10" fmla="*/ 7 w 9"/>
                <a:gd name="T11" fmla="*/ 3 h 24"/>
                <a:gd name="T12" fmla="*/ 2 w 9"/>
                <a:gd name="T13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4">
                  <a:moveTo>
                    <a:pt x="2" y="3"/>
                  </a:moveTo>
                  <a:cubicBezTo>
                    <a:pt x="0" y="8"/>
                    <a:pt x="1" y="14"/>
                    <a:pt x="1" y="20"/>
                  </a:cubicBezTo>
                  <a:cubicBezTo>
                    <a:pt x="1" y="21"/>
                    <a:pt x="2" y="23"/>
                    <a:pt x="4" y="24"/>
                  </a:cubicBezTo>
                  <a:cubicBezTo>
                    <a:pt x="5" y="24"/>
                    <a:pt x="5" y="24"/>
                    <a:pt x="6" y="24"/>
                  </a:cubicBezTo>
                  <a:cubicBezTo>
                    <a:pt x="8" y="23"/>
                    <a:pt x="9" y="21"/>
                    <a:pt x="9" y="20"/>
                  </a:cubicBezTo>
                  <a:cubicBezTo>
                    <a:pt x="9" y="14"/>
                    <a:pt x="9" y="8"/>
                    <a:pt x="7" y="3"/>
                  </a:cubicBezTo>
                  <a:cubicBezTo>
                    <a:pt x="6" y="0"/>
                    <a:pt x="3" y="0"/>
                    <a:pt x="2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íśḷíḓe"/>
            <p:cNvSpPr/>
            <p:nvPr/>
          </p:nvSpPr>
          <p:spPr bwMode="auto">
            <a:xfrm>
              <a:off x="5596554" y="4644946"/>
              <a:ext cx="64364" cy="176150"/>
            </a:xfrm>
            <a:custGeom>
              <a:avLst/>
              <a:gdLst>
                <a:gd name="T0" fmla="*/ 6 w 9"/>
                <a:gd name="T1" fmla="*/ 3 h 25"/>
                <a:gd name="T2" fmla="*/ 2 w 9"/>
                <a:gd name="T3" fmla="*/ 3 h 25"/>
                <a:gd name="T4" fmla="*/ 1 w 9"/>
                <a:gd name="T5" fmla="*/ 13 h 25"/>
                <a:gd name="T6" fmla="*/ 3 w 9"/>
                <a:gd name="T7" fmla="*/ 23 h 25"/>
                <a:gd name="T8" fmla="*/ 9 w 9"/>
                <a:gd name="T9" fmla="*/ 21 h 25"/>
                <a:gd name="T10" fmla="*/ 9 w 9"/>
                <a:gd name="T11" fmla="*/ 13 h 25"/>
                <a:gd name="T12" fmla="*/ 6 w 9"/>
                <a:gd name="T13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5">
                  <a:moveTo>
                    <a:pt x="6" y="3"/>
                  </a:moveTo>
                  <a:cubicBezTo>
                    <a:pt x="6" y="0"/>
                    <a:pt x="2" y="0"/>
                    <a:pt x="2" y="3"/>
                  </a:cubicBezTo>
                  <a:cubicBezTo>
                    <a:pt x="1" y="6"/>
                    <a:pt x="1" y="9"/>
                    <a:pt x="1" y="13"/>
                  </a:cubicBezTo>
                  <a:cubicBezTo>
                    <a:pt x="0" y="16"/>
                    <a:pt x="0" y="20"/>
                    <a:pt x="3" y="23"/>
                  </a:cubicBezTo>
                  <a:cubicBezTo>
                    <a:pt x="5" y="25"/>
                    <a:pt x="8" y="24"/>
                    <a:pt x="9" y="21"/>
                  </a:cubicBezTo>
                  <a:cubicBezTo>
                    <a:pt x="9" y="18"/>
                    <a:pt x="9" y="15"/>
                    <a:pt x="9" y="13"/>
                  </a:cubicBezTo>
                  <a:cubicBezTo>
                    <a:pt x="9" y="9"/>
                    <a:pt x="7" y="6"/>
                    <a:pt x="6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ïśḻíḍê"/>
            <p:cNvSpPr/>
            <p:nvPr/>
          </p:nvSpPr>
          <p:spPr bwMode="auto">
            <a:xfrm>
              <a:off x="6453595" y="4651721"/>
              <a:ext cx="115175" cy="84689"/>
            </a:xfrm>
            <a:custGeom>
              <a:avLst/>
              <a:gdLst>
                <a:gd name="T0" fmla="*/ 8 w 16"/>
                <a:gd name="T1" fmla="*/ 0 h 12"/>
                <a:gd name="T2" fmla="*/ 8 w 16"/>
                <a:gd name="T3" fmla="*/ 12 h 12"/>
                <a:gd name="T4" fmla="*/ 8 w 1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cubicBezTo>
                    <a:pt x="0" y="0"/>
                    <a:pt x="0" y="12"/>
                    <a:pt x="8" y="12"/>
                  </a:cubicBezTo>
                  <a:cubicBezTo>
                    <a:pt x="16" y="12"/>
                    <a:pt x="16" y="0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iŝľíḑè"/>
            <p:cNvSpPr/>
            <p:nvPr/>
          </p:nvSpPr>
          <p:spPr bwMode="auto">
            <a:xfrm>
              <a:off x="6341806" y="4651721"/>
              <a:ext cx="91464" cy="9146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íṣ1íďé"/>
            <p:cNvSpPr/>
            <p:nvPr/>
          </p:nvSpPr>
          <p:spPr bwMode="auto">
            <a:xfrm>
              <a:off x="6185981" y="4651721"/>
              <a:ext cx="91464" cy="9146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ïşḷíḓe"/>
            <p:cNvSpPr/>
            <p:nvPr/>
          </p:nvSpPr>
          <p:spPr bwMode="auto">
            <a:xfrm>
              <a:off x="3899413" y="3852269"/>
              <a:ext cx="4386826" cy="1453242"/>
            </a:xfrm>
            <a:custGeom>
              <a:avLst/>
              <a:gdLst>
                <a:gd name="T0" fmla="*/ 609 w 623"/>
                <a:gd name="T1" fmla="*/ 82 h 207"/>
                <a:gd name="T2" fmla="*/ 597 w 623"/>
                <a:gd name="T3" fmla="*/ 78 h 207"/>
                <a:gd name="T4" fmla="*/ 586 w 623"/>
                <a:gd name="T5" fmla="*/ 72 h 207"/>
                <a:gd name="T6" fmla="*/ 575 w 623"/>
                <a:gd name="T7" fmla="*/ 62 h 207"/>
                <a:gd name="T8" fmla="*/ 578 w 623"/>
                <a:gd name="T9" fmla="*/ 59 h 207"/>
                <a:gd name="T10" fmla="*/ 561 w 623"/>
                <a:gd name="T11" fmla="*/ 61 h 207"/>
                <a:gd name="T12" fmla="*/ 547 w 623"/>
                <a:gd name="T13" fmla="*/ 79 h 207"/>
                <a:gd name="T14" fmla="*/ 505 w 623"/>
                <a:gd name="T15" fmla="*/ 84 h 207"/>
                <a:gd name="T16" fmla="*/ 456 w 623"/>
                <a:gd name="T17" fmla="*/ 64 h 207"/>
                <a:gd name="T18" fmla="*/ 407 w 623"/>
                <a:gd name="T19" fmla="*/ 0 h 207"/>
                <a:gd name="T20" fmla="*/ 288 w 623"/>
                <a:gd name="T21" fmla="*/ 3 h 207"/>
                <a:gd name="T22" fmla="*/ 218 w 623"/>
                <a:gd name="T23" fmla="*/ 6 h 207"/>
                <a:gd name="T24" fmla="*/ 176 w 623"/>
                <a:gd name="T25" fmla="*/ 18 h 207"/>
                <a:gd name="T26" fmla="*/ 155 w 623"/>
                <a:gd name="T27" fmla="*/ 34 h 207"/>
                <a:gd name="T28" fmla="*/ 121 w 623"/>
                <a:gd name="T29" fmla="*/ 44 h 207"/>
                <a:gd name="T30" fmla="*/ 91 w 623"/>
                <a:gd name="T31" fmla="*/ 66 h 207"/>
                <a:gd name="T32" fmla="*/ 51 w 623"/>
                <a:gd name="T33" fmla="*/ 62 h 207"/>
                <a:gd name="T34" fmla="*/ 42 w 623"/>
                <a:gd name="T35" fmla="*/ 37 h 207"/>
                <a:gd name="T36" fmla="*/ 24 w 623"/>
                <a:gd name="T37" fmla="*/ 68 h 207"/>
                <a:gd name="T38" fmla="*/ 3 w 623"/>
                <a:gd name="T39" fmla="*/ 66 h 207"/>
                <a:gd name="T40" fmla="*/ 18 w 623"/>
                <a:gd name="T41" fmla="*/ 83 h 207"/>
                <a:gd name="T42" fmla="*/ 21 w 623"/>
                <a:gd name="T43" fmla="*/ 91 h 207"/>
                <a:gd name="T44" fmla="*/ 14 w 623"/>
                <a:gd name="T45" fmla="*/ 114 h 207"/>
                <a:gd name="T46" fmla="*/ 28 w 623"/>
                <a:gd name="T47" fmla="*/ 101 h 207"/>
                <a:gd name="T48" fmla="*/ 42 w 623"/>
                <a:gd name="T49" fmla="*/ 117 h 207"/>
                <a:gd name="T50" fmla="*/ 65 w 623"/>
                <a:gd name="T51" fmla="*/ 82 h 207"/>
                <a:gd name="T52" fmla="*/ 130 w 623"/>
                <a:gd name="T53" fmla="*/ 85 h 207"/>
                <a:gd name="T54" fmla="*/ 146 w 623"/>
                <a:gd name="T55" fmla="*/ 57 h 207"/>
                <a:gd name="T56" fmla="*/ 163 w 623"/>
                <a:gd name="T57" fmla="*/ 44 h 207"/>
                <a:gd name="T58" fmla="*/ 176 w 623"/>
                <a:gd name="T59" fmla="*/ 71 h 207"/>
                <a:gd name="T60" fmla="*/ 301 w 623"/>
                <a:gd name="T61" fmla="*/ 205 h 207"/>
                <a:gd name="T62" fmla="*/ 357 w 623"/>
                <a:gd name="T63" fmla="*/ 190 h 207"/>
                <a:gd name="T64" fmla="*/ 411 w 623"/>
                <a:gd name="T65" fmla="*/ 67 h 207"/>
                <a:gd name="T66" fmla="*/ 451 w 623"/>
                <a:gd name="T67" fmla="*/ 76 h 207"/>
                <a:gd name="T68" fmla="*/ 503 w 623"/>
                <a:gd name="T69" fmla="*/ 95 h 207"/>
                <a:gd name="T70" fmla="*/ 569 w 623"/>
                <a:gd name="T71" fmla="*/ 111 h 207"/>
                <a:gd name="T72" fmla="*/ 592 w 623"/>
                <a:gd name="T73" fmla="*/ 115 h 207"/>
                <a:gd name="T74" fmla="*/ 591 w 623"/>
                <a:gd name="T75" fmla="*/ 109 h 207"/>
                <a:gd name="T76" fmla="*/ 608 w 623"/>
                <a:gd name="T77" fmla="*/ 102 h 207"/>
                <a:gd name="T78" fmla="*/ 617 w 623"/>
                <a:gd name="T79" fmla="*/ 93 h 207"/>
                <a:gd name="T80" fmla="*/ 49 w 623"/>
                <a:gd name="T81" fmla="*/ 88 h 207"/>
                <a:gd name="T82" fmla="*/ 33 w 623"/>
                <a:gd name="T83" fmla="*/ 74 h 207"/>
                <a:gd name="T84" fmla="*/ 128 w 623"/>
                <a:gd name="T85" fmla="*/ 68 h 207"/>
                <a:gd name="T86" fmla="*/ 120 w 623"/>
                <a:gd name="T87" fmla="*/ 55 h 207"/>
                <a:gd name="T88" fmla="*/ 399 w 623"/>
                <a:gd name="T89" fmla="*/ 58 h 207"/>
                <a:gd name="T90" fmla="*/ 378 w 623"/>
                <a:gd name="T91" fmla="*/ 144 h 207"/>
                <a:gd name="T92" fmla="*/ 339 w 623"/>
                <a:gd name="T93" fmla="*/ 185 h 207"/>
                <a:gd name="T94" fmla="*/ 228 w 623"/>
                <a:gd name="T95" fmla="*/ 176 h 207"/>
                <a:gd name="T96" fmla="*/ 187 w 623"/>
                <a:gd name="T97" fmla="*/ 23 h 207"/>
                <a:gd name="T98" fmla="*/ 202 w 623"/>
                <a:gd name="T99" fmla="*/ 18 h 207"/>
                <a:gd name="T100" fmla="*/ 286 w 623"/>
                <a:gd name="T101" fmla="*/ 16 h 207"/>
                <a:gd name="T102" fmla="*/ 400 w 623"/>
                <a:gd name="T103" fmla="*/ 28 h 207"/>
                <a:gd name="T104" fmla="*/ 475 w 623"/>
                <a:gd name="T105" fmla="*/ 93 h 207"/>
                <a:gd name="T106" fmla="*/ 492 w 623"/>
                <a:gd name="T107" fmla="*/ 86 h 207"/>
                <a:gd name="T108" fmla="*/ 570 w 623"/>
                <a:gd name="T109" fmla="*/ 97 h 207"/>
                <a:gd name="T110" fmla="*/ 561 w 623"/>
                <a:gd name="T111" fmla="*/ 95 h 207"/>
                <a:gd name="T112" fmla="*/ 579 w 623"/>
                <a:gd name="T113" fmla="*/ 84 h 207"/>
                <a:gd name="T114" fmla="*/ 583 w 623"/>
                <a:gd name="T115" fmla="*/ 88 h 207"/>
                <a:gd name="T116" fmla="*/ 582 w 623"/>
                <a:gd name="T117" fmla="*/ 90 h 207"/>
                <a:gd name="T118" fmla="*/ 579 w 623"/>
                <a:gd name="T119" fmla="*/ 94 h 207"/>
                <a:gd name="T120" fmla="*/ 571 w 623"/>
                <a:gd name="T121" fmla="*/ 9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23" h="207">
                  <a:moveTo>
                    <a:pt x="614" y="81"/>
                  </a:moveTo>
                  <a:cubicBezTo>
                    <a:pt x="613" y="81"/>
                    <a:pt x="612" y="81"/>
                    <a:pt x="611" y="81"/>
                  </a:cubicBezTo>
                  <a:cubicBezTo>
                    <a:pt x="611" y="81"/>
                    <a:pt x="611" y="81"/>
                    <a:pt x="610" y="81"/>
                  </a:cubicBezTo>
                  <a:cubicBezTo>
                    <a:pt x="610" y="82"/>
                    <a:pt x="610" y="82"/>
                    <a:pt x="609" y="82"/>
                  </a:cubicBezTo>
                  <a:cubicBezTo>
                    <a:pt x="607" y="82"/>
                    <a:pt x="604" y="82"/>
                    <a:pt x="602" y="82"/>
                  </a:cubicBezTo>
                  <a:cubicBezTo>
                    <a:pt x="600" y="82"/>
                    <a:pt x="598" y="82"/>
                    <a:pt x="595" y="83"/>
                  </a:cubicBezTo>
                  <a:cubicBezTo>
                    <a:pt x="595" y="82"/>
                    <a:pt x="595" y="81"/>
                    <a:pt x="594" y="80"/>
                  </a:cubicBezTo>
                  <a:cubicBezTo>
                    <a:pt x="595" y="79"/>
                    <a:pt x="596" y="79"/>
                    <a:pt x="597" y="78"/>
                  </a:cubicBezTo>
                  <a:cubicBezTo>
                    <a:pt x="602" y="75"/>
                    <a:pt x="607" y="73"/>
                    <a:pt x="610" y="68"/>
                  </a:cubicBezTo>
                  <a:cubicBezTo>
                    <a:pt x="614" y="62"/>
                    <a:pt x="605" y="55"/>
                    <a:pt x="600" y="60"/>
                  </a:cubicBezTo>
                  <a:cubicBezTo>
                    <a:pt x="597" y="63"/>
                    <a:pt x="594" y="65"/>
                    <a:pt x="590" y="68"/>
                  </a:cubicBezTo>
                  <a:cubicBezTo>
                    <a:pt x="589" y="69"/>
                    <a:pt x="587" y="70"/>
                    <a:pt x="586" y="72"/>
                  </a:cubicBezTo>
                  <a:cubicBezTo>
                    <a:pt x="583" y="71"/>
                    <a:pt x="581" y="70"/>
                    <a:pt x="579" y="69"/>
                  </a:cubicBezTo>
                  <a:cubicBezTo>
                    <a:pt x="577" y="69"/>
                    <a:pt x="574" y="68"/>
                    <a:pt x="571" y="68"/>
                  </a:cubicBezTo>
                  <a:cubicBezTo>
                    <a:pt x="572" y="67"/>
                    <a:pt x="572" y="67"/>
                    <a:pt x="572" y="67"/>
                  </a:cubicBezTo>
                  <a:cubicBezTo>
                    <a:pt x="573" y="66"/>
                    <a:pt x="574" y="64"/>
                    <a:pt x="575" y="62"/>
                  </a:cubicBezTo>
                  <a:cubicBezTo>
                    <a:pt x="576" y="61"/>
                    <a:pt x="576" y="61"/>
                    <a:pt x="576" y="60"/>
                  </a:cubicBezTo>
                  <a:cubicBezTo>
                    <a:pt x="577" y="60"/>
                    <a:pt x="577" y="60"/>
                    <a:pt x="577" y="59"/>
                  </a:cubicBezTo>
                  <a:cubicBezTo>
                    <a:pt x="577" y="59"/>
                    <a:pt x="578" y="59"/>
                    <a:pt x="578" y="59"/>
                  </a:cubicBezTo>
                  <a:cubicBezTo>
                    <a:pt x="578" y="59"/>
                    <a:pt x="578" y="59"/>
                    <a:pt x="578" y="59"/>
                  </a:cubicBezTo>
                  <a:cubicBezTo>
                    <a:pt x="580" y="57"/>
                    <a:pt x="582" y="54"/>
                    <a:pt x="581" y="51"/>
                  </a:cubicBezTo>
                  <a:cubicBezTo>
                    <a:pt x="580" y="48"/>
                    <a:pt x="576" y="45"/>
                    <a:pt x="573" y="47"/>
                  </a:cubicBezTo>
                  <a:cubicBezTo>
                    <a:pt x="567" y="49"/>
                    <a:pt x="565" y="54"/>
                    <a:pt x="562" y="59"/>
                  </a:cubicBezTo>
                  <a:cubicBezTo>
                    <a:pt x="562" y="60"/>
                    <a:pt x="561" y="61"/>
                    <a:pt x="561" y="61"/>
                  </a:cubicBezTo>
                  <a:cubicBezTo>
                    <a:pt x="560" y="62"/>
                    <a:pt x="560" y="63"/>
                    <a:pt x="560" y="63"/>
                  </a:cubicBezTo>
                  <a:cubicBezTo>
                    <a:pt x="561" y="62"/>
                    <a:pt x="560" y="64"/>
                    <a:pt x="560" y="64"/>
                  </a:cubicBezTo>
                  <a:cubicBezTo>
                    <a:pt x="559" y="66"/>
                    <a:pt x="558" y="67"/>
                    <a:pt x="557" y="69"/>
                  </a:cubicBezTo>
                  <a:cubicBezTo>
                    <a:pt x="552" y="71"/>
                    <a:pt x="549" y="75"/>
                    <a:pt x="547" y="79"/>
                  </a:cubicBezTo>
                  <a:cubicBezTo>
                    <a:pt x="547" y="79"/>
                    <a:pt x="547" y="79"/>
                    <a:pt x="547" y="79"/>
                  </a:cubicBezTo>
                  <a:cubicBezTo>
                    <a:pt x="539" y="80"/>
                    <a:pt x="531" y="80"/>
                    <a:pt x="523" y="82"/>
                  </a:cubicBezTo>
                  <a:cubicBezTo>
                    <a:pt x="519" y="82"/>
                    <a:pt x="514" y="83"/>
                    <a:pt x="510" y="84"/>
                  </a:cubicBezTo>
                  <a:cubicBezTo>
                    <a:pt x="508" y="84"/>
                    <a:pt x="507" y="84"/>
                    <a:pt x="505" y="84"/>
                  </a:cubicBezTo>
                  <a:cubicBezTo>
                    <a:pt x="505" y="79"/>
                    <a:pt x="503" y="75"/>
                    <a:pt x="500" y="72"/>
                  </a:cubicBezTo>
                  <a:cubicBezTo>
                    <a:pt x="494" y="65"/>
                    <a:pt x="485" y="65"/>
                    <a:pt x="477" y="66"/>
                  </a:cubicBezTo>
                  <a:cubicBezTo>
                    <a:pt x="472" y="64"/>
                    <a:pt x="467" y="66"/>
                    <a:pt x="463" y="70"/>
                  </a:cubicBezTo>
                  <a:cubicBezTo>
                    <a:pt x="461" y="68"/>
                    <a:pt x="458" y="66"/>
                    <a:pt x="456" y="64"/>
                  </a:cubicBezTo>
                  <a:cubicBezTo>
                    <a:pt x="449" y="58"/>
                    <a:pt x="444" y="50"/>
                    <a:pt x="438" y="43"/>
                  </a:cubicBezTo>
                  <a:cubicBezTo>
                    <a:pt x="429" y="34"/>
                    <a:pt x="417" y="27"/>
                    <a:pt x="411" y="15"/>
                  </a:cubicBezTo>
                  <a:cubicBezTo>
                    <a:pt x="411" y="14"/>
                    <a:pt x="411" y="13"/>
                    <a:pt x="411" y="12"/>
                  </a:cubicBezTo>
                  <a:cubicBezTo>
                    <a:pt x="415" y="8"/>
                    <a:pt x="414" y="0"/>
                    <a:pt x="407" y="0"/>
                  </a:cubicBezTo>
                  <a:cubicBezTo>
                    <a:pt x="397" y="0"/>
                    <a:pt x="388" y="1"/>
                    <a:pt x="379" y="1"/>
                  </a:cubicBezTo>
                  <a:cubicBezTo>
                    <a:pt x="369" y="2"/>
                    <a:pt x="358" y="1"/>
                    <a:pt x="349" y="1"/>
                  </a:cubicBezTo>
                  <a:cubicBezTo>
                    <a:pt x="338" y="2"/>
                    <a:pt x="328" y="3"/>
                    <a:pt x="318" y="3"/>
                  </a:cubicBezTo>
                  <a:cubicBezTo>
                    <a:pt x="308" y="3"/>
                    <a:pt x="298" y="3"/>
                    <a:pt x="288" y="3"/>
                  </a:cubicBezTo>
                  <a:cubicBezTo>
                    <a:pt x="279" y="4"/>
                    <a:pt x="269" y="4"/>
                    <a:pt x="259" y="5"/>
                  </a:cubicBezTo>
                  <a:cubicBezTo>
                    <a:pt x="254" y="5"/>
                    <a:pt x="250" y="5"/>
                    <a:pt x="245" y="5"/>
                  </a:cubicBezTo>
                  <a:cubicBezTo>
                    <a:pt x="240" y="5"/>
                    <a:pt x="235" y="6"/>
                    <a:pt x="230" y="6"/>
                  </a:cubicBezTo>
                  <a:cubicBezTo>
                    <a:pt x="226" y="7"/>
                    <a:pt x="222" y="6"/>
                    <a:pt x="218" y="6"/>
                  </a:cubicBezTo>
                  <a:cubicBezTo>
                    <a:pt x="214" y="6"/>
                    <a:pt x="210" y="7"/>
                    <a:pt x="205" y="7"/>
                  </a:cubicBezTo>
                  <a:cubicBezTo>
                    <a:pt x="198" y="7"/>
                    <a:pt x="190" y="6"/>
                    <a:pt x="182" y="5"/>
                  </a:cubicBezTo>
                  <a:cubicBezTo>
                    <a:pt x="181" y="5"/>
                    <a:pt x="180" y="5"/>
                    <a:pt x="179" y="6"/>
                  </a:cubicBezTo>
                  <a:cubicBezTo>
                    <a:pt x="177" y="10"/>
                    <a:pt x="176" y="14"/>
                    <a:pt x="176" y="18"/>
                  </a:cubicBezTo>
                  <a:cubicBezTo>
                    <a:pt x="173" y="21"/>
                    <a:pt x="169" y="24"/>
                    <a:pt x="165" y="26"/>
                  </a:cubicBezTo>
                  <a:cubicBezTo>
                    <a:pt x="162" y="28"/>
                    <a:pt x="160" y="30"/>
                    <a:pt x="158" y="31"/>
                  </a:cubicBezTo>
                  <a:cubicBezTo>
                    <a:pt x="160" y="30"/>
                    <a:pt x="158" y="32"/>
                    <a:pt x="157" y="32"/>
                  </a:cubicBezTo>
                  <a:cubicBezTo>
                    <a:pt x="156" y="33"/>
                    <a:pt x="155" y="33"/>
                    <a:pt x="155" y="34"/>
                  </a:cubicBezTo>
                  <a:cubicBezTo>
                    <a:pt x="150" y="37"/>
                    <a:pt x="146" y="40"/>
                    <a:pt x="142" y="43"/>
                  </a:cubicBezTo>
                  <a:cubicBezTo>
                    <a:pt x="141" y="44"/>
                    <a:pt x="138" y="46"/>
                    <a:pt x="136" y="48"/>
                  </a:cubicBezTo>
                  <a:cubicBezTo>
                    <a:pt x="132" y="45"/>
                    <a:pt x="128" y="44"/>
                    <a:pt x="124" y="44"/>
                  </a:cubicBezTo>
                  <a:cubicBezTo>
                    <a:pt x="123" y="44"/>
                    <a:pt x="122" y="44"/>
                    <a:pt x="121" y="44"/>
                  </a:cubicBezTo>
                  <a:cubicBezTo>
                    <a:pt x="120" y="43"/>
                    <a:pt x="119" y="43"/>
                    <a:pt x="118" y="43"/>
                  </a:cubicBezTo>
                  <a:cubicBezTo>
                    <a:pt x="110" y="42"/>
                    <a:pt x="102" y="50"/>
                    <a:pt x="99" y="58"/>
                  </a:cubicBezTo>
                  <a:cubicBezTo>
                    <a:pt x="98" y="60"/>
                    <a:pt x="98" y="63"/>
                    <a:pt x="98" y="66"/>
                  </a:cubicBezTo>
                  <a:cubicBezTo>
                    <a:pt x="95" y="66"/>
                    <a:pt x="93" y="66"/>
                    <a:pt x="91" y="66"/>
                  </a:cubicBezTo>
                  <a:cubicBezTo>
                    <a:pt x="85" y="67"/>
                    <a:pt x="80" y="67"/>
                    <a:pt x="75" y="67"/>
                  </a:cubicBezTo>
                  <a:cubicBezTo>
                    <a:pt x="71" y="68"/>
                    <a:pt x="67" y="69"/>
                    <a:pt x="63" y="69"/>
                  </a:cubicBezTo>
                  <a:cubicBezTo>
                    <a:pt x="62" y="69"/>
                    <a:pt x="62" y="69"/>
                    <a:pt x="61" y="69"/>
                  </a:cubicBezTo>
                  <a:cubicBezTo>
                    <a:pt x="58" y="66"/>
                    <a:pt x="54" y="64"/>
                    <a:pt x="51" y="62"/>
                  </a:cubicBezTo>
                  <a:cubicBezTo>
                    <a:pt x="49" y="62"/>
                    <a:pt x="48" y="61"/>
                    <a:pt x="46" y="61"/>
                  </a:cubicBezTo>
                  <a:cubicBezTo>
                    <a:pt x="46" y="59"/>
                    <a:pt x="46" y="56"/>
                    <a:pt x="47" y="53"/>
                  </a:cubicBezTo>
                  <a:cubicBezTo>
                    <a:pt x="47" y="50"/>
                    <a:pt x="48" y="45"/>
                    <a:pt x="48" y="41"/>
                  </a:cubicBezTo>
                  <a:cubicBezTo>
                    <a:pt x="48" y="39"/>
                    <a:pt x="45" y="36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39" y="38"/>
                    <a:pt x="38" y="41"/>
                    <a:pt x="39" y="43"/>
                  </a:cubicBezTo>
                  <a:cubicBezTo>
                    <a:pt x="38" y="48"/>
                    <a:pt x="36" y="55"/>
                    <a:pt x="38" y="61"/>
                  </a:cubicBezTo>
                  <a:cubicBezTo>
                    <a:pt x="32" y="62"/>
                    <a:pt x="27" y="64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1" y="67"/>
                    <a:pt x="19" y="65"/>
                    <a:pt x="17" y="65"/>
                  </a:cubicBezTo>
                  <a:cubicBezTo>
                    <a:pt x="14" y="64"/>
                    <a:pt x="10" y="62"/>
                    <a:pt x="7" y="63"/>
                  </a:cubicBezTo>
                  <a:cubicBezTo>
                    <a:pt x="5" y="63"/>
                    <a:pt x="4" y="65"/>
                    <a:pt x="3" y="66"/>
                  </a:cubicBezTo>
                  <a:cubicBezTo>
                    <a:pt x="2" y="72"/>
                    <a:pt x="8" y="72"/>
                    <a:pt x="12" y="74"/>
                  </a:cubicBezTo>
                  <a:cubicBezTo>
                    <a:pt x="14" y="74"/>
                    <a:pt x="17" y="76"/>
                    <a:pt x="20" y="77"/>
                  </a:cubicBezTo>
                  <a:cubicBezTo>
                    <a:pt x="19" y="79"/>
                    <a:pt x="19" y="81"/>
                    <a:pt x="19" y="83"/>
                  </a:cubicBezTo>
                  <a:cubicBezTo>
                    <a:pt x="19" y="83"/>
                    <a:pt x="18" y="83"/>
                    <a:pt x="18" y="83"/>
                  </a:cubicBezTo>
                  <a:cubicBezTo>
                    <a:pt x="14" y="82"/>
                    <a:pt x="10" y="82"/>
                    <a:pt x="7" y="83"/>
                  </a:cubicBezTo>
                  <a:cubicBezTo>
                    <a:pt x="0" y="83"/>
                    <a:pt x="0" y="92"/>
                    <a:pt x="7" y="92"/>
                  </a:cubicBezTo>
                  <a:cubicBezTo>
                    <a:pt x="10" y="92"/>
                    <a:pt x="14" y="92"/>
                    <a:pt x="17" y="92"/>
                  </a:cubicBezTo>
                  <a:cubicBezTo>
                    <a:pt x="18" y="92"/>
                    <a:pt x="19" y="92"/>
                    <a:pt x="21" y="91"/>
                  </a:cubicBezTo>
                  <a:cubicBezTo>
                    <a:pt x="21" y="93"/>
                    <a:pt x="22" y="94"/>
                    <a:pt x="23" y="95"/>
                  </a:cubicBezTo>
                  <a:cubicBezTo>
                    <a:pt x="21" y="96"/>
                    <a:pt x="19" y="97"/>
                    <a:pt x="18" y="98"/>
                  </a:cubicBezTo>
                  <a:cubicBezTo>
                    <a:pt x="14" y="102"/>
                    <a:pt x="7" y="104"/>
                    <a:pt x="7" y="110"/>
                  </a:cubicBezTo>
                  <a:cubicBezTo>
                    <a:pt x="7" y="113"/>
                    <a:pt x="11" y="116"/>
                    <a:pt x="14" y="114"/>
                  </a:cubicBezTo>
                  <a:cubicBezTo>
                    <a:pt x="16" y="113"/>
                    <a:pt x="17" y="111"/>
                    <a:pt x="18" y="110"/>
                  </a:cubicBezTo>
                  <a:cubicBezTo>
                    <a:pt x="20" y="109"/>
                    <a:pt x="22" y="107"/>
                    <a:pt x="24" y="106"/>
                  </a:cubicBezTo>
                  <a:cubicBezTo>
                    <a:pt x="25" y="104"/>
                    <a:pt x="27" y="103"/>
                    <a:pt x="28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31" y="103"/>
                    <a:pt x="33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4" y="109"/>
                    <a:pt x="33" y="113"/>
                    <a:pt x="34" y="117"/>
                  </a:cubicBezTo>
                  <a:cubicBezTo>
                    <a:pt x="35" y="121"/>
                    <a:pt x="40" y="120"/>
                    <a:pt x="42" y="117"/>
                  </a:cubicBezTo>
                  <a:cubicBezTo>
                    <a:pt x="43" y="114"/>
                    <a:pt x="43" y="111"/>
                    <a:pt x="44" y="108"/>
                  </a:cubicBezTo>
                  <a:cubicBezTo>
                    <a:pt x="44" y="107"/>
                    <a:pt x="45" y="106"/>
                    <a:pt x="45" y="105"/>
                  </a:cubicBezTo>
                  <a:cubicBezTo>
                    <a:pt x="46" y="105"/>
                    <a:pt x="48" y="104"/>
                    <a:pt x="49" y="104"/>
                  </a:cubicBezTo>
                  <a:cubicBezTo>
                    <a:pt x="58" y="100"/>
                    <a:pt x="65" y="92"/>
                    <a:pt x="65" y="82"/>
                  </a:cubicBezTo>
                  <a:cubicBezTo>
                    <a:pt x="69" y="82"/>
                    <a:pt x="72" y="82"/>
                    <a:pt x="76" y="81"/>
                  </a:cubicBezTo>
                  <a:cubicBezTo>
                    <a:pt x="84" y="79"/>
                    <a:pt x="93" y="80"/>
                    <a:pt x="101" y="77"/>
                  </a:cubicBezTo>
                  <a:cubicBezTo>
                    <a:pt x="102" y="78"/>
                    <a:pt x="103" y="80"/>
                    <a:pt x="105" y="82"/>
                  </a:cubicBezTo>
                  <a:cubicBezTo>
                    <a:pt x="111" y="89"/>
                    <a:pt x="121" y="89"/>
                    <a:pt x="130" y="85"/>
                  </a:cubicBezTo>
                  <a:cubicBezTo>
                    <a:pt x="139" y="81"/>
                    <a:pt x="144" y="70"/>
                    <a:pt x="142" y="60"/>
                  </a:cubicBezTo>
                  <a:cubicBezTo>
                    <a:pt x="143" y="60"/>
                    <a:pt x="143" y="60"/>
                    <a:pt x="143" y="60"/>
                  </a:cubicBezTo>
                  <a:cubicBezTo>
                    <a:pt x="143" y="60"/>
                    <a:pt x="147" y="56"/>
                    <a:pt x="145" y="59"/>
                  </a:cubicBezTo>
                  <a:cubicBezTo>
                    <a:pt x="145" y="58"/>
                    <a:pt x="146" y="57"/>
                    <a:pt x="146" y="57"/>
                  </a:cubicBezTo>
                  <a:cubicBezTo>
                    <a:pt x="147" y="56"/>
                    <a:pt x="148" y="56"/>
                    <a:pt x="149" y="55"/>
                  </a:cubicBezTo>
                  <a:cubicBezTo>
                    <a:pt x="149" y="55"/>
                    <a:pt x="149" y="54"/>
                    <a:pt x="150" y="54"/>
                  </a:cubicBezTo>
                  <a:cubicBezTo>
                    <a:pt x="150" y="54"/>
                    <a:pt x="151" y="53"/>
                    <a:pt x="151" y="53"/>
                  </a:cubicBezTo>
                  <a:cubicBezTo>
                    <a:pt x="155" y="50"/>
                    <a:pt x="159" y="47"/>
                    <a:pt x="163" y="44"/>
                  </a:cubicBezTo>
                  <a:cubicBezTo>
                    <a:pt x="167" y="41"/>
                    <a:pt x="171" y="39"/>
                    <a:pt x="175" y="36"/>
                  </a:cubicBezTo>
                  <a:cubicBezTo>
                    <a:pt x="175" y="36"/>
                    <a:pt x="176" y="35"/>
                    <a:pt x="176" y="35"/>
                  </a:cubicBezTo>
                  <a:cubicBezTo>
                    <a:pt x="176" y="36"/>
                    <a:pt x="176" y="37"/>
                    <a:pt x="176" y="38"/>
                  </a:cubicBezTo>
                  <a:cubicBezTo>
                    <a:pt x="176" y="49"/>
                    <a:pt x="177" y="60"/>
                    <a:pt x="176" y="71"/>
                  </a:cubicBezTo>
                  <a:cubicBezTo>
                    <a:pt x="176" y="91"/>
                    <a:pt x="175" y="112"/>
                    <a:pt x="182" y="132"/>
                  </a:cubicBezTo>
                  <a:cubicBezTo>
                    <a:pt x="187" y="150"/>
                    <a:pt x="199" y="166"/>
                    <a:pt x="212" y="179"/>
                  </a:cubicBezTo>
                  <a:cubicBezTo>
                    <a:pt x="226" y="192"/>
                    <a:pt x="243" y="202"/>
                    <a:pt x="262" y="205"/>
                  </a:cubicBezTo>
                  <a:cubicBezTo>
                    <a:pt x="275" y="207"/>
                    <a:pt x="288" y="207"/>
                    <a:pt x="301" y="205"/>
                  </a:cubicBezTo>
                  <a:cubicBezTo>
                    <a:pt x="308" y="204"/>
                    <a:pt x="315" y="203"/>
                    <a:pt x="322" y="201"/>
                  </a:cubicBezTo>
                  <a:cubicBezTo>
                    <a:pt x="327" y="200"/>
                    <a:pt x="332" y="199"/>
                    <a:pt x="337" y="196"/>
                  </a:cubicBezTo>
                  <a:cubicBezTo>
                    <a:pt x="340" y="197"/>
                    <a:pt x="343" y="197"/>
                    <a:pt x="346" y="195"/>
                  </a:cubicBezTo>
                  <a:cubicBezTo>
                    <a:pt x="350" y="194"/>
                    <a:pt x="354" y="192"/>
                    <a:pt x="357" y="190"/>
                  </a:cubicBezTo>
                  <a:cubicBezTo>
                    <a:pt x="364" y="186"/>
                    <a:pt x="370" y="181"/>
                    <a:pt x="375" y="175"/>
                  </a:cubicBezTo>
                  <a:cubicBezTo>
                    <a:pt x="380" y="170"/>
                    <a:pt x="384" y="163"/>
                    <a:pt x="387" y="156"/>
                  </a:cubicBezTo>
                  <a:cubicBezTo>
                    <a:pt x="392" y="146"/>
                    <a:pt x="395" y="136"/>
                    <a:pt x="399" y="126"/>
                  </a:cubicBezTo>
                  <a:cubicBezTo>
                    <a:pt x="405" y="107"/>
                    <a:pt x="408" y="87"/>
                    <a:pt x="411" y="67"/>
                  </a:cubicBezTo>
                  <a:cubicBezTo>
                    <a:pt x="413" y="56"/>
                    <a:pt x="413" y="46"/>
                    <a:pt x="413" y="35"/>
                  </a:cubicBezTo>
                  <a:cubicBezTo>
                    <a:pt x="417" y="40"/>
                    <a:pt x="421" y="44"/>
                    <a:pt x="426" y="48"/>
                  </a:cubicBezTo>
                  <a:cubicBezTo>
                    <a:pt x="432" y="54"/>
                    <a:pt x="437" y="62"/>
                    <a:pt x="443" y="68"/>
                  </a:cubicBezTo>
                  <a:cubicBezTo>
                    <a:pt x="446" y="71"/>
                    <a:pt x="448" y="74"/>
                    <a:pt x="451" y="76"/>
                  </a:cubicBezTo>
                  <a:cubicBezTo>
                    <a:pt x="453" y="79"/>
                    <a:pt x="454" y="82"/>
                    <a:pt x="457" y="84"/>
                  </a:cubicBezTo>
                  <a:cubicBezTo>
                    <a:pt x="457" y="89"/>
                    <a:pt x="459" y="94"/>
                    <a:pt x="462" y="98"/>
                  </a:cubicBezTo>
                  <a:cubicBezTo>
                    <a:pt x="467" y="105"/>
                    <a:pt x="476" y="110"/>
                    <a:pt x="484" y="109"/>
                  </a:cubicBezTo>
                  <a:cubicBezTo>
                    <a:pt x="492" y="108"/>
                    <a:pt x="500" y="103"/>
                    <a:pt x="503" y="95"/>
                  </a:cubicBezTo>
                  <a:cubicBezTo>
                    <a:pt x="503" y="95"/>
                    <a:pt x="503" y="95"/>
                    <a:pt x="503" y="95"/>
                  </a:cubicBezTo>
                  <a:cubicBezTo>
                    <a:pt x="509" y="96"/>
                    <a:pt x="515" y="95"/>
                    <a:pt x="521" y="95"/>
                  </a:cubicBezTo>
                  <a:cubicBezTo>
                    <a:pt x="529" y="94"/>
                    <a:pt x="537" y="93"/>
                    <a:pt x="545" y="93"/>
                  </a:cubicBezTo>
                  <a:cubicBezTo>
                    <a:pt x="547" y="104"/>
                    <a:pt x="558" y="111"/>
                    <a:pt x="569" y="111"/>
                  </a:cubicBezTo>
                  <a:cubicBezTo>
                    <a:pt x="571" y="111"/>
                    <a:pt x="572" y="111"/>
                    <a:pt x="573" y="110"/>
                  </a:cubicBezTo>
                  <a:cubicBezTo>
                    <a:pt x="574" y="112"/>
                    <a:pt x="575" y="114"/>
                    <a:pt x="577" y="116"/>
                  </a:cubicBezTo>
                  <a:cubicBezTo>
                    <a:pt x="579" y="119"/>
                    <a:pt x="581" y="123"/>
                    <a:pt x="584" y="125"/>
                  </a:cubicBezTo>
                  <a:cubicBezTo>
                    <a:pt x="590" y="128"/>
                    <a:pt x="597" y="120"/>
                    <a:pt x="592" y="115"/>
                  </a:cubicBezTo>
                  <a:cubicBezTo>
                    <a:pt x="589" y="113"/>
                    <a:pt x="587" y="112"/>
                    <a:pt x="585" y="110"/>
                  </a:cubicBezTo>
                  <a:cubicBezTo>
                    <a:pt x="584" y="109"/>
                    <a:pt x="583" y="108"/>
                    <a:pt x="582" y="107"/>
                  </a:cubicBezTo>
                  <a:cubicBezTo>
                    <a:pt x="583" y="107"/>
                    <a:pt x="584" y="106"/>
                    <a:pt x="585" y="106"/>
                  </a:cubicBezTo>
                  <a:cubicBezTo>
                    <a:pt x="587" y="107"/>
                    <a:pt x="590" y="108"/>
                    <a:pt x="591" y="109"/>
                  </a:cubicBezTo>
                  <a:cubicBezTo>
                    <a:pt x="595" y="112"/>
                    <a:pt x="600" y="114"/>
                    <a:pt x="605" y="114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7" y="115"/>
                    <a:pt x="609" y="115"/>
                    <a:pt x="611" y="113"/>
                  </a:cubicBezTo>
                  <a:cubicBezTo>
                    <a:pt x="615" y="109"/>
                    <a:pt x="613" y="103"/>
                    <a:pt x="608" y="102"/>
                  </a:cubicBezTo>
                  <a:cubicBezTo>
                    <a:pt x="603" y="100"/>
                    <a:pt x="598" y="99"/>
                    <a:pt x="594" y="98"/>
                  </a:cubicBezTo>
                  <a:cubicBezTo>
                    <a:pt x="594" y="96"/>
                    <a:pt x="595" y="95"/>
                    <a:pt x="596" y="94"/>
                  </a:cubicBezTo>
                  <a:cubicBezTo>
                    <a:pt x="598" y="94"/>
                    <a:pt x="601" y="94"/>
                    <a:pt x="603" y="94"/>
                  </a:cubicBezTo>
                  <a:cubicBezTo>
                    <a:pt x="607" y="95"/>
                    <a:pt x="614" y="95"/>
                    <a:pt x="617" y="93"/>
                  </a:cubicBezTo>
                  <a:cubicBezTo>
                    <a:pt x="623" y="90"/>
                    <a:pt x="621" y="81"/>
                    <a:pt x="614" y="81"/>
                  </a:cubicBezTo>
                  <a:close/>
                  <a:moveTo>
                    <a:pt x="51" y="85"/>
                  </a:moveTo>
                  <a:cubicBezTo>
                    <a:pt x="51" y="85"/>
                    <a:pt x="51" y="85"/>
                    <a:pt x="51" y="85"/>
                  </a:cubicBezTo>
                  <a:cubicBezTo>
                    <a:pt x="50" y="87"/>
                    <a:pt x="50" y="87"/>
                    <a:pt x="49" y="88"/>
                  </a:cubicBezTo>
                  <a:cubicBezTo>
                    <a:pt x="48" y="89"/>
                    <a:pt x="47" y="90"/>
                    <a:pt x="45" y="91"/>
                  </a:cubicBezTo>
                  <a:cubicBezTo>
                    <a:pt x="44" y="91"/>
                    <a:pt x="41" y="92"/>
                    <a:pt x="39" y="91"/>
                  </a:cubicBezTo>
                  <a:cubicBezTo>
                    <a:pt x="36" y="91"/>
                    <a:pt x="34" y="88"/>
                    <a:pt x="32" y="85"/>
                  </a:cubicBezTo>
                  <a:cubicBezTo>
                    <a:pt x="30" y="81"/>
                    <a:pt x="31" y="77"/>
                    <a:pt x="33" y="74"/>
                  </a:cubicBezTo>
                  <a:cubicBezTo>
                    <a:pt x="36" y="75"/>
                    <a:pt x="41" y="74"/>
                    <a:pt x="44" y="75"/>
                  </a:cubicBezTo>
                  <a:cubicBezTo>
                    <a:pt x="48" y="75"/>
                    <a:pt x="51" y="78"/>
                    <a:pt x="52" y="80"/>
                  </a:cubicBezTo>
                  <a:cubicBezTo>
                    <a:pt x="52" y="82"/>
                    <a:pt x="52" y="83"/>
                    <a:pt x="51" y="85"/>
                  </a:cubicBezTo>
                  <a:close/>
                  <a:moveTo>
                    <a:pt x="128" y="68"/>
                  </a:moveTo>
                  <a:cubicBezTo>
                    <a:pt x="128" y="68"/>
                    <a:pt x="128" y="68"/>
                    <a:pt x="128" y="68"/>
                  </a:cubicBezTo>
                  <a:cubicBezTo>
                    <a:pt x="126" y="74"/>
                    <a:pt x="120" y="76"/>
                    <a:pt x="115" y="73"/>
                  </a:cubicBezTo>
                  <a:cubicBezTo>
                    <a:pt x="110" y="70"/>
                    <a:pt x="111" y="62"/>
                    <a:pt x="114" y="59"/>
                  </a:cubicBezTo>
                  <a:cubicBezTo>
                    <a:pt x="116" y="57"/>
                    <a:pt x="118" y="56"/>
                    <a:pt x="120" y="55"/>
                  </a:cubicBezTo>
                  <a:cubicBezTo>
                    <a:pt x="122" y="55"/>
                    <a:pt x="124" y="56"/>
                    <a:pt x="125" y="56"/>
                  </a:cubicBezTo>
                  <a:cubicBezTo>
                    <a:pt x="126" y="57"/>
                    <a:pt x="128" y="58"/>
                    <a:pt x="129" y="60"/>
                  </a:cubicBezTo>
                  <a:cubicBezTo>
                    <a:pt x="130" y="61"/>
                    <a:pt x="129" y="65"/>
                    <a:pt x="128" y="68"/>
                  </a:cubicBezTo>
                  <a:close/>
                  <a:moveTo>
                    <a:pt x="399" y="58"/>
                  </a:moveTo>
                  <a:cubicBezTo>
                    <a:pt x="399" y="58"/>
                    <a:pt x="399" y="58"/>
                    <a:pt x="399" y="58"/>
                  </a:cubicBezTo>
                  <a:cubicBezTo>
                    <a:pt x="398" y="68"/>
                    <a:pt x="396" y="78"/>
                    <a:pt x="394" y="87"/>
                  </a:cubicBezTo>
                  <a:cubicBezTo>
                    <a:pt x="393" y="97"/>
                    <a:pt x="391" y="107"/>
                    <a:pt x="388" y="117"/>
                  </a:cubicBezTo>
                  <a:cubicBezTo>
                    <a:pt x="385" y="126"/>
                    <a:pt x="382" y="135"/>
                    <a:pt x="378" y="144"/>
                  </a:cubicBezTo>
                  <a:cubicBezTo>
                    <a:pt x="374" y="151"/>
                    <a:pt x="371" y="158"/>
                    <a:pt x="366" y="164"/>
                  </a:cubicBezTo>
                  <a:cubicBezTo>
                    <a:pt x="362" y="170"/>
                    <a:pt x="357" y="174"/>
                    <a:pt x="351" y="178"/>
                  </a:cubicBezTo>
                  <a:cubicBezTo>
                    <a:pt x="348" y="180"/>
                    <a:pt x="345" y="182"/>
                    <a:pt x="342" y="183"/>
                  </a:cubicBezTo>
                  <a:cubicBezTo>
                    <a:pt x="341" y="184"/>
                    <a:pt x="340" y="184"/>
                    <a:pt x="339" y="185"/>
                  </a:cubicBezTo>
                  <a:cubicBezTo>
                    <a:pt x="334" y="184"/>
                    <a:pt x="329" y="185"/>
                    <a:pt x="324" y="186"/>
                  </a:cubicBezTo>
                  <a:cubicBezTo>
                    <a:pt x="319" y="188"/>
                    <a:pt x="314" y="189"/>
                    <a:pt x="308" y="190"/>
                  </a:cubicBezTo>
                  <a:cubicBezTo>
                    <a:pt x="298" y="192"/>
                    <a:pt x="288" y="193"/>
                    <a:pt x="278" y="193"/>
                  </a:cubicBezTo>
                  <a:cubicBezTo>
                    <a:pt x="260" y="193"/>
                    <a:pt x="242" y="187"/>
                    <a:pt x="228" y="176"/>
                  </a:cubicBezTo>
                  <a:cubicBezTo>
                    <a:pt x="214" y="164"/>
                    <a:pt x="202" y="150"/>
                    <a:pt x="195" y="133"/>
                  </a:cubicBezTo>
                  <a:cubicBezTo>
                    <a:pt x="188" y="114"/>
                    <a:pt x="188" y="93"/>
                    <a:pt x="188" y="73"/>
                  </a:cubicBezTo>
                  <a:cubicBezTo>
                    <a:pt x="189" y="62"/>
                    <a:pt x="188" y="51"/>
                    <a:pt x="188" y="39"/>
                  </a:cubicBezTo>
                  <a:cubicBezTo>
                    <a:pt x="187" y="34"/>
                    <a:pt x="187" y="29"/>
                    <a:pt x="187" y="23"/>
                  </a:cubicBezTo>
                  <a:cubicBezTo>
                    <a:pt x="187" y="21"/>
                    <a:pt x="187" y="19"/>
                    <a:pt x="187" y="17"/>
                  </a:cubicBezTo>
                  <a:cubicBezTo>
                    <a:pt x="187" y="17"/>
                    <a:pt x="186" y="16"/>
                    <a:pt x="186" y="16"/>
                  </a:cubicBezTo>
                  <a:cubicBezTo>
                    <a:pt x="186" y="15"/>
                    <a:pt x="186" y="15"/>
                    <a:pt x="186" y="15"/>
                  </a:cubicBezTo>
                  <a:cubicBezTo>
                    <a:pt x="191" y="17"/>
                    <a:pt x="197" y="18"/>
                    <a:pt x="202" y="18"/>
                  </a:cubicBezTo>
                  <a:cubicBezTo>
                    <a:pt x="210" y="18"/>
                    <a:pt x="218" y="18"/>
                    <a:pt x="226" y="19"/>
                  </a:cubicBezTo>
                  <a:cubicBezTo>
                    <a:pt x="231" y="19"/>
                    <a:pt x="236" y="19"/>
                    <a:pt x="240" y="18"/>
                  </a:cubicBezTo>
                  <a:cubicBezTo>
                    <a:pt x="245" y="18"/>
                    <a:pt x="250" y="18"/>
                    <a:pt x="255" y="18"/>
                  </a:cubicBezTo>
                  <a:cubicBezTo>
                    <a:pt x="265" y="18"/>
                    <a:pt x="276" y="17"/>
                    <a:pt x="286" y="16"/>
                  </a:cubicBezTo>
                  <a:cubicBezTo>
                    <a:pt x="306" y="16"/>
                    <a:pt x="326" y="16"/>
                    <a:pt x="346" y="15"/>
                  </a:cubicBezTo>
                  <a:cubicBezTo>
                    <a:pt x="356" y="15"/>
                    <a:pt x="366" y="15"/>
                    <a:pt x="376" y="15"/>
                  </a:cubicBezTo>
                  <a:cubicBezTo>
                    <a:pt x="384" y="14"/>
                    <a:pt x="392" y="14"/>
                    <a:pt x="400" y="14"/>
                  </a:cubicBezTo>
                  <a:cubicBezTo>
                    <a:pt x="399" y="18"/>
                    <a:pt x="399" y="23"/>
                    <a:pt x="400" y="28"/>
                  </a:cubicBezTo>
                  <a:cubicBezTo>
                    <a:pt x="401" y="38"/>
                    <a:pt x="400" y="48"/>
                    <a:pt x="399" y="58"/>
                  </a:cubicBezTo>
                  <a:close/>
                  <a:moveTo>
                    <a:pt x="486" y="95"/>
                  </a:moveTo>
                  <a:cubicBezTo>
                    <a:pt x="486" y="95"/>
                    <a:pt x="486" y="95"/>
                    <a:pt x="486" y="95"/>
                  </a:cubicBezTo>
                  <a:cubicBezTo>
                    <a:pt x="483" y="97"/>
                    <a:pt x="478" y="95"/>
                    <a:pt x="475" y="93"/>
                  </a:cubicBezTo>
                  <a:cubicBezTo>
                    <a:pt x="472" y="91"/>
                    <a:pt x="469" y="87"/>
                    <a:pt x="470" y="83"/>
                  </a:cubicBezTo>
                  <a:cubicBezTo>
                    <a:pt x="470" y="81"/>
                    <a:pt x="471" y="80"/>
                    <a:pt x="471" y="79"/>
                  </a:cubicBezTo>
                  <a:cubicBezTo>
                    <a:pt x="474" y="80"/>
                    <a:pt x="478" y="79"/>
                    <a:pt x="480" y="79"/>
                  </a:cubicBezTo>
                  <a:cubicBezTo>
                    <a:pt x="486" y="78"/>
                    <a:pt x="491" y="80"/>
                    <a:pt x="492" y="86"/>
                  </a:cubicBezTo>
                  <a:cubicBezTo>
                    <a:pt x="492" y="89"/>
                    <a:pt x="489" y="93"/>
                    <a:pt x="486" y="95"/>
                  </a:cubicBezTo>
                  <a:close/>
                  <a:moveTo>
                    <a:pt x="570" y="97"/>
                  </a:moveTo>
                  <a:cubicBezTo>
                    <a:pt x="570" y="97"/>
                    <a:pt x="570" y="97"/>
                    <a:pt x="570" y="97"/>
                  </a:cubicBezTo>
                  <a:cubicBezTo>
                    <a:pt x="570" y="97"/>
                    <a:pt x="570" y="97"/>
                    <a:pt x="570" y="97"/>
                  </a:cubicBezTo>
                  <a:cubicBezTo>
                    <a:pt x="569" y="97"/>
                    <a:pt x="568" y="97"/>
                    <a:pt x="567" y="97"/>
                  </a:cubicBezTo>
                  <a:cubicBezTo>
                    <a:pt x="567" y="97"/>
                    <a:pt x="566" y="97"/>
                    <a:pt x="566" y="97"/>
                  </a:cubicBezTo>
                  <a:cubicBezTo>
                    <a:pt x="565" y="97"/>
                    <a:pt x="564" y="97"/>
                    <a:pt x="563" y="96"/>
                  </a:cubicBezTo>
                  <a:cubicBezTo>
                    <a:pt x="563" y="96"/>
                    <a:pt x="561" y="95"/>
                    <a:pt x="561" y="95"/>
                  </a:cubicBezTo>
                  <a:cubicBezTo>
                    <a:pt x="559" y="94"/>
                    <a:pt x="559" y="94"/>
                    <a:pt x="559" y="92"/>
                  </a:cubicBezTo>
                  <a:cubicBezTo>
                    <a:pt x="558" y="88"/>
                    <a:pt x="558" y="84"/>
                    <a:pt x="561" y="81"/>
                  </a:cubicBezTo>
                  <a:cubicBezTo>
                    <a:pt x="562" y="80"/>
                    <a:pt x="563" y="80"/>
                    <a:pt x="564" y="79"/>
                  </a:cubicBezTo>
                  <a:cubicBezTo>
                    <a:pt x="569" y="82"/>
                    <a:pt x="574" y="81"/>
                    <a:pt x="579" y="84"/>
                  </a:cubicBezTo>
                  <a:cubicBezTo>
                    <a:pt x="581" y="84"/>
                    <a:pt x="581" y="85"/>
                    <a:pt x="582" y="87"/>
                  </a:cubicBezTo>
                  <a:cubicBezTo>
                    <a:pt x="582" y="87"/>
                    <a:pt x="583" y="87"/>
                    <a:pt x="583" y="87"/>
                  </a:cubicBezTo>
                  <a:cubicBezTo>
                    <a:pt x="583" y="87"/>
                    <a:pt x="583" y="87"/>
                    <a:pt x="583" y="88"/>
                  </a:cubicBezTo>
                  <a:cubicBezTo>
                    <a:pt x="583" y="88"/>
                    <a:pt x="583" y="88"/>
                    <a:pt x="583" y="88"/>
                  </a:cubicBezTo>
                  <a:cubicBezTo>
                    <a:pt x="583" y="88"/>
                    <a:pt x="583" y="88"/>
                    <a:pt x="583" y="88"/>
                  </a:cubicBezTo>
                  <a:cubicBezTo>
                    <a:pt x="583" y="88"/>
                    <a:pt x="583" y="89"/>
                    <a:pt x="583" y="90"/>
                  </a:cubicBezTo>
                  <a:cubicBezTo>
                    <a:pt x="583" y="90"/>
                    <a:pt x="583" y="90"/>
                    <a:pt x="583" y="90"/>
                  </a:cubicBezTo>
                  <a:cubicBezTo>
                    <a:pt x="582" y="90"/>
                    <a:pt x="582" y="90"/>
                    <a:pt x="582" y="90"/>
                  </a:cubicBezTo>
                  <a:cubicBezTo>
                    <a:pt x="582" y="91"/>
                    <a:pt x="582" y="91"/>
                    <a:pt x="582" y="91"/>
                  </a:cubicBezTo>
                  <a:cubicBezTo>
                    <a:pt x="582" y="91"/>
                    <a:pt x="582" y="91"/>
                    <a:pt x="582" y="91"/>
                  </a:cubicBezTo>
                  <a:cubicBezTo>
                    <a:pt x="581" y="92"/>
                    <a:pt x="580" y="92"/>
                    <a:pt x="580" y="93"/>
                  </a:cubicBezTo>
                  <a:cubicBezTo>
                    <a:pt x="580" y="93"/>
                    <a:pt x="579" y="94"/>
                    <a:pt x="579" y="94"/>
                  </a:cubicBezTo>
                  <a:cubicBezTo>
                    <a:pt x="578" y="95"/>
                    <a:pt x="577" y="95"/>
                    <a:pt x="576" y="95"/>
                  </a:cubicBezTo>
                  <a:cubicBezTo>
                    <a:pt x="576" y="96"/>
                    <a:pt x="576" y="96"/>
                    <a:pt x="575" y="96"/>
                  </a:cubicBezTo>
                  <a:cubicBezTo>
                    <a:pt x="575" y="96"/>
                    <a:pt x="575" y="96"/>
                    <a:pt x="574" y="96"/>
                  </a:cubicBezTo>
                  <a:cubicBezTo>
                    <a:pt x="573" y="96"/>
                    <a:pt x="572" y="97"/>
                    <a:pt x="571" y="97"/>
                  </a:cubicBezTo>
                  <a:cubicBezTo>
                    <a:pt x="571" y="97"/>
                    <a:pt x="571" y="97"/>
                    <a:pt x="570" y="97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i$ļïḑe"/>
            <p:cNvSpPr/>
            <p:nvPr/>
          </p:nvSpPr>
          <p:spPr bwMode="auto">
            <a:xfrm>
              <a:off x="6185981" y="4651721"/>
              <a:ext cx="91464" cy="91464"/>
            </a:xfrm>
            <a:prstGeom prst="ellipse">
              <a:avLst/>
            </a:pr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ïṩḻidè"/>
            <p:cNvSpPr/>
            <p:nvPr/>
          </p:nvSpPr>
          <p:spPr bwMode="auto">
            <a:xfrm>
              <a:off x="6341806" y="4651721"/>
              <a:ext cx="91464" cy="91464"/>
            </a:xfrm>
            <a:prstGeom prst="ellipse">
              <a:avLst/>
            </a:pr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îṩḷide"/>
            <p:cNvSpPr/>
            <p:nvPr/>
          </p:nvSpPr>
          <p:spPr bwMode="auto">
            <a:xfrm>
              <a:off x="6453595" y="4651721"/>
              <a:ext cx="115175" cy="84689"/>
            </a:xfrm>
            <a:custGeom>
              <a:avLst/>
              <a:gdLst>
                <a:gd name="T0" fmla="*/ 8 w 16"/>
                <a:gd name="T1" fmla="*/ 0 h 12"/>
                <a:gd name="T2" fmla="*/ 8 w 16"/>
                <a:gd name="T3" fmla="*/ 12 h 12"/>
                <a:gd name="T4" fmla="*/ 8 w 1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cubicBezTo>
                    <a:pt x="0" y="0"/>
                    <a:pt x="0" y="12"/>
                    <a:pt x="8" y="12"/>
                  </a:cubicBezTo>
                  <a:cubicBezTo>
                    <a:pt x="16" y="12"/>
                    <a:pt x="16" y="0"/>
                    <a:pt x="8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ïšḷïḋe"/>
            <p:cNvSpPr/>
            <p:nvPr/>
          </p:nvSpPr>
          <p:spPr bwMode="auto">
            <a:xfrm>
              <a:off x="5376367" y="4089395"/>
              <a:ext cx="1199178" cy="484415"/>
            </a:xfrm>
            <a:custGeom>
              <a:avLst/>
              <a:gdLst>
                <a:gd name="T0" fmla="*/ 149 w 170"/>
                <a:gd name="T1" fmla="*/ 66 h 69"/>
                <a:gd name="T2" fmla="*/ 149 w 170"/>
                <a:gd name="T3" fmla="*/ 66 h 69"/>
                <a:gd name="T4" fmla="*/ 126 w 170"/>
                <a:gd name="T5" fmla="*/ 68 h 69"/>
                <a:gd name="T6" fmla="*/ 104 w 170"/>
                <a:gd name="T7" fmla="*/ 68 h 69"/>
                <a:gd name="T8" fmla="*/ 82 w 170"/>
                <a:gd name="T9" fmla="*/ 69 h 69"/>
                <a:gd name="T10" fmla="*/ 38 w 170"/>
                <a:gd name="T11" fmla="*/ 69 h 69"/>
                <a:gd name="T12" fmla="*/ 18 w 170"/>
                <a:gd name="T13" fmla="*/ 68 h 69"/>
                <a:gd name="T14" fmla="*/ 8 w 170"/>
                <a:gd name="T15" fmla="*/ 69 h 69"/>
                <a:gd name="T16" fmla="*/ 3 w 170"/>
                <a:gd name="T17" fmla="*/ 69 h 69"/>
                <a:gd name="T18" fmla="*/ 4 w 170"/>
                <a:gd name="T19" fmla="*/ 56 h 69"/>
                <a:gd name="T20" fmla="*/ 2 w 170"/>
                <a:gd name="T21" fmla="*/ 38 h 69"/>
                <a:gd name="T22" fmla="*/ 1 w 170"/>
                <a:gd name="T23" fmla="*/ 20 h 69"/>
                <a:gd name="T24" fmla="*/ 0 w 170"/>
                <a:gd name="T25" fmla="*/ 13 h 69"/>
                <a:gd name="T26" fmla="*/ 1 w 170"/>
                <a:gd name="T27" fmla="*/ 12 h 69"/>
                <a:gd name="T28" fmla="*/ 3 w 170"/>
                <a:gd name="T29" fmla="*/ 5 h 69"/>
                <a:gd name="T30" fmla="*/ 3 w 170"/>
                <a:gd name="T31" fmla="*/ 4 h 69"/>
                <a:gd name="T32" fmla="*/ 4 w 170"/>
                <a:gd name="T33" fmla="*/ 4 h 69"/>
                <a:gd name="T34" fmla="*/ 4 w 170"/>
                <a:gd name="T35" fmla="*/ 4 h 69"/>
                <a:gd name="T36" fmla="*/ 8 w 170"/>
                <a:gd name="T37" fmla="*/ 3 h 69"/>
                <a:gd name="T38" fmla="*/ 30 w 170"/>
                <a:gd name="T39" fmla="*/ 3 h 69"/>
                <a:gd name="T40" fmla="*/ 77 w 170"/>
                <a:gd name="T41" fmla="*/ 3 h 69"/>
                <a:gd name="T42" fmla="*/ 124 w 170"/>
                <a:gd name="T43" fmla="*/ 2 h 69"/>
                <a:gd name="T44" fmla="*/ 168 w 170"/>
                <a:gd name="T45" fmla="*/ 0 h 69"/>
                <a:gd name="T46" fmla="*/ 169 w 170"/>
                <a:gd name="T47" fmla="*/ 0 h 69"/>
                <a:gd name="T48" fmla="*/ 170 w 170"/>
                <a:gd name="T49" fmla="*/ 6 h 69"/>
                <a:gd name="T50" fmla="*/ 169 w 170"/>
                <a:gd name="T51" fmla="*/ 15 h 69"/>
                <a:gd name="T52" fmla="*/ 168 w 170"/>
                <a:gd name="T53" fmla="*/ 34 h 69"/>
                <a:gd name="T54" fmla="*/ 168 w 170"/>
                <a:gd name="T55" fmla="*/ 55 h 69"/>
                <a:gd name="T56" fmla="*/ 167 w 170"/>
                <a:gd name="T57" fmla="*/ 65 h 69"/>
                <a:gd name="T58" fmla="*/ 149 w 170"/>
                <a:gd name="T59" fmla="*/ 6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70" h="69">
                  <a:moveTo>
                    <a:pt x="149" y="66"/>
                  </a:moveTo>
                  <a:cubicBezTo>
                    <a:pt x="149" y="66"/>
                    <a:pt x="149" y="66"/>
                    <a:pt x="149" y="66"/>
                  </a:cubicBezTo>
                  <a:cubicBezTo>
                    <a:pt x="141" y="67"/>
                    <a:pt x="134" y="68"/>
                    <a:pt x="126" y="68"/>
                  </a:cubicBezTo>
                  <a:cubicBezTo>
                    <a:pt x="119" y="68"/>
                    <a:pt x="111" y="67"/>
                    <a:pt x="104" y="68"/>
                  </a:cubicBezTo>
                  <a:cubicBezTo>
                    <a:pt x="97" y="68"/>
                    <a:pt x="89" y="69"/>
                    <a:pt x="82" y="69"/>
                  </a:cubicBezTo>
                  <a:cubicBezTo>
                    <a:pt x="67" y="69"/>
                    <a:pt x="53" y="69"/>
                    <a:pt x="38" y="69"/>
                  </a:cubicBezTo>
                  <a:cubicBezTo>
                    <a:pt x="31" y="69"/>
                    <a:pt x="25" y="68"/>
                    <a:pt x="18" y="68"/>
                  </a:cubicBezTo>
                  <a:cubicBezTo>
                    <a:pt x="15" y="68"/>
                    <a:pt x="11" y="69"/>
                    <a:pt x="8" y="69"/>
                  </a:cubicBezTo>
                  <a:cubicBezTo>
                    <a:pt x="6" y="69"/>
                    <a:pt x="4" y="69"/>
                    <a:pt x="3" y="69"/>
                  </a:cubicBezTo>
                  <a:cubicBezTo>
                    <a:pt x="4" y="65"/>
                    <a:pt x="4" y="60"/>
                    <a:pt x="4" y="56"/>
                  </a:cubicBezTo>
                  <a:cubicBezTo>
                    <a:pt x="4" y="50"/>
                    <a:pt x="3" y="44"/>
                    <a:pt x="2" y="38"/>
                  </a:cubicBezTo>
                  <a:cubicBezTo>
                    <a:pt x="2" y="32"/>
                    <a:pt x="1" y="26"/>
                    <a:pt x="1" y="20"/>
                  </a:cubicBezTo>
                  <a:cubicBezTo>
                    <a:pt x="0" y="17"/>
                    <a:pt x="0" y="15"/>
                    <a:pt x="0" y="13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1" y="10"/>
                    <a:pt x="1" y="7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3"/>
                    <a:pt x="7" y="3"/>
                    <a:pt x="8" y="3"/>
                  </a:cubicBezTo>
                  <a:cubicBezTo>
                    <a:pt x="16" y="2"/>
                    <a:pt x="23" y="2"/>
                    <a:pt x="30" y="3"/>
                  </a:cubicBezTo>
                  <a:cubicBezTo>
                    <a:pt x="46" y="4"/>
                    <a:pt x="62" y="3"/>
                    <a:pt x="77" y="3"/>
                  </a:cubicBezTo>
                  <a:cubicBezTo>
                    <a:pt x="93" y="3"/>
                    <a:pt x="109" y="3"/>
                    <a:pt x="124" y="2"/>
                  </a:cubicBezTo>
                  <a:cubicBezTo>
                    <a:pt x="139" y="1"/>
                    <a:pt x="154" y="0"/>
                    <a:pt x="168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2"/>
                    <a:pt x="170" y="4"/>
                    <a:pt x="170" y="6"/>
                  </a:cubicBezTo>
                  <a:cubicBezTo>
                    <a:pt x="170" y="9"/>
                    <a:pt x="169" y="12"/>
                    <a:pt x="169" y="15"/>
                  </a:cubicBezTo>
                  <a:cubicBezTo>
                    <a:pt x="168" y="21"/>
                    <a:pt x="168" y="28"/>
                    <a:pt x="168" y="34"/>
                  </a:cubicBezTo>
                  <a:cubicBezTo>
                    <a:pt x="168" y="41"/>
                    <a:pt x="168" y="48"/>
                    <a:pt x="168" y="55"/>
                  </a:cubicBezTo>
                  <a:cubicBezTo>
                    <a:pt x="167" y="58"/>
                    <a:pt x="167" y="61"/>
                    <a:pt x="167" y="65"/>
                  </a:cubicBezTo>
                  <a:cubicBezTo>
                    <a:pt x="161" y="66"/>
                    <a:pt x="155" y="66"/>
                    <a:pt x="149" y="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ïşliḍê"/>
            <p:cNvSpPr/>
            <p:nvPr/>
          </p:nvSpPr>
          <p:spPr bwMode="auto">
            <a:xfrm>
              <a:off x="6463757" y="4089395"/>
              <a:ext cx="111789" cy="464090"/>
            </a:xfrm>
            <a:custGeom>
              <a:avLst/>
              <a:gdLst>
                <a:gd name="T0" fmla="*/ 11 w 16"/>
                <a:gd name="T1" fmla="*/ 0 h 66"/>
                <a:gd name="T2" fmla="*/ 14 w 16"/>
                <a:gd name="T3" fmla="*/ 0 h 66"/>
                <a:gd name="T4" fmla="*/ 15 w 16"/>
                <a:gd name="T5" fmla="*/ 0 h 66"/>
                <a:gd name="T6" fmla="*/ 16 w 16"/>
                <a:gd name="T7" fmla="*/ 6 h 66"/>
                <a:gd name="T8" fmla="*/ 15 w 16"/>
                <a:gd name="T9" fmla="*/ 15 h 66"/>
                <a:gd name="T10" fmla="*/ 14 w 16"/>
                <a:gd name="T11" fmla="*/ 34 h 66"/>
                <a:gd name="T12" fmla="*/ 14 w 16"/>
                <a:gd name="T13" fmla="*/ 55 h 66"/>
                <a:gd name="T14" fmla="*/ 13 w 16"/>
                <a:gd name="T15" fmla="*/ 65 h 66"/>
                <a:gd name="T16" fmla="*/ 0 w 16"/>
                <a:gd name="T17" fmla="*/ 66 h 66"/>
                <a:gd name="T18" fmla="*/ 11 w 1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66">
                  <a:moveTo>
                    <a:pt x="11" y="0"/>
                  </a:move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2"/>
                    <a:pt x="16" y="4"/>
                    <a:pt x="16" y="6"/>
                  </a:cubicBezTo>
                  <a:cubicBezTo>
                    <a:pt x="16" y="9"/>
                    <a:pt x="15" y="12"/>
                    <a:pt x="15" y="15"/>
                  </a:cubicBezTo>
                  <a:cubicBezTo>
                    <a:pt x="14" y="21"/>
                    <a:pt x="14" y="28"/>
                    <a:pt x="14" y="34"/>
                  </a:cubicBezTo>
                  <a:cubicBezTo>
                    <a:pt x="14" y="41"/>
                    <a:pt x="14" y="48"/>
                    <a:pt x="14" y="55"/>
                  </a:cubicBezTo>
                  <a:cubicBezTo>
                    <a:pt x="13" y="58"/>
                    <a:pt x="13" y="61"/>
                    <a:pt x="13" y="65"/>
                  </a:cubicBezTo>
                  <a:cubicBezTo>
                    <a:pt x="9" y="65"/>
                    <a:pt x="5" y="66"/>
                    <a:pt x="0" y="66"/>
                  </a:cubicBezTo>
                  <a:cubicBezTo>
                    <a:pt x="7" y="42"/>
                    <a:pt x="10" y="18"/>
                    <a:pt x="11" y="0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íṣļïḍe"/>
            <p:cNvSpPr/>
            <p:nvPr/>
          </p:nvSpPr>
          <p:spPr bwMode="auto">
            <a:xfrm>
              <a:off x="6138556" y="3120567"/>
              <a:ext cx="240514" cy="210025"/>
            </a:xfrm>
            <a:custGeom>
              <a:avLst/>
              <a:gdLst>
                <a:gd name="T0" fmla="*/ 19 w 34"/>
                <a:gd name="T1" fmla="*/ 28 h 30"/>
                <a:gd name="T2" fmla="*/ 31 w 34"/>
                <a:gd name="T3" fmla="*/ 10 h 30"/>
                <a:gd name="T4" fmla="*/ 14 w 34"/>
                <a:gd name="T5" fmla="*/ 0 h 30"/>
                <a:gd name="T6" fmla="*/ 7 w 34"/>
                <a:gd name="T7" fmla="*/ 3 h 30"/>
                <a:gd name="T8" fmla="*/ 4 w 34"/>
                <a:gd name="T9" fmla="*/ 5 h 30"/>
                <a:gd name="T10" fmla="*/ 0 w 34"/>
                <a:gd name="T11" fmla="*/ 15 h 30"/>
                <a:gd name="T12" fmla="*/ 19 w 34"/>
                <a:gd name="T13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0">
                  <a:moveTo>
                    <a:pt x="19" y="28"/>
                  </a:moveTo>
                  <a:cubicBezTo>
                    <a:pt x="27" y="27"/>
                    <a:pt x="34" y="18"/>
                    <a:pt x="31" y="10"/>
                  </a:cubicBezTo>
                  <a:cubicBezTo>
                    <a:pt x="29" y="3"/>
                    <a:pt x="20" y="0"/>
                    <a:pt x="14" y="0"/>
                  </a:cubicBezTo>
                  <a:cubicBezTo>
                    <a:pt x="11" y="0"/>
                    <a:pt x="8" y="1"/>
                    <a:pt x="7" y="3"/>
                  </a:cubicBezTo>
                  <a:cubicBezTo>
                    <a:pt x="6" y="3"/>
                    <a:pt x="5" y="4"/>
                    <a:pt x="4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4"/>
                    <a:pt x="11" y="30"/>
                    <a:pt x="19" y="2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íś1iḑe"/>
            <p:cNvSpPr/>
            <p:nvPr/>
          </p:nvSpPr>
          <p:spPr bwMode="auto">
            <a:xfrm>
              <a:off x="5518643" y="3120567"/>
              <a:ext cx="233739" cy="250676"/>
            </a:xfrm>
            <a:custGeom>
              <a:avLst/>
              <a:gdLst>
                <a:gd name="T0" fmla="*/ 30 w 33"/>
                <a:gd name="T1" fmla="*/ 11 h 36"/>
                <a:gd name="T2" fmla="*/ 17 w 33"/>
                <a:gd name="T3" fmla="*/ 1 h 36"/>
                <a:gd name="T4" fmla="*/ 11 w 33"/>
                <a:gd name="T5" fmla="*/ 2 h 36"/>
                <a:gd name="T6" fmla="*/ 2 w 33"/>
                <a:gd name="T7" fmla="*/ 8 h 36"/>
                <a:gd name="T8" fmla="*/ 3 w 33"/>
                <a:gd name="T9" fmla="*/ 23 h 36"/>
                <a:gd name="T10" fmla="*/ 30 w 33"/>
                <a:gd name="T11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6">
                  <a:moveTo>
                    <a:pt x="30" y="11"/>
                  </a:moveTo>
                  <a:cubicBezTo>
                    <a:pt x="29" y="5"/>
                    <a:pt x="23" y="0"/>
                    <a:pt x="17" y="1"/>
                  </a:cubicBezTo>
                  <a:cubicBezTo>
                    <a:pt x="15" y="1"/>
                    <a:pt x="12" y="1"/>
                    <a:pt x="11" y="2"/>
                  </a:cubicBezTo>
                  <a:cubicBezTo>
                    <a:pt x="7" y="3"/>
                    <a:pt x="4" y="5"/>
                    <a:pt x="2" y="8"/>
                  </a:cubicBezTo>
                  <a:cubicBezTo>
                    <a:pt x="0" y="12"/>
                    <a:pt x="0" y="18"/>
                    <a:pt x="3" y="23"/>
                  </a:cubicBezTo>
                  <a:cubicBezTo>
                    <a:pt x="11" y="36"/>
                    <a:pt x="33" y="26"/>
                    <a:pt x="30" y="1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íśľïďé"/>
            <p:cNvSpPr/>
            <p:nvPr/>
          </p:nvSpPr>
          <p:spPr bwMode="auto">
            <a:xfrm>
              <a:off x="5420404" y="3401730"/>
              <a:ext cx="1063678" cy="335364"/>
            </a:xfrm>
            <a:custGeom>
              <a:avLst/>
              <a:gdLst>
                <a:gd name="T0" fmla="*/ 1 w 151"/>
                <a:gd name="T1" fmla="*/ 42 h 48"/>
                <a:gd name="T2" fmla="*/ 1 w 151"/>
                <a:gd name="T3" fmla="*/ 42 h 48"/>
                <a:gd name="T4" fmla="*/ 2 w 151"/>
                <a:gd name="T5" fmla="*/ 44 h 48"/>
                <a:gd name="T6" fmla="*/ 10 w 151"/>
                <a:gd name="T7" fmla="*/ 46 h 48"/>
                <a:gd name="T8" fmla="*/ 19 w 151"/>
                <a:gd name="T9" fmla="*/ 46 h 48"/>
                <a:gd name="T10" fmla="*/ 38 w 151"/>
                <a:gd name="T11" fmla="*/ 46 h 48"/>
                <a:gd name="T12" fmla="*/ 57 w 151"/>
                <a:gd name="T13" fmla="*/ 46 h 48"/>
                <a:gd name="T14" fmla="*/ 76 w 151"/>
                <a:gd name="T15" fmla="*/ 48 h 48"/>
                <a:gd name="T16" fmla="*/ 94 w 151"/>
                <a:gd name="T17" fmla="*/ 47 h 48"/>
                <a:gd name="T18" fmla="*/ 113 w 151"/>
                <a:gd name="T19" fmla="*/ 46 h 48"/>
                <a:gd name="T20" fmla="*/ 131 w 151"/>
                <a:gd name="T21" fmla="*/ 46 h 48"/>
                <a:gd name="T22" fmla="*/ 149 w 151"/>
                <a:gd name="T23" fmla="*/ 43 h 48"/>
                <a:gd name="T24" fmla="*/ 150 w 151"/>
                <a:gd name="T25" fmla="*/ 39 h 48"/>
                <a:gd name="T26" fmla="*/ 151 w 151"/>
                <a:gd name="T27" fmla="*/ 33 h 48"/>
                <a:gd name="T28" fmla="*/ 151 w 151"/>
                <a:gd name="T29" fmla="*/ 23 h 48"/>
                <a:gd name="T30" fmla="*/ 150 w 151"/>
                <a:gd name="T31" fmla="*/ 13 h 48"/>
                <a:gd name="T32" fmla="*/ 150 w 151"/>
                <a:gd name="T33" fmla="*/ 6 h 48"/>
                <a:gd name="T34" fmla="*/ 148 w 151"/>
                <a:gd name="T35" fmla="*/ 4 h 48"/>
                <a:gd name="T36" fmla="*/ 136 w 151"/>
                <a:gd name="T37" fmla="*/ 1 h 48"/>
                <a:gd name="T38" fmla="*/ 117 w 151"/>
                <a:gd name="T39" fmla="*/ 1 h 48"/>
                <a:gd name="T40" fmla="*/ 97 w 151"/>
                <a:gd name="T41" fmla="*/ 0 h 48"/>
                <a:gd name="T42" fmla="*/ 78 w 151"/>
                <a:gd name="T43" fmla="*/ 2 h 48"/>
                <a:gd name="T44" fmla="*/ 41 w 151"/>
                <a:gd name="T45" fmla="*/ 1 h 48"/>
                <a:gd name="T46" fmla="*/ 21 w 151"/>
                <a:gd name="T47" fmla="*/ 2 h 48"/>
                <a:gd name="T48" fmla="*/ 11 w 151"/>
                <a:gd name="T49" fmla="*/ 3 h 48"/>
                <a:gd name="T50" fmla="*/ 3 w 151"/>
                <a:gd name="T51" fmla="*/ 4 h 48"/>
                <a:gd name="T52" fmla="*/ 2 w 151"/>
                <a:gd name="T53" fmla="*/ 5 h 48"/>
                <a:gd name="T54" fmla="*/ 1 w 151"/>
                <a:gd name="T55" fmla="*/ 7 h 48"/>
                <a:gd name="T56" fmla="*/ 0 w 151"/>
                <a:gd name="T57" fmla="*/ 17 h 48"/>
                <a:gd name="T58" fmla="*/ 0 w 151"/>
                <a:gd name="T59" fmla="*/ 28 h 48"/>
                <a:gd name="T60" fmla="*/ 0 w 151"/>
                <a:gd name="T61" fmla="*/ 38 h 48"/>
                <a:gd name="T62" fmla="*/ 1 w 151"/>
                <a:gd name="T63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48">
                  <a:moveTo>
                    <a:pt x="1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" y="43"/>
                    <a:pt x="2" y="44"/>
                    <a:pt x="2" y="44"/>
                  </a:cubicBezTo>
                  <a:cubicBezTo>
                    <a:pt x="5" y="46"/>
                    <a:pt x="7" y="46"/>
                    <a:pt x="10" y="46"/>
                  </a:cubicBezTo>
                  <a:cubicBezTo>
                    <a:pt x="13" y="46"/>
                    <a:pt x="16" y="45"/>
                    <a:pt x="19" y="46"/>
                  </a:cubicBezTo>
                  <a:cubicBezTo>
                    <a:pt x="25" y="46"/>
                    <a:pt x="32" y="46"/>
                    <a:pt x="38" y="46"/>
                  </a:cubicBezTo>
                  <a:cubicBezTo>
                    <a:pt x="44" y="46"/>
                    <a:pt x="51" y="46"/>
                    <a:pt x="57" y="46"/>
                  </a:cubicBezTo>
                  <a:cubicBezTo>
                    <a:pt x="63" y="46"/>
                    <a:pt x="70" y="47"/>
                    <a:pt x="76" y="48"/>
                  </a:cubicBezTo>
                  <a:cubicBezTo>
                    <a:pt x="82" y="48"/>
                    <a:pt x="88" y="48"/>
                    <a:pt x="94" y="47"/>
                  </a:cubicBezTo>
                  <a:cubicBezTo>
                    <a:pt x="100" y="46"/>
                    <a:pt x="106" y="46"/>
                    <a:pt x="113" y="46"/>
                  </a:cubicBezTo>
                  <a:cubicBezTo>
                    <a:pt x="119" y="47"/>
                    <a:pt x="125" y="47"/>
                    <a:pt x="131" y="46"/>
                  </a:cubicBezTo>
                  <a:cubicBezTo>
                    <a:pt x="137" y="46"/>
                    <a:pt x="143" y="46"/>
                    <a:pt x="149" y="43"/>
                  </a:cubicBezTo>
                  <a:cubicBezTo>
                    <a:pt x="150" y="42"/>
                    <a:pt x="150" y="41"/>
                    <a:pt x="150" y="39"/>
                  </a:cubicBezTo>
                  <a:cubicBezTo>
                    <a:pt x="150" y="37"/>
                    <a:pt x="151" y="35"/>
                    <a:pt x="151" y="33"/>
                  </a:cubicBezTo>
                  <a:cubicBezTo>
                    <a:pt x="151" y="30"/>
                    <a:pt x="151" y="27"/>
                    <a:pt x="151" y="23"/>
                  </a:cubicBezTo>
                  <a:cubicBezTo>
                    <a:pt x="150" y="20"/>
                    <a:pt x="150" y="17"/>
                    <a:pt x="150" y="13"/>
                  </a:cubicBezTo>
                  <a:cubicBezTo>
                    <a:pt x="150" y="11"/>
                    <a:pt x="151" y="9"/>
                    <a:pt x="150" y="6"/>
                  </a:cubicBezTo>
                  <a:cubicBezTo>
                    <a:pt x="150" y="5"/>
                    <a:pt x="149" y="4"/>
                    <a:pt x="148" y="4"/>
                  </a:cubicBezTo>
                  <a:cubicBezTo>
                    <a:pt x="145" y="0"/>
                    <a:pt x="140" y="1"/>
                    <a:pt x="136" y="1"/>
                  </a:cubicBezTo>
                  <a:cubicBezTo>
                    <a:pt x="130" y="1"/>
                    <a:pt x="123" y="1"/>
                    <a:pt x="117" y="1"/>
                  </a:cubicBezTo>
                  <a:cubicBezTo>
                    <a:pt x="110" y="0"/>
                    <a:pt x="104" y="0"/>
                    <a:pt x="97" y="0"/>
                  </a:cubicBezTo>
                  <a:cubicBezTo>
                    <a:pt x="91" y="0"/>
                    <a:pt x="85" y="1"/>
                    <a:pt x="78" y="2"/>
                  </a:cubicBezTo>
                  <a:cubicBezTo>
                    <a:pt x="66" y="3"/>
                    <a:pt x="53" y="2"/>
                    <a:pt x="41" y="1"/>
                  </a:cubicBezTo>
                  <a:cubicBezTo>
                    <a:pt x="34" y="1"/>
                    <a:pt x="28" y="2"/>
                    <a:pt x="21" y="2"/>
                  </a:cubicBezTo>
                  <a:cubicBezTo>
                    <a:pt x="18" y="2"/>
                    <a:pt x="14" y="3"/>
                    <a:pt x="11" y="3"/>
                  </a:cubicBezTo>
                  <a:cubicBezTo>
                    <a:pt x="8" y="4"/>
                    <a:pt x="6" y="3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ubicBezTo>
                    <a:pt x="2" y="5"/>
                    <a:pt x="1" y="6"/>
                    <a:pt x="1" y="7"/>
                  </a:cubicBezTo>
                  <a:cubicBezTo>
                    <a:pt x="1" y="10"/>
                    <a:pt x="1" y="13"/>
                    <a:pt x="0" y="17"/>
                  </a:cubicBezTo>
                  <a:cubicBezTo>
                    <a:pt x="0" y="20"/>
                    <a:pt x="0" y="24"/>
                    <a:pt x="0" y="28"/>
                  </a:cubicBezTo>
                  <a:cubicBezTo>
                    <a:pt x="0" y="31"/>
                    <a:pt x="0" y="35"/>
                    <a:pt x="0" y="38"/>
                  </a:cubicBezTo>
                  <a:cubicBezTo>
                    <a:pt x="0" y="40"/>
                    <a:pt x="0" y="41"/>
                    <a:pt x="1" y="4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ïšḻíḑê"/>
            <p:cNvSpPr/>
            <p:nvPr/>
          </p:nvSpPr>
          <p:spPr bwMode="auto">
            <a:xfrm>
              <a:off x="4675152" y="2155127"/>
              <a:ext cx="2689683" cy="2378030"/>
            </a:xfrm>
            <a:custGeom>
              <a:avLst/>
              <a:gdLst>
                <a:gd name="T0" fmla="*/ 69 w 382"/>
                <a:gd name="T1" fmla="*/ 160 h 338"/>
                <a:gd name="T2" fmla="*/ 69 w 382"/>
                <a:gd name="T3" fmla="*/ 160 h 338"/>
                <a:gd name="T4" fmla="*/ 66 w 382"/>
                <a:gd name="T5" fmla="*/ 180 h 338"/>
                <a:gd name="T6" fmla="*/ 59 w 382"/>
                <a:gd name="T7" fmla="*/ 181 h 338"/>
                <a:gd name="T8" fmla="*/ 53 w 382"/>
                <a:gd name="T9" fmla="*/ 182 h 338"/>
                <a:gd name="T10" fmla="*/ 54 w 382"/>
                <a:gd name="T11" fmla="*/ 170 h 338"/>
                <a:gd name="T12" fmla="*/ 56 w 382"/>
                <a:gd name="T13" fmla="*/ 159 h 338"/>
                <a:gd name="T14" fmla="*/ 69 w 382"/>
                <a:gd name="T15" fmla="*/ 160 h 338"/>
                <a:gd name="T16" fmla="*/ 119 w 382"/>
                <a:gd name="T17" fmla="*/ 21 h 338"/>
                <a:gd name="T18" fmla="*/ 119 w 382"/>
                <a:gd name="T19" fmla="*/ 21 h 338"/>
                <a:gd name="T20" fmla="*/ 107 w 382"/>
                <a:gd name="T21" fmla="*/ 12 h 338"/>
                <a:gd name="T22" fmla="*/ 113 w 382"/>
                <a:gd name="T23" fmla="*/ 0 h 338"/>
                <a:gd name="T24" fmla="*/ 123 w 382"/>
                <a:gd name="T25" fmla="*/ 1 h 338"/>
                <a:gd name="T26" fmla="*/ 129 w 382"/>
                <a:gd name="T27" fmla="*/ 7 h 338"/>
                <a:gd name="T28" fmla="*/ 119 w 382"/>
                <a:gd name="T29" fmla="*/ 21 h 338"/>
                <a:gd name="T30" fmla="*/ 18 w 382"/>
                <a:gd name="T31" fmla="*/ 309 h 338"/>
                <a:gd name="T32" fmla="*/ 18 w 382"/>
                <a:gd name="T33" fmla="*/ 309 h 338"/>
                <a:gd name="T34" fmla="*/ 5 w 382"/>
                <a:gd name="T35" fmla="*/ 314 h 338"/>
                <a:gd name="T36" fmla="*/ 4 w 382"/>
                <a:gd name="T37" fmla="*/ 300 h 338"/>
                <a:gd name="T38" fmla="*/ 10 w 382"/>
                <a:gd name="T39" fmla="*/ 296 h 338"/>
                <a:gd name="T40" fmla="*/ 15 w 382"/>
                <a:gd name="T41" fmla="*/ 297 h 338"/>
                <a:gd name="T42" fmla="*/ 19 w 382"/>
                <a:gd name="T43" fmla="*/ 301 h 338"/>
                <a:gd name="T44" fmla="*/ 18 w 382"/>
                <a:gd name="T45" fmla="*/ 309 h 338"/>
                <a:gd name="T46" fmla="*/ 376 w 382"/>
                <a:gd name="T47" fmla="*/ 336 h 338"/>
                <a:gd name="T48" fmla="*/ 376 w 382"/>
                <a:gd name="T49" fmla="*/ 336 h 338"/>
                <a:gd name="T50" fmla="*/ 365 w 382"/>
                <a:gd name="T51" fmla="*/ 334 h 338"/>
                <a:gd name="T52" fmla="*/ 360 w 382"/>
                <a:gd name="T53" fmla="*/ 324 h 338"/>
                <a:gd name="T54" fmla="*/ 361 w 382"/>
                <a:gd name="T55" fmla="*/ 320 h 338"/>
                <a:gd name="T56" fmla="*/ 370 w 382"/>
                <a:gd name="T57" fmla="*/ 320 h 338"/>
                <a:gd name="T58" fmla="*/ 382 w 382"/>
                <a:gd name="T59" fmla="*/ 327 h 338"/>
                <a:gd name="T60" fmla="*/ 376 w 382"/>
                <a:gd name="T61" fmla="*/ 336 h 338"/>
                <a:gd name="T62" fmla="*/ 299 w 382"/>
                <a:gd name="T63" fmla="*/ 155 h 338"/>
                <a:gd name="T64" fmla="*/ 299 w 382"/>
                <a:gd name="T65" fmla="*/ 155 h 338"/>
                <a:gd name="T66" fmla="*/ 308 w 382"/>
                <a:gd name="T67" fmla="*/ 155 h 338"/>
                <a:gd name="T68" fmla="*/ 307 w 382"/>
                <a:gd name="T69" fmla="*/ 161 h 338"/>
                <a:gd name="T70" fmla="*/ 306 w 382"/>
                <a:gd name="T71" fmla="*/ 175 h 338"/>
                <a:gd name="T72" fmla="*/ 301 w 382"/>
                <a:gd name="T73" fmla="*/ 175 h 338"/>
                <a:gd name="T74" fmla="*/ 297 w 382"/>
                <a:gd name="T75" fmla="*/ 175 h 338"/>
                <a:gd name="T76" fmla="*/ 292 w 382"/>
                <a:gd name="T77" fmla="*/ 154 h 338"/>
                <a:gd name="T78" fmla="*/ 299 w 382"/>
                <a:gd name="T79" fmla="*/ 15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2" h="338">
                  <a:moveTo>
                    <a:pt x="69" y="160"/>
                  </a:moveTo>
                  <a:cubicBezTo>
                    <a:pt x="69" y="160"/>
                    <a:pt x="69" y="160"/>
                    <a:pt x="69" y="160"/>
                  </a:cubicBezTo>
                  <a:cubicBezTo>
                    <a:pt x="67" y="167"/>
                    <a:pt x="66" y="173"/>
                    <a:pt x="66" y="180"/>
                  </a:cubicBezTo>
                  <a:cubicBezTo>
                    <a:pt x="63" y="180"/>
                    <a:pt x="61" y="180"/>
                    <a:pt x="59" y="181"/>
                  </a:cubicBezTo>
                  <a:cubicBezTo>
                    <a:pt x="58" y="181"/>
                    <a:pt x="56" y="181"/>
                    <a:pt x="53" y="182"/>
                  </a:cubicBezTo>
                  <a:cubicBezTo>
                    <a:pt x="54" y="178"/>
                    <a:pt x="54" y="174"/>
                    <a:pt x="54" y="170"/>
                  </a:cubicBezTo>
                  <a:cubicBezTo>
                    <a:pt x="55" y="166"/>
                    <a:pt x="55" y="163"/>
                    <a:pt x="56" y="159"/>
                  </a:cubicBezTo>
                  <a:cubicBezTo>
                    <a:pt x="60" y="160"/>
                    <a:pt x="65" y="160"/>
                    <a:pt x="69" y="160"/>
                  </a:cubicBezTo>
                  <a:close/>
                  <a:moveTo>
                    <a:pt x="119" y="21"/>
                  </a:moveTo>
                  <a:cubicBezTo>
                    <a:pt x="119" y="21"/>
                    <a:pt x="119" y="21"/>
                    <a:pt x="119" y="21"/>
                  </a:cubicBezTo>
                  <a:cubicBezTo>
                    <a:pt x="113" y="23"/>
                    <a:pt x="106" y="19"/>
                    <a:pt x="107" y="12"/>
                  </a:cubicBezTo>
                  <a:cubicBezTo>
                    <a:pt x="107" y="8"/>
                    <a:pt x="109" y="3"/>
                    <a:pt x="113" y="0"/>
                  </a:cubicBezTo>
                  <a:cubicBezTo>
                    <a:pt x="116" y="1"/>
                    <a:pt x="120" y="0"/>
                    <a:pt x="123" y="1"/>
                  </a:cubicBezTo>
                  <a:cubicBezTo>
                    <a:pt x="126" y="2"/>
                    <a:pt x="129" y="5"/>
                    <a:pt x="129" y="7"/>
                  </a:cubicBezTo>
                  <a:cubicBezTo>
                    <a:pt x="130" y="13"/>
                    <a:pt x="124" y="19"/>
                    <a:pt x="119" y="21"/>
                  </a:cubicBezTo>
                  <a:close/>
                  <a:moveTo>
                    <a:pt x="18" y="309"/>
                  </a:moveTo>
                  <a:cubicBezTo>
                    <a:pt x="18" y="309"/>
                    <a:pt x="18" y="309"/>
                    <a:pt x="18" y="309"/>
                  </a:cubicBezTo>
                  <a:cubicBezTo>
                    <a:pt x="16" y="315"/>
                    <a:pt x="10" y="317"/>
                    <a:pt x="5" y="314"/>
                  </a:cubicBezTo>
                  <a:cubicBezTo>
                    <a:pt x="0" y="311"/>
                    <a:pt x="1" y="303"/>
                    <a:pt x="4" y="300"/>
                  </a:cubicBezTo>
                  <a:cubicBezTo>
                    <a:pt x="6" y="298"/>
                    <a:pt x="8" y="297"/>
                    <a:pt x="10" y="296"/>
                  </a:cubicBezTo>
                  <a:cubicBezTo>
                    <a:pt x="12" y="296"/>
                    <a:pt x="14" y="297"/>
                    <a:pt x="15" y="297"/>
                  </a:cubicBezTo>
                  <a:cubicBezTo>
                    <a:pt x="16" y="298"/>
                    <a:pt x="18" y="299"/>
                    <a:pt x="19" y="301"/>
                  </a:cubicBezTo>
                  <a:cubicBezTo>
                    <a:pt x="20" y="302"/>
                    <a:pt x="19" y="306"/>
                    <a:pt x="18" y="309"/>
                  </a:cubicBezTo>
                  <a:close/>
                  <a:moveTo>
                    <a:pt x="376" y="336"/>
                  </a:moveTo>
                  <a:cubicBezTo>
                    <a:pt x="376" y="336"/>
                    <a:pt x="376" y="336"/>
                    <a:pt x="376" y="336"/>
                  </a:cubicBezTo>
                  <a:cubicBezTo>
                    <a:pt x="373" y="338"/>
                    <a:pt x="368" y="336"/>
                    <a:pt x="365" y="334"/>
                  </a:cubicBezTo>
                  <a:cubicBezTo>
                    <a:pt x="362" y="332"/>
                    <a:pt x="359" y="328"/>
                    <a:pt x="360" y="324"/>
                  </a:cubicBezTo>
                  <a:cubicBezTo>
                    <a:pt x="360" y="322"/>
                    <a:pt x="361" y="321"/>
                    <a:pt x="361" y="320"/>
                  </a:cubicBezTo>
                  <a:cubicBezTo>
                    <a:pt x="364" y="321"/>
                    <a:pt x="368" y="320"/>
                    <a:pt x="370" y="320"/>
                  </a:cubicBezTo>
                  <a:cubicBezTo>
                    <a:pt x="376" y="319"/>
                    <a:pt x="381" y="321"/>
                    <a:pt x="382" y="327"/>
                  </a:cubicBezTo>
                  <a:cubicBezTo>
                    <a:pt x="382" y="330"/>
                    <a:pt x="379" y="334"/>
                    <a:pt x="376" y="336"/>
                  </a:cubicBezTo>
                  <a:close/>
                  <a:moveTo>
                    <a:pt x="299" y="155"/>
                  </a:moveTo>
                  <a:cubicBezTo>
                    <a:pt x="299" y="155"/>
                    <a:pt x="299" y="155"/>
                    <a:pt x="299" y="155"/>
                  </a:cubicBezTo>
                  <a:cubicBezTo>
                    <a:pt x="302" y="155"/>
                    <a:pt x="305" y="155"/>
                    <a:pt x="308" y="155"/>
                  </a:cubicBezTo>
                  <a:cubicBezTo>
                    <a:pt x="307" y="157"/>
                    <a:pt x="307" y="159"/>
                    <a:pt x="307" y="161"/>
                  </a:cubicBezTo>
                  <a:cubicBezTo>
                    <a:pt x="307" y="166"/>
                    <a:pt x="307" y="170"/>
                    <a:pt x="306" y="175"/>
                  </a:cubicBezTo>
                  <a:cubicBezTo>
                    <a:pt x="305" y="175"/>
                    <a:pt x="303" y="175"/>
                    <a:pt x="301" y="175"/>
                  </a:cubicBezTo>
                  <a:cubicBezTo>
                    <a:pt x="300" y="175"/>
                    <a:pt x="299" y="175"/>
                    <a:pt x="297" y="175"/>
                  </a:cubicBezTo>
                  <a:cubicBezTo>
                    <a:pt x="296" y="168"/>
                    <a:pt x="294" y="161"/>
                    <a:pt x="292" y="154"/>
                  </a:cubicBezTo>
                  <a:cubicBezTo>
                    <a:pt x="294" y="154"/>
                    <a:pt x="297" y="155"/>
                    <a:pt x="299" y="155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íś1ídé"/>
            <p:cNvSpPr/>
            <p:nvPr/>
          </p:nvSpPr>
          <p:spPr bwMode="auto">
            <a:xfrm>
              <a:off x="4109439" y="3134117"/>
              <a:ext cx="3895636" cy="1399042"/>
            </a:xfrm>
            <a:custGeom>
              <a:avLst/>
              <a:gdLst>
                <a:gd name="T0" fmla="*/ 400 w 553"/>
                <a:gd name="T1" fmla="*/ 0 h 199"/>
                <a:gd name="T2" fmla="*/ 401 w 553"/>
                <a:gd name="T3" fmla="*/ 0 h 199"/>
                <a:gd name="T4" fmla="*/ 408 w 553"/>
                <a:gd name="T5" fmla="*/ 3 h 199"/>
                <a:gd name="T6" fmla="*/ 408 w 553"/>
                <a:gd name="T7" fmla="*/ 3 h 199"/>
                <a:gd name="T8" fmla="*/ 409 w 553"/>
                <a:gd name="T9" fmla="*/ 17 h 199"/>
                <a:gd name="T10" fmla="*/ 407 w 553"/>
                <a:gd name="T11" fmla="*/ 51 h 199"/>
                <a:gd name="T12" fmla="*/ 407 w 553"/>
                <a:gd name="T13" fmla="*/ 52 h 199"/>
                <a:gd name="T14" fmla="*/ 401 w 553"/>
                <a:gd name="T15" fmla="*/ 51 h 199"/>
                <a:gd name="T16" fmla="*/ 400 w 553"/>
                <a:gd name="T17" fmla="*/ 49 h 199"/>
                <a:gd name="T18" fmla="*/ 400 w 553"/>
                <a:gd name="T19" fmla="*/ 47 h 199"/>
                <a:gd name="T20" fmla="*/ 400 w 553"/>
                <a:gd name="T21" fmla="*/ 37 h 199"/>
                <a:gd name="T22" fmla="*/ 400 w 553"/>
                <a:gd name="T23" fmla="*/ 5 h 199"/>
                <a:gd name="T24" fmla="*/ 400 w 553"/>
                <a:gd name="T25" fmla="*/ 0 h 199"/>
                <a:gd name="T26" fmla="*/ 540 w 553"/>
                <a:gd name="T27" fmla="*/ 199 h 199"/>
                <a:gd name="T28" fmla="*/ 537 w 553"/>
                <a:gd name="T29" fmla="*/ 199 h 199"/>
                <a:gd name="T30" fmla="*/ 533 w 553"/>
                <a:gd name="T31" fmla="*/ 198 h 199"/>
                <a:gd name="T32" fmla="*/ 529 w 553"/>
                <a:gd name="T33" fmla="*/ 194 h 199"/>
                <a:gd name="T34" fmla="*/ 534 w 553"/>
                <a:gd name="T35" fmla="*/ 181 h 199"/>
                <a:gd name="T36" fmla="*/ 552 w 553"/>
                <a:gd name="T37" fmla="*/ 189 h 199"/>
                <a:gd name="T38" fmla="*/ 553 w 553"/>
                <a:gd name="T39" fmla="*/ 190 h 199"/>
                <a:gd name="T40" fmla="*/ 553 w 553"/>
                <a:gd name="T41" fmla="*/ 190 h 199"/>
                <a:gd name="T42" fmla="*/ 553 w 553"/>
                <a:gd name="T43" fmla="*/ 192 h 199"/>
                <a:gd name="T44" fmla="*/ 552 w 553"/>
                <a:gd name="T45" fmla="*/ 193 h 199"/>
                <a:gd name="T46" fmla="*/ 550 w 553"/>
                <a:gd name="T47" fmla="*/ 195 h 199"/>
                <a:gd name="T48" fmla="*/ 546 w 553"/>
                <a:gd name="T49" fmla="*/ 197 h 199"/>
                <a:gd name="T50" fmla="*/ 544 w 553"/>
                <a:gd name="T51" fmla="*/ 198 h 199"/>
                <a:gd name="T52" fmla="*/ 540 w 553"/>
                <a:gd name="T53" fmla="*/ 199 h 199"/>
                <a:gd name="T54" fmla="*/ 21 w 553"/>
                <a:gd name="T55" fmla="*/ 187 h 199"/>
                <a:gd name="T56" fmla="*/ 15 w 553"/>
                <a:gd name="T57" fmla="*/ 193 h 199"/>
                <a:gd name="T58" fmla="*/ 2 w 553"/>
                <a:gd name="T59" fmla="*/ 187 h 199"/>
                <a:gd name="T60" fmla="*/ 14 w 553"/>
                <a:gd name="T61" fmla="*/ 177 h 199"/>
                <a:gd name="T62" fmla="*/ 21 w 553"/>
                <a:gd name="T63" fmla="*/ 187 h 199"/>
                <a:gd name="T64" fmla="*/ 113 w 553"/>
                <a:gd name="T65" fmla="*/ 0 h 199"/>
                <a:gd name="T66" fmla="*/ 114 w 553"/>
                <a:gd name="T67" fmla="*/ 1 h 199"/>
                <a:gd name="T68" fmla="*/ 120 w 553"/>
                <a:gd name="T69" fmla="*/ 3 h 199"/>
                <a:gd name="T70" fmla="*/ 120 w 553"/>
                <a:gd name="T71" fmla="*/ 3 h 199"/>
                <a:gd name="T72" fmla="*/ 123 w 553"/>
                <a:gd name="T73" fmla="*/ 16 h 199"/>
                <a:gd name="T74" fmla="*/ 119 w 553"/>
                <a:gd name="T75" fmla="*/ 48 h 199"/>
                <a:gd name="T76" fmla="*/ 116 w 553"/>
                <a:gd name="T77" fmla="*/ 58 h 199"/>
                <a:gd name="T78" fmla="*/ 115 w 553"/>
                <a:gd name="T79" fmla="*/ 58 h 199"/>
                <a:gd name="T80" fmla="*/ 110 w 553"/>
                <a:gd name="T81" fmla="*/ 60 h 199"/>
                <a:gd name="T82" fmla="*/ 109 w 553"/>
                <a:gd name="T83" fmla="*/ 57 h 199"/>
                <a:gd name="T84" fmla="*/ 108 w 553"/>
                <a:gd name="T85" fmla="*/ 34 h 199"/>
                <a:gd name="T86" fmla="*/ 108 w 553"/>
                <a:gd name="T87" fmla="*/ 2 h 199"/>
                <a:gd name="T88" fmla="*/ 110 w 553"/>
                <a:gd name="T89" fmla="*/ 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3" h="199">
                  <a:moveTo>
                    <a:pt x="400" y="0"/>
                  </a:moveTo>
                  <a:cubicBezTo>
                    <a:pt x="400" y="0"/>
                    <a:pt x="400" y="0"/>
                    <a:pt x="400" y="0"/>
                  </a:cubicBezTo>
                  <a:cubicBezTo>
                    <a:pt x="401" y="0"/>
                    <a:pt x="401" y="0"/>
                    <a:pt x="401" y="0"/>
                  </a:cubicBezTo>
                  <a:cubicBezTo>
                    <a:pt x="401" y="0"/>
                    <a:pt x="401" y="0"/>
                    <a:pt x="401" y="0"/>
                  </a:cubicBezTo>
                  <a:cubicBezTo>
                    <a:pt x="404" y="1"/>
                    <a:pt x="405" y="1"/>
                    <a:pt x="407" y="2"/>
                  </a:cubicBezTo>
                  <a:cubicBezTo>
                    <a:pt x="408" y="2"/>
                    <a:pt x="408" y="3"/>
                    <a:pt x="408" y="3"/>
                  </a:cubicBezTo>
                  <a:cubicBezTo>
                    <a:pt x="408" y="3"/>
                    <a:pt x="408" y="3"/>
                    <a:pt x="408" y="3"/>
                  </a:cubicBezTo>
                  <a:cubicBezTo>
                    <a:pt x="408" y="3"/>
                    <a:pt x="408" y="3"/>
                    <a:pt x="408" y="3"/>
                  </a:cubicBezTo>
                  <a:cubicBezTo>
                    <a:pt x="409" y="4"/>
                    <a:pt x="409" y="6"/>
                    <a:pt x="409" y="7"/>
                  </a:cubicBezTo>
                  <a:cubicBezTo>
                    <a:pt x="410" y="10"/>
                    <a:pt x="409" y="14"/>
                    <a:pt x="409" y="17"/>
                  </a:cubicBezTo>
                  <a:cubicBezTo>
                    <a:pt x="407" y="26"/>
                    <a:pt x="408" y="35"/>
                    <a:pt x="408" y="44"/>
                  </a:cubicBezTo>
                  <a:cubicBezTo>
                    <a:pt x="408" y="47"/>
                    <a:pt x="407" y="49"/>
                    <a:pt x="407" y="51"/>
                  </a:cubicBezTo>
                  <a:cubicBezTo>
                    <a:pt x="407" y="51"/>
                    <a:pt x="407" y="52"/>
                    <a:pt x="407" y="52"/>
                  </a:cubicBezTo>
                  <a:cubicBezTo>
                    <a:pt x="407" y="51"/>
                    <a:pt x="406" y="53"/>
                    <a:pt x="407" y="52"/>
                  </a:cubicBezTo>
                  <a:cubicBezTo>
                    <a:pt x="406" y="53"/>
                    <a:pt x="406" y="53"/>
                    <a:pt x="406" y="53"/>
                  </a:cubicBezTo>
                  <a:cubicBezTo>
                    <a:pt x="405" y="52"/>
                    <a:pt x="403" y="51"/>
                    <a:pt x="401" y="51"/>
                  </a:cubicBezTo>
                  <a:cubicBezTo>
                    <a:pt x="401" y="51"/>
                    <a:pt x="401" y="51"/>
                    <a:pt x="401" y="51"/>
                  </a:cubicBezTo>
                  <a:cubicBezTo>
                    <a:pt x="400" y="50"/>
                    <a:pt x="400" y="49"/>
                    <a:pt x="400" y="49"/>
                  </a:cubicBezTo>
                  <a:cubicBezTo>
                    <a:pt x="400" y="48"/>
                    <a:pt x="400" y="48"/>
                    <a:pt x="400" y="48"/>
                  </a:cubicBezTo>
                  <a:cubicBezTo>
                    <a:pt x="400" y="48"/>
                    <a:pt x="400" y="47"/>
                    <a:pt x="400" y="47"/>
                  </a:cubicBezTo>
                  <a:cubicBezTo>
                    <a:pt x="400" y="46"/>
                    <a:pt x="400" y="44"/>
                    <a:pt x="400" y="43"/>
                  </a:cubicBezTo>
                  <a:cubicBezTo>
                    <a:pt x="399" y="41"/>
                    <a:pt x="400" y="39"/>
                    <a:pt x="400" y="37"/>
                  </a:cubicBezTo>
                  <a:cubicBezTo>
                    <a:pt x="400" y="31"/>
                    <a:pt x="400" y="25"/>
                    <a:pt x="400" y="18"/>
                  </a:cubicBezTo>
                  <a:cubicBezTo>
                    <a:pt x="400" y="14"/>
                    <a:pt x="400" y="9"/>
                    <a:pt x="400" y="5"/>
                  </a:cubicBezTo>
                  <a:cubicBezTo>
                    <a:pt x="400" y="3"/>
                    <a:pt x="400" y="2"/>
                    <a:pt x="400" y="0"/>
                  </a:cubicBezTo>
                  <a:cubicBezTo>
                    <a:pt x="400" y="0"/>
                    <a:pt x="400" y="0"/>
                    <a:pt x="400" y="0"/>
                  </a:cubicBezTo>
                  <a:close/>
                  <a:moveTo>
                    <a:pt x="540" y="199"/>
                  </a:moveTo>
                  <a:cubicBezTo>
                    <a:pt x="540" y="199"/>
                    <a:pt x="540" y="199"/>
                    <a:pt x="540" y="199"/>
                  </a:cubicBezTo>
                  <a:cubicBezTo>
                    <a:pt x="540" y="199"/>
                    <a:pt x="540" y="199"/>
                    <a:pt x="540" y="199"/>
                  </a:cubicBezTo>
                  <a:cubicBezTo>
                    <a:pt x="539" y="199"/>
                    <a:pt x="538" y="199"/>
                    <a:pt x="537" y="199"/>
                  </a:cubicBezTo>
                  <a:cubicBezTo>
                    <a:pt x="537" y="199"/>
                    <a:pt x="536" y="199"/>
                    <a:pt x="536" y="199"/>
                  </a:cubicBezTo>
                  <a:cubicBezTo>
                    <a:pt x="535" y="199"/>
                    <a:pt x="534" y="199"/>
                    <a:pt x="533" y="198"/>
                  </a:cubicBezTo>
                  <a:cubicBezTo>
                    <a:pt x="533" y="198"/>
                    <a:pt x="531" y="197"/>
                    <a:pt x="531" y="197"/>
                  </a:cubicBezTo>
                  <a:cubicBezTo>
                    <a:pt x="529" y="196"/>
                    <a:pt x="529" y="196"/>
                    <a:pt x="529" y="194"/>
                  </a:cubicBezTo>
                  <a:cubicBezTo>
                    <a:pt x="528" y="190"/>
                    <a:pt x="528" y="186"/>
                    <a:pt x="531" y="183"/>
                  </a:cubicBezTo>
                  <a:cubicBezTo>
                    <a:pt x="532" y="182"/>
                    <a:pt x="533" y="182"/>
                    <a:pt x="534" y="181"/>
                  </a:cubicBezTo>
                  <a:cubicBezTo>
                    <a:pt x="539" y="184"/>
                    <a:pt x="544" y="183"/>
                    <a:pt x="549" y="186"/>
                  </a:cubicBezTo>
                  <a:cubicBezTo>
                    <a:pt x="551" y="186"/>
                    <a:pt x="551" y="187"/>
                    <a:pt x="552" y="189"/>
                  </a:cubicBezTo>
                  <a:cubicBezTo>
                    <a:pt x="552" y="189"/>
                    <a:pt x="553" y="189"/>
                    <a:pt x="553" y="189"/>
                  </a:cubicBezTo>
                  <a:cubicBezTo>
                    <a:pt x="553" y="189"/>
                    <a:pt x="553" y="189"/>
                    <a:pt x="553" y="190"/>
                  </a:cubicBezTo>
                  <a:cubicBezTo>
                    <a:pt x="553" y="190"/>
                    <a:pt x="553" y="190"/>
                    <a:pt x="553" y="190"/>
                  </a:cubicBezTo>
                  <a:cubicBezTo>
                    <a:pt x="553" y="190"/>
                    <a:pt x="553" y="190"/>
                    <a:pt x="553" y="190"/>
                  </a:cubicBezTo>
                  <a:cubicBezTo>
                    <a:pt x="553" y="190"/>
                    <a:pt x="553" y="191"/>
                    <a:pt x="553" y="192"/>
                  </a:cubicBezTo>
                  <a:cubicBezTo>
                    <a:pt x="553" y="192"/>
                    <a:pt x="553" y="192"/>
                    <a:pt x="553" y="192"/>
                  </a:cubicBezTo>
                  <a:cubicBezTo>
                    <a:pt x="552" y="192"/>
                    <a:pt x="552" y="192"/>
                    <a:pt x="552" y="192"/>
                  </a:cubicBezTo>
                  <a:cubicBezTo>
                    <a:pt x="552" y="193"/>
                    <a:pt x="552" y="193"/>
                    <a:pt x="552" y="193"/>
                  </a:cubicBezTo>
                  <a:cubicBezTo>
                    <a:pt x="552" y="193"/>
                    <a:pt x="552" y="193"/>
                    <a:pt x="552" y="193"/>
                  </a:cubicBezTo>
                  <a:cubicBezTo>
                    <a:pt x="551" y="194"/>
                    <a:pt x="550" y="194"/>
                    <a:pt x="550" y="195"/>
                  </a:cubicBezTo>
                  <a:cubicBezTo>
                    <a:pt x="550" y="195"/>
                    <a:pt x="549" y="196"/>
                    <a:pt x="549" y="196"/>
                  </a:cubicBezTo>
                  <a:cubicBezTo>
                    <a:pt x="548" y="197"/>
                    <a:pt x="547" y="197"/>
                    <a:pt x="546" y="197"/>
                  </a:cubicBezTo>
                  <a:cubicBezTo>
                    <a:pt x="546" y="198"/>
                    <a:pt x="546" y="198"/>
                    <a:pt x="545" y="198"/>
                  </a:cubicBezTo>
                  <a:cubicBezTo>
                    <a:pt x="545" y="198"/>
                    <a:pt x="545" y="198"/>
                    <a:pt x="544" y="198"/>
                  </a:cubicBezTo>
                  <a:cubicBezTo>
                    <a:pt x="543" y="198"/>
                    <a:pt x="542" y="199"/>
                    <a:pt x="541" y="199"/>
                  </a:cubicBezTo>
                  <a:cubicBezTo>
                    <a:pt x="541" y="199"/>
                    <a:pt x="541" y="199"/>
                    <a:pt x="540" y="199"/>
                  </a:cubicBezTo>
                  <a:close/>
                  <a:moveTo>
                    <a:pt x="21" y="187"/>
                  </a:moveTo>
                  <a:cubicBezTo>
                    <a:pt x="21" y="187"/>
                    <a:pt x="21" y="187"/>
                    <a:pt x="21" y="187"/>
                  </a:cubicBezTo>
                  <a:cubicBezTo>
                    <a:pt x="20" y="189"/>
                    <a:pt x="20" y="189"/>
                    <a:pt x="19" y="190"/>
                  </a:cubicBezTo>
                  <a:cubicBezTo>
                    <a:pt x="18" y="191"/>
                    <a:pt x="17" y="192"/>
                    <a:pt x="15" y="193"/>
                  </a:cubicBezTo>
                  <a:cubicBezTo>
                    <a:pt x="14" y="193"/>
                    <a:pt x="11" y="194"/>
                    <a:pt x="9" y="193"/>
                  </a:cubicBezTo>
                  <a:cubicBezTo>
                    <a:pt x="6" y="193"/>
                    <a:pt x="4" y="190"/>
                    <a:pt x="2" y="187"/>
                  </a:cubicBezTo>
                  <a:cubicBezTo>
                    <a:pt x="0" y="183"/>
                    <a:pt x="1" y="179"/>
                    <a:pt x="3" y="176"/>
                  </a:cubicBezTo>
                  <a:cubicBezTo>
                    <a:pt x="6" y="177"/>
                    <a:pt x="11" y="176"/>
                    <a:pt x="14" y="177"/>
                  </a:cubicBezTo>
                  <a:cubicBezTo>
                    <a:pt x="18" y="177"/>
                    <a:pt x="21" y="180"/>
                    <a:pt x="22" y="182"/>
                  </a:cubicBezTo>
                  <a:cubicBezTo>
                    <a:pt x="22" y="184"/>
                    <a:pt x="22" y="185"/>
                    <a:pt x="21" y="187"/>
                  </a:cubicBezTo>
                  <a:close/>
                  <a:moveTo>
                    <a:pt x="113" y="0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0"/>
                    <a:pt x="114" y="0"/>
                  </a:cubicBezTo>
                  <a:cubicBezTo>
                    <a:pt x="114" y="0"/>
                    <a:pt x="114" y="0"/>
                    <a:pt x="114" y="1"/>
                  </a:cubicBezTo>
                  <a:cubicBezTo>
                    <a:pt x="115" y="1"/>
                    <a:pt x="116" y="1"/>
                    <a:pt x="117" y="1"/>
                  </a:cubicBezTo>
                  <a:cubicBezTo>
                    <a:pt x="118" y="2"/>
                    <a:pt x="118" y="2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1" y="4"/>
                    <a:pt x="121" y="4"/>
                  </a:cubicBezTo>
                  <a:cubicBezTo>
                    <a:pt x="123" y="7"/>
                    <a:pt x="123" y="13"/>
                    <a:pt x="123" y="16"/>
                  </a:cubicBezTo>
                  <a:cubicBezTo>
                    <a:pt x="122" y="21"/>
                    <a:pt x="121" y="26"/>
                    <a:pt x="121" y="31"/>
                  </a:cubicBezTo>
                  <a:cubicBezTo>
                    <a:pt x="120" y="36"/>
                    <a:pt x="120" y="42"/>
                    <a:pt x="119" y="48"/>
                  </a:cubicBezTo>
                  <a:cubicBezTo>
                    <a:pt x="119" y="50"/>
                    <a:pt x="119" y="52"/>
                    <a:pt x="118" y="55"/>
                  </a:cubicBezTo>
                  <a:cubicBezTo>
                    <a:pt x="118" y="56"/>
                    <a:pt x="117" y="57"/>
                    <a:pt x="116" y="58"/>
                  </a:cubicBezTo>
                  <a:cubicBezTo>
                    <a:pt x="116" y="58"/>
                    <a:pt x="116" y="58"/>
                    <a:pt x="116" y="58"/>
                  </a:cubicBezTo>
                  <a:cubicBezTo>
                    <a:pt x="116" y="58"/>
                    <a:pt x="116" y="58"/>
                    <a:pt x="115" y="58"/>
                  </a:cubicBezTo>
                  <a:cubicBezTo>
                    <a:pt x="115" y="59"/>
                    <a:pt x="115" y="59"/>
                    <a:pt x="113" y="59"/>
                  </a:cubicBezTo>
                  <a:cubicBezTo>
                    <a:pt x="112" y="59"/>
                    <a:pt x="111" y="60"/>
                    <a:pt x="110" y="60"/>
                  </a:cubicBezTo>
                  <a:cubicBezTo>
                    <a:pt x="110" y="60"/>
                    <a:pt x="110" y="59"/>
                    <a:pt x="110" y="59"/>
                  </a:cubicBezTo>
                  <a:cubicBezTo>
                    <a:pt x="110" y="59"/>
                    <a:pt x="110" y="58"/>
                    <a:pt x="109" y="57"/>
                  </a:cubicBezTo>
                  <a:cubicBezTo>
                    <a:pt x="109" y="55"/>
                    <a:pt x="109" y="53"/>
                    <a:pt x="109" y="50"/>
                  </a:cubicBezTo>
                  <a:cubicBezTo>
                    <a:pt x="109" y="45"/>
                    <a:pt x="108" y="39"/>
                    <a:pt x="108" y="34"/>
                  </a:cubicBezTo>
                  <a:cubicBezTo>
                    <a:pt x="108" y="28"/>
                    <a:pt x="109" y="22"/>
                    <a:pt x="109" y="16"/>
                  </a:cubicBezTo>
                  <a:cubicBezTo>
                    <a:pt x="108" y="12"/>
                    <a:pt x="109" y="7"/>
                    <a:pt x="108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9" y="1"/>
                    <a:pt x="109" y="1"/>
                    <a:pt x="110" y="1"/>
                  </a:cubicBezTo>
                  <a:cubicBezTo>
                    <a:pt x="111" y="0"/>
                    <a:pt x="112" y="0"/>
                    <a:pt x="113" y="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ïṧ1iḑé"/>
            <p:cNvSpPr/>
            <p:nvPr/>
          </p:nvSpPr>
          <p:spPr bwMode="auto">
            <a:xfrm>
              <a:off x="5461054" y="4187631"/>
              <a:ext cx="1029803" cy="294714"/>
            </a:xfrm>
            <a:custGeom>
              <a:avLst/>
              <a:gdLst>
                <a:gd name="T0" fmla="*/ 40 w 146"/>
                <a:gd name="T1" fmla="*/ 4 h 42"/>
                <a:gd name="T2" fmla="*/ 35 w 146"/>
                <a:gd name="T3" fmla="*/ 4 h 42"/>
                <a:gd name="T4" fmla="*/ 34 w 146"/>
                <a:gd name="T5" fmla="*/ 21 h 42"/>
                <a:gd name="T6" fmla="*/ 36 w 146"/>
                <a:gd name="T7" fmla="*/ 39 h 42"/>
                <a:gd name="T8" fmla="*/ 42 w 146"/>
                <a:gd name="T9" fmla="*/ 36 h 42"/>
                <a:gd name="T10" fmla="*/ 42 w 146"/>
                <a:gd name="T11" fmla="*/ 21 h 42"/>
                <a:gd name="T12" fmla="*/ 40 w 146"/>
                <a:gd name="T13" fmla="*/ 4 h 42"/>
                <a:gd name="T14" fmla="*/ 110 w 146"/>
                <a:gd name="T15" fmla="*/ 5 h 42"/>
                <a:gd name="T16" fmla="*/ 106 w 146"/>
                <a:gd name="T17" fmla="*/ 3 h 42"/>
                <a:gd name="T18" fmla="*/ 104 w 146"/>
                <a:gd name="T19" fmla="*/ 17 h 42"/>
                <a:gd name="T20" fmla="*/ 104 w 146"/>
                <a:gd name="T21" fmla="*/ 35 h 42"/>
                <a:gd name="T22" fmla="*/ 111 w 146"/>
                <a:gd name="T23" fmla="*/ 35 h 42"/>
                <a:gd name="T24" fmla="*/ 111 w 146"/>
                <a:gd name="T25" fmla="*/ 18 h 42"/>
                <a:gd name="T26" fmla="*/ 110 w 146"/>
                <a:gd name="T27" fmla="*/ 5 h 42"/>
                <a:gd name="T28" fmla="*/ 121 w 146"/>
                <a:gd name="T29" fmla="*/ 4 h 42"/>
                <a:gd name="T30" fmla="*/ 119 w 146"/>
                <a:gd name="T31" fmla="*/ 33 h 42"/>
                <a:gd name="T32" fmla="*/ 122 w 146"/>
                <a:gd name="T33" fmla="*/ 40 h 42"/>
                <a:gd name="T34" fmla="*/ 124 w 146"/>
                <a:gd name="T35" fmla="*/ 40 h 42"/>
                <a:gd name="T36" fmla="*/ 127 w 146"/>
                <a:gd name="T37" fmla="*/ 33 h 42"/>
                <a:gd name="T38" fmla="*/ 125 w 146"/>
                <a:gd name="T39" fmla="*/ 4 h 42"/>
                <a:gd name="T40" fmla="*/ 121 w 146"/>
                <a:gd name="T41" fmla="*/ 4 h 42"/>
                <a:gd name="T42" fmla="*/ 143 w 146"/>
                <a:gd name="T43" fmla="*/ 4 h 42"/>
                <a:gd name="T44" fmla="*/ 138 w 146"/>
                <a:gd name="T45" fmla="*/ 4 h 42"/>
                <a:gd name="T46" fmla="*/ 137 w 146"/>
                <a:gd name="T47" fmla="*/ 21 h 42"/>
                <a:gd name="T48" fmla="*/ 139 w 146"/>
                <a:gd name="T49" fmla="*/ 39 h 42"/>
                <a:gd name="T50" fmla="*/ 145 w 146"/>
                <a:gd name="T51" fmla="*/ 36 h 42"/>
                <a:gd name="T52" fmla="*/ 145 w 146"/>
                <a:gd name="T53" fmla="*/ 21 h 42"/>
                <a:gd name="T54" fmla="*/ 143 w 146"/>
                <a:gd name="T55" fmla="*/ 4 h 42"/>
                <a:gd name="T56" fmla="*/ 59 w 146"/>
                <a:gd name="T57" fmla="*/ 5 h 42"/>
                <a:gd name="T58" fmla="*/ 55 w 146"/>
                <a:gd name="T59" fmla="*/ 3 h 42"/>
                <a:gd name="T60" fmla="*/ 52 w 146"/>
                <a:gd name="T61" fmla="*/ 17 h 42"/>
                <a:gd name="T62" fmla="*/ 52 w 146"/>
                <a:gd name="T63" fmla="*/ 35 h 42"/>
                <a:gd name="T64" fmla="*/ 60 w 146"/>
                <a:gd name="T65" fmla="*/ 35 h 42"/>
                <a:gd name="T66" fmla="*/ 60 w 146"/>
                <a:gd name="T67" fmla="*/ 18 h 42"/>
                <a:gd name="T68" fmla="*/ 59 w 146"/>
                <a:gd name="T69" fmla="*/ 5 h 42"/>
                <a:gd name="T70" fmla="*/ 69 w 146"/>
                <a:gd name="T71" fmla="*/ 4 h 42"/>
                <a:gd name="T72" fmla="*/ 68 w 146"/>
                <a:gd name="T73" fmla="*/ 33 h 42"/>
                <a:gd name="T74" fmla="*/ 71 w 146"/>
                <a:gd name="T75" fmla="*/ 40 h 42"/>
                <a:gd name="T76" fmla="*/ 73 w 146"/>
                <a:gd name="T77" fmla="*/ 40 h 42"/>
                <a:gd name="T78" fmla="*/ 76 w 146"/>
                <a:gd name="T79" fmla="*/ 33 h 42"/>
                <a:gd name="T80" fmla="*/ 74 w 146"/>
                <a:gd name="T81" fmla="*/ 4 h 42"/>
                <a:gd name="T82" fmla="*/ 69 w 146"/>
                <a:gd name="T83" fmla="*/ 4 h 42"/>
                <a:gd name="T84" fmla="*/ 91 w 146"/>
                <a:gd name="T85" fmla="*/ 4 h 42"/>
                <a:gd name="T86" fmla="*/ 87 w 146"/>
                <a:gd name="T87" fmla="*/ 4 h 42"/>
                <a:gd name="T88" fmla="*/ 86 w 146"/>
                <a:gd name="T89" fmla="*/ 21 h 42"/>
                <a:gd name="T90" fmla="*/ 88 w 146"/>
                <a:gd name="T91" fmla="*/ 39 h 42"/>
                <a:gd name="T92" fmla="*/ 94 w 146"/>
                <a:gd name="T93" fmla="*/ 36 h 42"/>
                <a:gd name="T94" fmla="*/ 94 w 146"/>
                <a:gd name="T95" fmla="*/ 21 h 42"/>
                <a:gd name="T96" fmla="*/ 91 w 146"/>
                <a:gd name="T97" fmla="*/ 4 h 42"/>
                <a:gd name="T98" fmla="*/ 7 w 146"/>
                <a:gd name="T99" fmla="*/ 5 h 42"/>
                <a:gd name="T100" fmla="*/ 3 w 146"/>
                <a:gd name="T101" fmla="*/ 3 h 42"/>
                <a:gd name="T102" fmla="*/ 1 w 146"/>
                <a:gd name="T103" fmla="*/ 17 h 42"/>
                <a:gd name="T104" fmla="*/ 1 w 146"/>
                <a:gd name="T105" fmla="*/ 35 h 42"/>
                <a:gd name="T106" fmla="*/ 9 w 146"/>
                <a:gd name="T107" fmla="*/ 35 h 42"/>
                <a:gd name="T108" fmla="*/ 9 w 146"/>
                <a:gd name="T109" fmla="*/ 18 h 42"/>
                <a:gd name="T110" fmla="*/ 7 w 146"/>
                <a:gd name="T111" fmla="*/ 5 h 42"/>
                <a:gd name="T112" fmla="*/ 18 w 146"/>
                <a:gd name="T113" fmla="*/ 4 h 42"/>
                <a:gd name="T114" fmla="*/ 16 w 146"/>
                <a:gd name="T115" fmla="*/ 33 h 42"/>
                <a:gd name="T116" fmla="*/ 19 w 146"/>
                <a:gd name="T117" fmla="*/ 40 h 42"/>
                <a:gd name="T118" fmla="*/ 22 w 146"/>
                <a:gd name="T119" fmla="*/ 40 h 42"/>
                <a:gd name="T120" fmla="*/ 25 w 146"/>
                <a:gd name="T121" fmla="*/ 33 h 42"/>
                <a:gd name="T122" fmla="*/ 23 w 146"/>
                <a:gd name="T123" fmla="*/ 4 h 42"/>
                <a:gd name="T124" fmla="*/ 18 w 146"/>
                <a:gd name="T125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6" h="42">
                  <a:moveTo>
                    <a:pt x="40" y="4"/>
                  </a:moveTo>
                  <a:cubicBezTo>
                    <a:pt x="40" y="0"/>
                    <a:pt x="36" y="0"/>
                    <a:pt x="35" y="4"/>
                  </a:cubicBezTo>
                  <a:cubicBezTo>
                    <a:pt x="35" y="10"/>
                    <a:pt x="35" y="15"/>
                    <a:pt x="34" y="21"/>
                  </a:cubicBezTo>
                  <a:cubicBezTo>
                    <a:pt x="34" y="28"/>
                    <a:pt x="34" y="34"/>
                    <a:pt x="36" y="39"/>
                  </a:cubicBezTo>
                  <a:cubicBezTo>
                    <a:pt x="38" y="42"/>
                    <a:pt x="41" y="40"/>
                    <a:pt x="42" y="36"/>
                  </a:cubicBezTo>
                  <a:cubicBezTo>
                    <a:pt x="43" y="31"/>
                    <a:pt x="42" y="26"/>
                    <a:pt x="42" y="21"/>
                  </a:cubicBezTo>
                  <a:cubicBezTo>
                    <a:pt x="42" y="15"/>
                    <a:pt x="41" y="10"/>
                    <a:pt x="40" y="4"/>
                  </a:cubicBezTo>
                  <a:close/>
                  <a:moveTo>
                    <a:pt x="110" y="5"/>
                  </a:moveTo>
                  <a:cubicBezTo>
                    <a:pt x="110" y="1"/>
                    <a:pt x="107" y="0"/>
                    <a:pt x="106" y="3"/>
                  </a:cubicBezTo>
                  <a:cubicBezTo>
                    <a:pt x="104" y="7"/>
                    <a:pt x="104" y="12"/>
                    <a:pt x="104" y="17"/>
                  </a:cubicBezTo>
                  <a:cubicBezTo>
                    <a:pt x="104" y="23"/>
                    <a:pt x="103" y="29"/>
                    <a:pt x="104" y="35"/>
                  </a:cubicBezTo>
                  <a:cubicBezTo>
                    <a:pt x="104" y="41"/>
                    <a:pt x="111" y="41"/>
                    <a:pt x="111" y="35"/>
                  </a:cubicBezTo>
                  <a:cubicBezTo>
                    <a:pt x="112" y="29"/>
                    <a:pt x="112" y="24"/>
                    <a:pt x="111" y="18"/>
                  </a:cubicBezTo>
                  <a:cubicBezTo>
                    <a:pt x="111" y="14"/>
                    <a:pt x="110" y="10"/>
                    <a:pt x="110" y="5"/>
                  </a:cubicBezTo>
                  <a:close/>
                  <a:moveTo>
                    <a:pt x="121" y="4"/>
                  </a:moveTo>
                  <a:cubicBezTo>
                    <a:pt x="119" y="13"/>
                    <a:pt x="119" y="24"/>
                    <a:pt x="119" y="33"/>
                  </a:cubicBezTo>
                  <a:cubicBezTo>
                    <a:pt x="119" y="36"/>
                    <a:pt x="120" y="39"/>
                    <a:pt x="122" y="40"/>
                  </a:cubicBezTo>
                  <a:cubicBezTo>
                    <a:pt x="123" y="40"/>
                    <a:pt x="124" y="40"/>
                    <a:pt x="124" y="40"/>
                  </a:cubicBezTo>
                  <a:cubicBezTo>
                    <a:pt x="126" y="39"/>
                    <a:pt x="127" y="36"/>
                    <a:pt x="127" y="33"/>
                  </a:cubicBezTo>
                  <a:cubicBezTo>
                    <a:pt x="128" y="24"/>
                    <a:pt x="127" y="13"/>
                    <a:pt x="125" y="4"/>
                  </a:cubicBezTo>
                  <a:cubicBezTo>
                    <a:pt x="125" y="0"/>
                    <a:pt x="122" y="0"/>
                    <a:pt x="121" y="4"/>
                  </a:cubicBezTo>
                  <a:close/>
                  <a:moveTo>
                    <a:pt x="143" y="4"/>
                  </a:moveTo>
                  <a:cubicBezTo>
                    <a:pt x="142" y="0"/>
                    <a:pt x="139" y="0"/>
                    <a:pt x="138" y="4"/>
                  </a:cubicBezTo>
                  <a:cubicBezTo>
                    <a:pt x="137" y="10"/>
                    <a:pt x="137" y="15"/>
                    <a:pt x="137" y="21"/>
                  </a:cubicBezTo>
                  <a:cubicBezTo>
                    <a:pt x="137" y="28"/>
                    <a:pt x="136" y="34"/>
                    <a:pt x="139" y="39"/>
                  </a:cubicBezTo>
                  <a:cubicBezTo>
                    <a:pt x="141" y="42"/>
                    <a:pt x="144" y="40"/>
                    <a:pt x="145" y="36"/>
                  </a:cubicBezTo>
                  <a:cubicBezTo>
                    <a:pt x="146" y="31"/>
                    <a:pt x="145" y="26"/>
                    <a:pt x="145" y="21"/>
                  </a:cubicBezTo>
                  <a:cubicBezTo>
                    <a:pt x="145" y="15"/>
                    <a:pt x="143" y="10"/>
                    <a:pt x="143" y="4"/>
                  </a:cubicBezTo>
                  <a:close/>
                  <a:moveTo>
                    <a:pt x="59" y="5"/>
                  </a:moveTo>
                  <a:cubicBezTo>
                    <a:pt x="59" y="1"/>
                    <a:pt x="56" y="0"/>
                    <a:pt x="55" y="3"/>
                  </a:cubicBezTo>
                  <a:cubicBezTo>
                    <a:pt x="53" y="7"/>
                    <a:pt x="53" y="12"/>
                    <a:pt x="52" y="17"/>
                  </a:cubicBezTo>
                  <a:cubicBezTo>
                    <a:pt x="52" y="23"/>
                    <a:pt x="52" y="29"/>
                    <a:pt x="52" y="35"/>
                  </a:cubicBezTo>
                  <a:cubicBezTo>
                    <a:pt x="53" y="41"/>
                    <a:pt x="59" y="41"/>
                    <a:pt x="60" y="35"/>
                  </a:cubicBezTo>
                  <a:cubicBezTo>
                    <a:pt x="61" y="29"/>
                    <a:pt x="60" y="24"/>
                    <a:pt x="60" y="18"/>
                  </a:cubicBezTo>
                  <a:cubicBezTo>
                    <a:pt x="60" y="14"/>
                    <a:pt x="59" y="10"/>
                    <a:pt x="59" y="5"/>
                  </a:cubicBezTo>
                  <a:close/>
                  <a:moveTo>
                    <a:pt x="69" y="4"/>
                  </a:moveTo>
                  <a:cubicBezTo>
                    <a:pt x="67" y="13"/>
                    <a:pt x="67" y="24"/>
                    <a:pt x="68" y="33"/>
                  </a:cubicBezTo>
                  <a:cubicBezTo>
                    <a:pt x="68" y="36"/>
                    <a:pt x="69" y="39"/>
                    <a:pt x="71" y="40"/>
                  </a:cubicBezTo>
                  <a:cubicBezTo>
                    <a:pt x="71" y="40"/>
                    <a:pt x="72" y="40"/>
                    <a:pt x="73" y="40"/>
                  </a:cubicBezTo>
                  <a:cubicBezTo>
                    <a:pt x="75" y="39"/>
                    <a:pt x="76" y="36"/>
                    <a:pt x="76" y="33"/>
                  </a:cubicBezTo>
                  <a:cubicBezTo>
                    <a:pt x="76" y="24"/>
                    <a:pt x="76" y="13"/>
                    <a:pt x="74" y="4"/>
                  </a:cubicBezTo>
                  <a:cubicBezTo>
                    <a:pt x="73" y="0"/>
                    <a:pt x="70" y="0"/>
                    <a:pt x="69" y="4"/>
                  </a:cubicBezTo>
                  <a:close/>
                  <a:moveTo>
                    <a:pt x="91" y="4"/>
                  </a:moveTo>
                  <a:cubicBezTo>
                    <a:pt x="91" y="0"/>
                    <a:pt x="87" y="0"/>
                    <a:pt x="87" y="4"/>
                  </a:cubicBezTo>
                  <a:cubicBezTo>
                    <a:pt x="86" y="10"/>
                    <a:pt x="86" y="15"/>
                    <a:pt x="86" y="21"/>
                  </a:cubicBezTo>
                  <a:cubicBezTo>
                    <a:pt x="85" y="28"/>
                    <a:pt x="85" y="34"/>
                    <a:pt x="88" y="39"/>
                  </a:cubicBezTo>
                  <a:cubicBezTo>
                    <a:pt x="90" y="42"/>
                    <a:pt x="93" y="40"/>
                    <a:pt x="94" y="36"/>
                  </a:cubicBezTo>
                  <a:cubicBezTo>
                    <a:pt x="94" y="31"/>
                    <a:pt x="94" y="26"/>
                    <a:pt x="94" y="21"/>
                  </a:cubicBezTo>
                  <a:cubicBezTo>
                    <a:pt x="94" y="15"/>
                    <a:pt x="92" y="10"/>
                    <a:pt x="91" y="4"/>
                  </a:cubicBezTo>
                  <a:close/>
                  <a:moveTo>
                    <a:pt x="7" y="5"/>
                  </a:moveTo>
                  <a:cubicBezTo>
                    <a:pt x="7" y="1"/>
                    <a:pt x="4" y="0"/>
                    <a:pt x="3" y="3"/>
                  </a:cubicBezTo>
                  <a:cubicBezTo>
                    <a:pt x="1" y="7"/>
                    <a:pt x="1" y="12"/>
                    <a:pt x="1" y="17"/>
                  </a:cubicBezTo>
                  <a:cubicBezTo>
                    <a:pt x="1" y="23"/>
                    <a:pt x="0" y="29"/>
                    <a:pt x="1" y="35"/>
                  </a:cubicBezTo>
                  <a:cubicBezTo>
                    <a:pt x="2" y="41"/>
                    <a:pt x="8" y="41"/>
                    <a:pt x="9" y="35"/>
                  </a:cubicBezTo>
                  <a:cubicBezTo>
                    <a:pt x="9" y="29"/>
                    <a:pt x="9" y="24"/>
                    <a:pt x="9" y="18"/>
                  </a:cubicBezTo>
                  <a:cubicBezTo>
                    <a:pt x="8" y="14"/>
                    <a:pt x="7" y="10"/>
                    <a:pt x="7" y="5"/>
                  </a:cubicBezTo>
                  <a:close/>
                  <a:moveTo>
                    <a:pt x="18" y="4"/>
                  </a:moveTo>
                  <a:cubicBezTo>
                    <a:pt x="16" y="13"/>
                    <a:pt x="16" y="24"/>
                    <a:pt x="16" y="33"/>
                  </a:cubicBezTo>
                  <a:cubicBezTo>
                    <a:pt x="16" y="36"/>
                    <a:pt x="18" y="39"/>
                    <a:pt x="19" y="40"/>
                  </a:cubicBezTo>
                  <a:cubicBezTo>
                    <a:pt x="20" y="40"/>
                    <a:pt x="21" y="40"/>
                    <a:pt x="22" y="40"/>
                  </a:cubicBezTo>
                  <a:cubicBezTo>
                    <a:pt x="23" y="39"/>
                    <a:pt x="25" y="36"/>
                    <a:pt x="25" y="33"/>
                  </a:cubicBezTo>
                  <a:cubicBezTo>
                    <a:pt x="25" y="24"/>
                    <a:pt x="25" y="13"/>
                    <a:pt x="23" y="4"/>
                  </a:cubicBezTo>
                  <a:cubicBezTo>
                    <a:pt x="22" y="0"/>
                    <a:pt x="19" y="0"/>
                    <a:pt x="18" y="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ïŝ1îḑé"/>
            <p:cNvSpPr/>
            <p:nvPr/>
          </p:nvSpPr>
          <p:spPr bwMode="auto">
            <a:xfrm>
              <a:off x="5454279" y="3455930"/>
              <a:ext cx="108400" cy="220189"/>
            </a:xfrm>
            <a:custGeom>
              <a:avLst/>
              <a:gdLst>
                <a:gd name="T0" fmla="*/ 10 w 15"/>
                <a:gd name="T1" fmla="*/ 1 h 31"/>
                <a:gd name="T2" fmla="*/ 10 w 15"/>
                <a:gd name="T3" fmla="*/ 1 h 31"/>
                <a:gd name="T4" fmla="*/ 13 w 15"/>
                <a:gd name="T5" fmla="*/ 1 h 31"/>
                <a:gd name="T6" fmla="*/ 14 w 15"/>
                <a:gd name="T7" fmla="*/ 19 h 31"/>
                <a:gd name="T8" fmla="*/ 15 w 15"/>
                <a:gd name="T9" fmla="*/ 29 h 31"/>
                <a:gd name="T10" fmla="*/ 15 w 15"/>
                <a:gd name="T11" fmla="*/ 30 h 31"/>
                <a:gd name="T12" fmla="*/ 6 w 15"/>
                <a:gd name="T13" fmla="*/ 30 h 31"/>
                <a:gd name="T14" fmla="*/ 2 w 15"/>
                <a:gd name="T15" fmla="*/ 31 h 31"/>
                <a:gd name="T16" fmla="*/ 2 w 15"/>
                <a:gd name="T17" fmla="*/ 29 h 31"/>
                <a:gd name="T18" fmla="*/ 2 w 15"/>
                <a:gd name="T19" fmla="*/ 20 h 31"/>
                <a:gd name="T20" fmla="*/ 2 w 15"/>
                <a:gd name="T21" fmla="*/ 10 h 31"/>
                <a:gd name="T22" fmla="*/ 0 w 15"/>
                <a:gd name="T23" fmla="*/ 0 h 31"/>
                <a:gd name="T24" fmla="*/ 1 w 15"/>
                <a:gd name="T25" fmla="*/ 1 h 31"/>
                <a:gd name="T26" fmla="*/ 10 w 15"/>
                <a:gd name="T27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31">
                  <a:moveTo>
                    <a:pt x="1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2" y="1"/>
                    <a:pt x="13" y="1"/>
                  </a:cubicBezTo>
                  <a:cubicBezTo>
                    <a:pt x="13" y="7"/>
                    <a:pt x="14" y="13"/>
                    <a:pt x="14" y="19"/>
                  </a:cubicBezTo>
                  <a:cubicBezTo>
                    <a:pt x="14" y="22"/>
                    <a:pt x="14" y="25"/>
                    <a:pt x="15" y="29"/>
                  </a:cubicBezTo>
                  <a:cubicBezTo>
                    <a:pt x="15" y="29"/>
                    <a:pt x="15" y="29"/>
                    <a:pt x="15" y="30"/>
                  </a:cubicBezTo>
                  <a:cubicBezTo>
                    <a:pt x="12" y="30"/>
                    <a:pt x="9" y="30"/>
                    <a:pt x="6" y="30"/>
                  </a:cubicBezTo>
                  <a:cubicBezTo>
                    <a:pt x="5" y="30"/>
                    <a:pt x="4" y="31"/>
                    <a:pt x="2" y="31"/>
                  </a:cubicBezTo>
                  <a:cubicBezTo>
                    <a:pt x="3" y="30"/>
                    <a:pt x="3" y="30"/>
                    <a:pt x="2" y="29"/>
                  </a:cubicBezTo>
                  <a:cubicBezTo>
                    <a:pt x="2" y="26"/>
                    <a:pt x="3" y="23"/>
                    <a:pt x="2" y="20"/>
                  </a:cubicBezTo>
                  <a:cubicBezTo>
                    <a:pt x="2" y="17"/>
                    <a:pt x="2" y="13"/>
                    <a:pt x="2" y="10"/>
                  </a:cubicBezTo>
                  <a:cubicBezTo>
                    <a:pt x="1" y="7"/>
                    <a:pt x="1" y="4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4" y="1"/>
                    <a:pt x="7" y="1"/>
                    <a:pt x="10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iṥľîḍê"/>
            <p:cNvSpPr/>
            <p:nvPr/>
          </p:nvSpPr>
          <p:spPr bwMode="auto">
            <a:xfrm>
              <a:off x="5576229" y="3455930"/>
              <a:ext cx="111789" cy="213414"/>
            </a:xfrm>
            <a:custGeom>
              <a:avLst/>
              <a:gdLst>
                <a:gd name="T0" fmla="*/ 15 w 16"/>
                <a:gd name="T1" fmla="*/ 0 h 30"/>
                <a:gd name="T2" fmla="*/ 15 w 16"/>
                <a:gd name="T3" fmla="*/ 0 h 30"/>
                <a:gd name="T4" fmla="*/ 15 w 16"/>
                <a:gd name="T5" fmla="*/ 13 h 30"/>
                <a:gd name="T6" fmla="*/ 15 w 16"/>
                <a:gd name="T7" fmla="*/ 22 h 30"/>
                <a:gd name="T8" fmla="*/ 15 w 16"/>
                <a:gd name="T9" fmla="*/ 29 h 30"/>
                <a:gd name="T10" fmla="*/ 16 w 16"/>
                <a:gd name="T11" fmla="*/ 30 h 30"/>
                <a:gd name="T12" fmla="*/ 3 w 16"/>
                <a:gd name="T13" fmla="*/ 30 h 30"/>
                <a:gd name="T14" fmla="*/ 2 w 16"/>
                <a:gd name="T15" fmla="*/ 27 h 30"/>
                <a:gd name="T16" fmla="*/ 2 w 16"/>
                <a:gd name="T17" fmla="*/ 19 h 30"/>
                <a:gd name="T18" fmla="*/ 0 w 16"/>
                <a:gd name="T19" fmla="*/ 1 h 30"/>
                <a:gd name="T20" fmla="*/ 12 w 16"/>
                <a:gd name="T21" fmla="*/ 0 h 30"/>
                <a:gd name="T22" fmla="*/ 15 w 16"/>
                <a:gd name="T2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30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4" y="4"/>
                    <a:pt x="15" y="8"/>
                    <a:pt x="15" y="13"/>
                  </a:cubicBezTo>
                  <a:cubicBezTo>
                    <a:pt x="14" y="16"/>
                    <a:pt x="15" y="19"/>
                    <a:pt x="15" y="22"/>
                  </a:cubicBezTo>
                  <a:cubicBezTo>
                    <a:pt x="15" y="24"/>
                    <a:pt x="14" y="27"/>
                    <a:pt x="15" y="29"/>
                  </a:cubicBezTo>
                  <a:cubicBezTo>
                    <a:pt x="16" y="29"/>
                    <a:pt x="16" y="29"/>
                    <a:pt x="16" y="30"/>
                  </a:cubicBezTo>
                  <a:cubicBezTo>
                    <a:pt x="11" y="30"/>
                    <a:pt x="7" y="30"/>
                    <a:pt x="3" y="30"/>
                  </a:cubicBezTo>
                  <a:cubicBezTo>
                    <a:pt x="2" y="29"/>
                    <a:pt x="2" y="28"/>
                    <a:pt x="2" y="27"/>
                  </a:cubicBezTo>
                  <a:cubicBezTo>
                    <a:pt x="2" y="24"/>
                    <a:pt x="2" y="22"/>
                    <a:pt x="2" y="19"/>
                  </a:cubicBezTo>
                  <a:cubicBezTo>
                    <a:pt x="1" y="13"/>
                    <a:pt x="0" y="7"/>
                    <a:pt x="0" y="1"/>
                  </a:cubicBezTo>
                  <a:cubicBezTo>
                    <a:pt x="4" y="0"/>
                    <a:pt x="8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îşḻîdé"/>
            <p:cNvSpPr/>
            <p:nvPr/>
          </p:nvSpPr>
          <p:spPr bwMode="auto">
            <a:xfrm>
              <a:off x="5701568" y="3455930"/>
              <a:ext cx="125339" cy="206639"/>
            </a:xfrm>
            <a:custGeom>
              <a:avLst/>
              <a:gdLst>
                <a:gd name="T0" fmla="*/ 17 w 18"/>
                <a:gd name="T1" fmla="*/ 1 h 29"/>
                <a:gd name="T2" fmla="*/ 17 w 18"/>
                <a:gd name="T3" fmla="*/ 1 h 29"/>
                <a:gd name="T4" fmla="*/ 17 w 18"/>
                <a:gd name="T5" fmla="*/ 14 h 29"/>
                <a:gd name="T6" fmla="*/ 17 w 18"/>
                <a:gd name="T7" fmla="*/ 25 h 29"/>
                <a:gd name="T8" fmla="*/ 18 w 18"/>
                <a:gd name="T9" fmla="*/ 29 h 29"/>
                <a:gd name="T10" fmla="*/ 17 w 18"/>
                <a:gd name="T11" fmla="*/ 29 h 29"/>
                <a:gd name="T12" fmla="*/ 0 w 18"/>
                <a:gd name="T13" fmla="*/ 29 h 29"/>
                <a:gd name="T14" fmla="*/ 0 w 18"/>
                <a:gd name="T15" fmla="*/ 29 h 29"/>
                <a:gd name="T16" fmla="*/ 1 w 18"/>
                <a:gd name="T17" fmla="*/ 23 h 29"/>
                <a:gd name="T18" fmla="*/ 1 w 18"/>
                <a:gd name="T19" fmla="*/ 14 h 29"/>
                <a:gd name="T20" fmla="*/ 1 w 18"/>
                <a:gd name="T21" fmla="*/ 0 h 29"/>
                <a:gd name="T22" fmla="*/ 17 w 18"/>
                <a:gd name="T2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29">
                  <a:moveTo>
                    <a:pt x="17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8" y="5"/>
                    <a:pt x="17" y="10"/>
                    <a:pt x="17" y="14"/>
                  </a:cubicBezTo>
                  <a:cubicBezTo>
                    <a:pt x="17" y="18"/>
                    <a:pt x="17" y="21"/>
                    <a:pt x="17" y="25"/>
                  </a:cubicBezTo>
                  <a:cubicBezTo>
                    <a:pt x="18" y="26"/>
                    <a:pt x="18" y="28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1" y="29"/>
                    <a:pt x="5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" y="27"/>
                    <a:pt x="1" y="25"/>
                    <a:pt x="1" y="23"/>
                  </a:cubicBezTo>
                  <a:cubicBezTo>
                    <a:pt x="1" y="20"/>
                    <a:pt x="1" y="17"/>
                    <a:pt x="1" y="14"/>
                  </a:cubicBezTo>
                  <a:cubicBezTo>
                    <a:pt x="1" y="9"/>
                    <a:pt x="1" y="5"/>
                    <a:pt x="1" y="0"/>
                  </a:cubicBezTo>
                  <a:cubicBezTo>
                    <a:pt x="6" y="0"/>
                    <a:pt x="11" y="1"/>
                    <a:pt x="17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ïş1îḍe"/>
            <p:cNvSpPr/>
            <p:nvPr/>
          </p:nvSpPr>
          <p:spPr bwMode="auto">
            <a:xfrm>
              <a:off x="5850619" y="3462705"/>
              <a:ext cx="111789" cy="213414"/>
            </a:xfrm>
            <a:custGeom>
              <a:avLst/>
              <a:gdLst>
                <a:gd name="T0" fmla="*/ 11 w 16"/>
                <a:gd name="T1" fmla="*/ 1 h 30"/>
                <a:gd name="T2" fmla="*/ 11 w 16"/>
                <a:gd name="T3" fmla="*/ 1 h 30"/>
                <a:gd name="T4" fmla="*/ 16 w 16"/>
                <a:gd name="T5" fmla="*/ 1 h 30"/>
                <a:gd name="T6" fmla="*/ 16 w 16"/>
                <a:gd name="T7" fmla="*/ 5 h 30"/>
                <a:gd name="T8" fmla="*/ 15 w 16"/>
                <a:gd name="T9" fmla="*/ 16 h 30"/>
                <a:gd name="T10" fmla="*/ 15 w 16"/>
                <a:gd name="T11" fmla="*/ 27 h 30"/>
                <a:gd name="T12" fmla="*/ 15 w 16"/>
                <a:gd name="T13" fmla="*/ 30 h 30"/>
                <a:gd name="T14" fmla="*/ 14 w 16"/>
                <a:gd name="T15" fmla="*/ 30 h 30"/>
                <a:gd name="T16" fmla="*/ 2 w 16"/>
                <a:gd name="T17" fmla="*/ 29 h 30"/>
                <a:gd name="T18" fmla="*/ 2 w 16"/>
                <a:gd name="T19" fmla="*/ 23 h 30"/>
                <a:gd name="T20" fmla="*/ 1 w 16"/>
                <a:gd name="T21" fmla="*/ 11 h 30"/>
                <a:gd name="T22" fmla="*/ 0 w 16"/>
                <a:gd name="T23" fmla="*/ 0 h 30"/>
                <a:gd name="T24" fmla="*/ 11 w 16"/>
                <a:gd name="T25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30">
                  <a:moveTo>
                    <a:pt x="11" y="1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3" y="1"/>
                    <a:pt x="14" y="1"/>
                    <a:pt x="16" y="1"/>
                  </a:cubicBezTo>
                  <a:cubicBezTo>
                    <a:pt x="16" y="2"/>
                    <a:pt x="16" y="4"/>
                    <a:pt x="16" y="5"/>
                  </a:cubicBezTo>
                  <a:cubicBezTo>
                    <a:pt x="16" y="9"/>
                    <a:pt x="16" y="12"/>
                    <a:pt x="15" y="16"/>
                  </a:cubicBezTo>
                  <a:cubicBezTo>
                    <a:pt x="15" y="19"/>
                    <a:pt x="15" y="23"/>
                    <a:pt x="15" y="27"/>
                  </a:cubicBezTo>
                  <a:cubicBezTo>
                    <a:pt x="15" y="28"/>
                    <a:pt x="15" y="29"/>
                    <a:pt x="15" y="30"/>
                  </a:cubicBezTo>
                  <a:cubicBezTo>
                    <a:pt x="15" y="30"/>
                    <a:pt x="14" y="30"/>
                    <a:pt x="14" y="30"/>
                  </a:cubicBezTo>
                  <a:cubicBezTo>
                    <a:pt x="10" y="29"/>
                    <a:pt x="6" y="29"/>
                    <a:pt x="2" y="29"/>
                  </a:cubicBezTo>
                  <a:cubicBezTo>
                    <a:pt x="2" y="27"/>
                    <a:pt x="2" y="25"/>
                    <a:pt x="2" y="23"/>
                  </a:cubicBezTo>
                  <a:cubicBezTo>
                    <a:pt x="1" y="19"/>
                    <a:pt x="1" y="15"/>
                    <a:pt x="1" y="11"/>
                  </a:cubicBezTo>
                  <a:cubicBezTo>
                    <a:pt x="1" y="7"/>
                    <a:pt x="1" y="4"/>
                    <a:pt x="0" y="0"/>
                  </a:cubicBezTo>
                  <a:cubicBezTo>
                    <a:pt x="4" y="1"/>
                    <a:pt x="7" y="1"/>
                    <a:pt x="11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işlíḋé"/>
            <p:cNvSpPr/>
            <p:nvPr/>
          </p:nvSpPr>
          <p:spPr bwMode="auto">
            <a:xfrm>
              <a:off x="5989505" y="3455930"/>
              <a:ext cx="105014" cy="220189"/>
            </a:xfrm>
            <a:custGeom>
              <a:avLst/>
              <a:gdLst>
                <a:gd name="T0" fmla="*/ 15 w 15"/>
                <a:gd name="T1" fmla="*/ 0 h 31"/>
                <a:gd name="T2" fmla="*/ 15 w 15"/>
                <a:gd name="T3" fmla="*/ 0 h 31"/>
                <a:gd name="T4" fmla="*/ 15 w 15"/>
                <a:gd name="T5" fmla="*/ 18 h 31"/>
                <a:gd name="T6" fmla="*/ 15 w 15"/>
                <a:gd name="T7" fmla="*/ 30 h 31"/>
                <a:gd name="T8" fmla="*/ 13 w 15"/>
                <a:gd name="T9" fmla="*/ 30 h 31"/>
                <a:gd name="T10" fmla="*/ 0 w 15"/>
                <a:gd name="T11" fmla="*/ 31 h 31"/>
                <a:gd name="T12" fmla="*/ 0 w 15"/>
                <a:gd name="T13" fmla="*/ 29 h 31"/>
                <a:gd name="T14" fmla="*/ 0 w 15"/>
                <a:gd name="T15" fmla="*/ 18 h 31"/>
                <a:gd name="T16" fmla="*/ 1 w 15"/>
                <a:gd name="T17" fmla="*/ 7 h 31"/>
                <a:gd name="T18" fmla="*/ 1 w 15"/>
                <a:gd name="T19" fmla="*/ 1 h 31"/>
                <a:gd name="T20" fmla="*/ 10 w 15"/>
                <a:gd name="T21" fmla="*/ 0 h 31"/>
                <a:gd name="T22" fmla="*/ 15 w 15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31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6"/>
                    <a:pt x="15" y="12"/>
                    <a:pt x="15" y="18"/>
                  </a:cubicBezTo>
                  <a:cubicBezTo>
                    <a:pt x="15" y="21"/>
                    <a:pt x="14" y="26"/>
                    <a:pt x="15" y="30"/>
                  </a:cubicBezTo>
                  <a:cubicBezTo>
                    <a:pt x="14" y="30"/>
                    <a:pt x="14" y="30"/>
                    <a:pt x="13" y="30"/>
                  </a:cubicBezTo>
                  <a:cubicBezTo>
                    <a:pt x="8" y="31"/>
                    <a:pt x="4" y="31"/>
                    <a:pt x="0" y="31"/>
                  </a:cubicBezTo>
                  <a:cubicBezTo>
                    <a:pt x="0" y="30"/>
                    <a:pt x="0" y="30"/>
                    <a:pt x="0" y="29"/>
                  </a:cubicBezTo>
                  <a:cubicBezTo>
                    <a:pt x="0" y="25"/>
                    <a:pt x="0" y="22"/>
                    <a:pt x="0" y="18"/>
                  </a:cubicBezTo>
                  <a:cubicBezTo>
                    <a:pt x="0" y="15"/>
                    <a:pt x="0" y="11"/>
                    <a:pt x="1" y="7"/>
                  </a:cubicBezTo>
                  <a:cubicBezTo>
                    <a:pt x="1" y="5"/>
                    <a:pt x="1" y="3"/>
                    <a:pt x="1" y="1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1" y="0"/>
                    <a:pt x="13" y="0"/>
                    <a:pt x="15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iśļïdè"/>
            <p:cNvSpPr/>
            <p:nvPr/>
          </p:nvSpPr>
          <p:spPr bwMode="auto">
            <a:xfrm>
              <a:off x="6216470" y="3462705"/>
              <a:ext cx="84689" cy="206639"/>
            </a:xfrm>
            <a:custGeom>
              <a:avLst/>
              <a:gdLst>
                <a:gd name="T0" fmla="*/ 12 w 12"/>
                <a:gd name="T1" fmla="*/ 0 h 29"/>
                <a:gd name="T2" fmla="*/ 12 w 12"/>
                <a:gd name="T3" fmla="*/ 0 h 29"/>
                <a:gd name="T4" fmla="*/ 11 w 12"/>
                <a:gd name="T5" fmla="*/ 18 h 29"/>
                <a:gd name="T6" fmla="*/ 11 w 12"/>
                <a:gd name="T7" fmla="*/ 27 h 29"/>
                <a:gd name="T8" fmla="*/ 11 w 12"/>
                <a:gd name="T9" fmla="*/ 29 h 29"/>
                <a:gd name="T10" fmla="*/ 3 w 12"/>
                <a:gd name="T11" fmla="*/ 28 h 29"/>
                <a:gd name="T12" fmla="*/ 3 w 12"/>
                <a:gd name="T13" fmla="*/ 14 h 29"/>
                <a:gd name="T14" fmla="*/ 0 w 12"/>
                <a:gd name="T15" fmla="*/ 0 h 29"/>
                <a:gd name="T16" fmla="*/ 12 w 12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9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6"/>
                    <a:pt x="11" y="12"/>
                    <a:pt x="11" y="18"/>
                  </a:cubicBezTo>
                  <a:cubicBezTo>
                    <a:pt x="11" y="21"/>
                    <a:pt x="11" y="24"/>
                    <a:pt x="11" y="27"/>
                  </a:cubicBezTo>
                  <a:cubicBezTo>
                    <a:pt x="11" y="28"/>
                    <a:pt x="11" y="28"/>
                    <a:pt x="11" y="29"/>
                  </a:cubicBezTo>
                  <a:cubicBezTo>
                    <a:pt x="8" y="29"/>
                    <a:pt x="5" y="29"/>
                    <a:pt x="3" y="28"/>
                  </a:cubicBezTo>
                  <a:cubicBezTo>
                    <a:pt x="3" y="23"/>
                    <a:pt x="3" y="19"/>
                    <a:pt x="3" y="14"/>
                  </a:cubicBezTo>
                  <a:cubicBezTo>
                    <a:pt x="3" y="9"/>
                    <a:pt x="3" y="4"/>
                    <a:pt x="0" y="0"/>
                  </a:cubicBezTo>
                  <a:cubicBezTo>
                    <a:pt x="4" y="0"/>
                    <a:pt x="8" y="0"/>
                    <a:pt x="12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íṩliḍê"/>
            <p:cNvSpPr/>
            <p:nvPr/>
          </p:nvSpPr>
          <p:spPr bwMode="auto">
            <a:xfrm>
              <a:off x="6328256" y="3462705"/>
              <a:ext cx="111789" cy="206639"/>
            </a:xfrm>
            <a:custGeom>
              <a:avLst/>
              <a:gdLst>
                <a:gd name="T0" fmla="*/ 13 w 16"/>
                <a:gd name="T1" fmla="*/ 0 h 29"/>
                <a:gd name="T2" fmla="*/ 13 w 16"/>
                <a:gd name="T3" fmla="*/ 0 h 29"/>
                <a:gd name="T4" fmla="*/ 13 w 16"/>
                <a:gd name="T5" fmla="*/ 6 h 29"/>
                <a:gd name="T6" fmla="*/ 14 w 16"/>
                <a:gd name="T7" fmla="*/ 14 h 29"/>
                <a:gd name="T8" fmla="*/ 15 w 16"/>
                <a:gd name="T9" fmla="*/ 23 h 29"/>
                <a:gd name="T10" fmla="*/ 16 w 16"/>
                <a:gd name="T11" fmla="*/ 29 h 29"/>
                <a:gd name="T12" fmla="*/ 1 w 16"/>
                <a:gd name="T13" fmla="*/ 29 h 29"/>
                <a:gd name="T14" fmla="*/ 0 w 16"/>
                <a:gd name="T15" fmla="*/ 29 h 29"/>
                <a:gd name="T16" fmla="*/ 0 w 16"/>
                <a:gd name="T17" fmla="*/ 27 h 29"/>
                <a:gd name="T18" fmla="*/ 0 w 16"/>
                <a:gd name="T19" fmla="*/ 18 h 29"/>
                <a:gd name="T20" fmla="*/ 0 w 16"/>
                <a:gd name="T21" fmla="*/ 0 h 29"/>
                <a:gd name="T22" fmla="*/ 13 w 16"/>
                <a:gd name="T2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29"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4" y="2"/>
                    <a:pt x="13" y="4"/>
                    <a:pt x="13" y="6"/>
                  </a:cubicBezTo>
                  <a:cubicBezTo>
                    <a:pt x="13" y="9"/>
                    <a:pt x="13" y="11"/>
                    <a:pt x="14" y="14"/>
                  </a:cubicBezTo>
                  <a:cubicBezTo>
                    <a:pt x="14" y="17"/>
                    <a:pt x="14" y="20"/>
                    <a:pt x="15" y="23"/>
                  </a:cubicBezTo>
                  <a:cubicBezTo>
                    <a:pt x="15" y="24"/>
                    <a:pt x="15" y="27"/>
                    <a:pt x="16" y="29"/>
                  </a:cubicBezTo>
                  <a:cubicBezTo>
                    <a:pt x="11" y="28"/>
                    <a:pt x="6" y="29"/>
                    <a:pt x="1" y="29"/>
                  </a:cubicBezTo>
                  <a:cubicBezTo>
                    <a:pt x="1" y="29"/>
                    <a:pt x="0" y="29"/>
                    <a:pt x="0" y="29"/>
                  </a:cubicBezTo>
                  <a:cubicBezTo>
                    <a:pt x="0" y="28"/>
                    <a:pt x="0" y="28"/>
                    <a:pt x="0" y="27"/>
                  </a:cubicBezTo>
                  <a:cubicBezTo>
                    <a:pt x="0" y="24"/>
                    <a:pt x="0" y="21"/>
                    <a:pt x="0" y="18"/>
                  </a:cubicBezTo>
                  <a:cubicBezTo>
                    <a:pt x="0" y="12"/>
                    <a:pt x="0" y="6"/>
                    <a:pt x="0" y="0"/>
                  </a:cubicBezTo>
                  <a:cubicBezTo>
                    <a:pt x="5" y="0"/>
                    <a:pt x="9" y="0"/>
                    <a:pt x="13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îŝḻiḓe"/>
            <p:cNvSpPr/>
            <p:nvPr/>
          </p:nvSpPr>
          <p:spPr bwMode="auto">
            <a:xfrm>
              <a:off x="6118231" y="3455930"/>
              <a:ext cx="84689" cy="206639"/>
            </a:xfrm>
            <a:custGeom>
              <a:avLst/>
              <a:gdLst>
                <a:gd name="T0" fmla="*/ 3 w 12"/>
                <a:gd name="T1" fmla="*/ 29 h 29"/>
                <a:gd name="T2" fmla="*/ 3 w 12"/>
                <a:gd name="T3" fmla="*/ 29 h 29"/>
                <a:gd name="T4" fmla="*/ 2 w 12"/>
                <a:gd name="T5" fmla="*/ 25 h 29"/>
                <a:gd name="T6" fmla="*/ 2 w 12"/>
                <a:gd name="T7" fmla="*/ 17 h 29"/>
                <a:gd name="T8" fmla="*/ 0 w 12"/>
                <a:gd name="T9" fmla="*/ 0 h 29"/>
                <a:gd name="T10" fmla="*/ 11 w 12"/>
                <a:gd name="T11" fmla="*/ 0 h 29"/>
                <a:gd name="T12" fmla="*/ 12 w 12"/>
                <a:gd name="T13" fmla="*/ 17 h 29"/>
                <a:gd name="T14" fmla="*/ 12 w 12"/>
                <a:gd name="T15" fmla="*/ 29 h 29"/>
                <a:gd name="T16" fmla="*/ 3 w 12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9">
                  <a:moveTo>
                    <a:pt x="3" y="29"/>
                  </a:moveTo>
                  <a:cubicBezTo>
                    <a:pt x="3" y="29"/>
                    <a:pt x="3" y="29"/>
                    <a:pt x="3" y="29"/>
                  </a:cubicBezTo>
                  <a:cubicBezTo>
                    <a:pt x="2" y="28"/>
                    <a:pt x="2" y="26"/>
                    <a:pt x="2" y="25"/>
                  </a:cubicBezTo>
                  <a:cubicBezTo>
                    <a:pt x="2" y="22"/>
                    <a:pt x="2" y="19"/>
                    <a:pt x="2" y="17"/>
                  </a:cubicBezTo>
                  <a:cubicBezTo>
                    <a:pt x="2" y="11"/>
                    <a:pt x="1" y="6"/>
                    <a:pt x="0" y="0"/>
                  </a:cubicBezTo>
                  <a:cubicBezTo>
                    <a:pt x="4" y="0"/>
                    <a:pt x="7" y="0"/>
                    <a:pt x="11" y="0"/>
                  </a:cubicBezTo>
                  <a:cubicBezTo>
                    <a:pt x="12" y="6"/>
                    <a:pt x="12" y="11"/>
                    <a:pt x="12" y="17"/>
                  </a:cubicBezTo>
                  <a:cubicBezTo>
                    <a:pt x="12" y="21"/>
                    <a:pt x="11" y="25"/>
                    <a:pt x="12" y="29"/>
                  </a:cubicBezTo>
                  <a:cubicBezTo>
                    <a:pt x="9" y="29"/>
                    <a:pt x="6" y="29"/>
                    <a:pt x="3" y="29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89" name="矩形: 圆角 188"/>
          <p:cNvSpPr/>
          <p:nvPr userDrawn="1"/>
        </p:nvSpPr>
        <p:spPr>
          <a:xfrm>
            <a:off x="1255339" y="1191197"/>
            <a:ext cx="9411170" cy="3739164"/>
          </a:xfrm>
          <a:prstGeom prst="roundRect">
            <a:avLst>
              <a:gd name="adj" fmla="val 9140"/>
            </a:avLst>
          </a:prstGeom>
          <a:solidFill>
            <a:schemeClr val="bg1"/>
          </a:solidFill>
          <a:ln w="76200">
            <a:solidFill>
              <a:srgbClr val="6039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90" name="bca53829-35c6-4459-b981-6f35f8ea863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5"/>
            </p:custDataLst>
          </p:nvPr>
        </p:nvGrpSpPr>
        <p:grpSpPr>
          <a:xfrm>
            <a:off x="6463630" y="2136530"/>
            <a:ext cx="4813650" cy="4298748"/>
            <a:chOff x="3686000" y="1535214"/>
            <a:chExt cx="4813650" cy="4298748"/>
          </a:xfrm>
        </p:grpSpPr>
        <p:sp>
          <p:nvSpPr>
            <p:cNvPr id="191" name="îṧļïde"/>
            <p:cNvSpPr/>
            <p:nvPr/>
          </p:nvSpPr>
          <p:spPr bwMode="auto">
            <a:xfrm>
              <a:off x="3686000" y="1535214"/>
              <a:ext cx="4813650" cy="4298748"/>
            </a:xfrm>
            <a:custGeom>
              <a:avLst/>
              <a:gdLst>
                <a:gd name="T0" fmla="*/ 639 w 684"/>
                <a:gd name="T1" fmla="*/ 410 h 611"/>
                <a:gd name="T2" fmla="*/ 598 w 684"/>
                <a:gd name="T3" fmla="*/ 335 h 611"/>
                <a:gd name="T4" fmla="*/ 499 w 684"/>
                <a:gd name="T5" fmla="*/ 267 h 611"/>
                <a:gd name="T6" fmla="*/ 489 w 684"/>
                <a:gd name="T7" fmla="*/ 180 h 611"/>
                <a:gd name="T8" fmla="*/ 482 w 684"/>
                <a:gd name="T9" fmla="*/ 154 h 611"/>
                <a:gd name="T10" fmla="*/ 347 w 684"/>
                <a:gd name="T11" fmla="*/ 142 h 611"/>
                <a:gd name="T12" fmla="*/ 337 w 684"/>
                <a:gd name="T13" fmla="*/ 118 h 611"/>
                <a:gd name="T14" fmla="*/ 341 w 684"/>
                <a:gd name="T15" fmla="*/ 86 h 611"/>
                <a:gd name="T16" fmla="*/ 355 w 684"/>
                <a:gd name="T17" fmla="*/ 61 h 611"/>
                <a:gd name="T18" fmla="*/ 332 w 684"/>
                <a:gd name="T19" fmla="*/ 46 h 611"/>
                <a:gd name="T20" fmla="*/ 370 w 684"/>
                <a:gd name="T21" fmla="*/ 14 h 611"/>
                <a:gd name="T22" fmla="*/ 322 w 684"/>
                <a:gd name="T23" fmla="*/ 24 h 611"/>
                <a:gd name="T24" fmla="*/ 331 w 684"/>
                <a:gd name="T25" fmla="*/ 61 h 611"/>
                <a:gd name="T26" fmla="*/ 334 w 684"/>
                <a:gd name="T27" fmla="*/ 97 h 611"/>
                <a:gd name="T28" fmla="*/ 313 w 684"/>
                <a:gd name="T29" fmla="*/ 129 h 611"/>
                <a:gd name="T30" fmla="*/ 262 w 684"/>
                <a:gd name="T31" fmla="*/ 144 h 611"/>
                <a:gd name="T32" fmla="*/ 171 w 684"/>
                <a:gd name="T33" fmla="*/ 184 h 611"/>
                <a:gd name="T34" fmla="*/ 169 w 684"/>
                <a:gd name="T35" fmla="*/ 267 h 611"/>
                <a:gd name="T36" fmla="*/ 59 w 684"/>
                <a:gd name="T37" fmla="*/ 357 h 611"/>
                <a:gd name="T38" fmla="*/ 30 w 684"/>
                <a:gd name="T39" fmla="*/ 410 h 611"/>
                <a:gd name="T40" fmla="*/ 7 w 684"/>
                <a:gd name="T41" fmla="*/ 438 h 611"/>
                <a:gd name="T42" fmla="*/ 14 w 684"/>
                <a:gd name="T43" fmla="*/ 474 h 611"/>
                <a:gd name="T44" fmla="*/ 28 w 684"/>
                <a:gd name="T45" fmla="*/ 471 h 611"/>
                <a:gd name="T46" fmla="*/ 55 w 684"/>
                <a:gd name="T47" fmla="*/ 461 h 611"/>
                <a:gd name="T48" fmla="*/ 78 w 684"/>
                <a:gd name="T49" fmla="*/ 487 h 611"/>
                <a:gd name="T50" fmla="*/ 89 w 684"/>
                <a:gd name="T51" fmla="*/ 425 h 611"/>
                <a:gd name="T52" fmla="*/ 101 w 684"/>
                <a:gd name="T53" fmla="*/ 391 h 611"/>
                <a:gd name="T54" fmla="*/ 147 w 684"/>
                <a:gd name="T55" fmla="*/ 335 h 611"/>
                <a:gd name="T56" fmla="*/ 173 w 684"/>
                <a:gd name="T57" fmla="*/ 403 h 611"/>
                <a:gd name="T58" fmla="*/ 175 w 684"/>
                <a:gd name="T59" fmla="*/ 499 h 611"/>
                <a:gd name="T60" fmla="*/ 235 w 684"/>
                <a:gd name="T61" fmla="*/ 514 h 611"/>
                <a:gd name="T62" fmla="*/ 151 w 684"/>
                <a:gd name="T63" fmla="*/ 532 h 611"/>
                <a:gd name="T64" fmla="*/ 93 w 684"/>
                <a:gd name="T65" fmla="*/ 534 h 611"/>
                <a:gd name="T66" fmla="*/ 160 w 684"/>
                <a:gd name="T67" fmla="*/ 610 h 611"/>
                <a:gd name="T68" fmla="*/ 382 w 684"/>
                <a:gd name="T69" fmla="*/ 604 h 611"/>
                <a:gd name="T70" fmla="*/ 531 w 684"/>
                <a:gd name="T71" fmla="*/ 603 h 611"/>
                <a:gd name="T72" fmla="*/ 605 w 684"/>
                <a:gd name="T73" fmla="*/ 567 h 611"/>
                <a:gd name="T74" fmla="*/ 552 w 684"/>
                <a:gd name="T75" fmla="*/ 523 h 611"/>
                <a:gd name="T76" fmla="*/ 436 w 684"/>
                <a:gd name="T77" fmla="*/ 527 h 611"/>
                <a:gd name="T78" fmla="*/ 426 w 684"/>
                <a:gd name="T79" fmla="*/ 515 h 611"/>
                <a:gd name="T80" fmla="*/ 485 w 684"/>
                <a:gd name="T81" fmla="*/ 504 h 611"/>
                <a:gd name="T82" fmla="*/ 487 w 684"/>
                <a:gd name="T83" fmla="*/ 493 h 611"/>
                <a:gd name="T84" fmla="*/ 492 w 684"/>
                <a:gd name="T85" fmla="*/ 403 h 611"/>
                <a:gd name="T86" fmla="*/ 496 w 684"/>
                <a:gd name="T87" fmla="*/ 321 h 611"/>
                <a:gd name="T88" fmla="*/ 573 w 684"/>
                <a:gd name="T89" fmla="*/ 395 h 611"/>
                <a:gd name="T90" fmla="*/ 596 w 684"/>
                <a:gd name="T91" fmla="*/ 434 h 611"/>
                <a:gd name="T92" fmla="*/ 589 w 684"/>
                <a:gd name="T93" fmla="*/ 485 h 611"/>
                <a:gd name="T94" fmla="*/ 626 w 684"/>
                <a:gd name="T95" fmla="*/ 487 h 611"/>
                <a:gd name="T96" fmla="*/ 670 w 684"/>
                <a:gd name="T97" fmla="*/ 477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84" h="611">
                  <a:moveTo>
                    <a:pt x="682" y="458"/>
                  </a:moveTo>
                  <a:cubicBezTo>
                    <a:pt x="682" y="453"/>
                    <a:pt x="681" y="450"/>
                    <a:pt x="679" y="446"/>
                  </a:cubicBezTo>
                  <a:cubicBezTo>
                    <a:pt x="677" y="438"/>
                    <a:pt x="672" y="431"/>
                    <a:pt x="666" y="425"/>
                  </a:cubicBezTo>
                  <a:cubicBezTo>
                    <a:pt x="659" y="417"/>
                    <a:pt x="649" y="411"/>
                    <a:pt x="639" y="410"/>
                  </a:cubicBezTo>
                  <a:cubicBezTo>
                    <a:pt x="638" y="406"/>
                    <a:pt x="637" y="403"/>
                    <a:pt x="636" y="401"/>
                  </a:cubicBezTo>
                  <a:cubicBezTo>
                    <a:pt x="634" y="396"/>
                    <a:pt x="632" y="391"/>
                    <a:pt x="630" y="386"/>
                  </a:cubicBezTo>
                  <a:cubicBezTo>
                    <a:pt x="625" y="377"/>
                    <a:pt x="621" y="368"/>
                    <a:pt x="615" y="359"/>
                  </a:cubicBezTo>
                  <a:cubicBezTo>
                    <a:pt x="610" y="351"/>
                    <a:pt x="604" y="343"/>
                    <a:pt x="598" y="335"/>
                  </a:cubicBezTo>
                  <a:cubicBezTo>
                    <a:pt x="592" y="328"/>
                    <a:pt x="587" y="320"/>
                    <a:pt x="580" y="313"/>
                  </a:cubicBezTo>
                  <a:cubicBezTo>
                    <a:pt x="568" y="300"/>
                    <a:pt x="552" y="290"/>
                    <a:pt x="537" y="282"/>
                  </a:cubicBezTo>
                  <a:cubicBezTo>
                    <a:pt x="529" y="277"/>
                    <a:pt x="520" y="273"/>
                    <a:pt x="512" y="270"/>
                  </a:cubicBezTo>
                  <a:cubicBezTo>
                    <a:pt x="507" y="269"/>
                    <a:pt x="503" y="267"/>
                    <a:pt x="499" y="267"/>
                  </a:cubicBezTo>
                  <a:cubicBezTo>
                    <a:pt x="496" y="266"/>
                    <a:pt x="493" y="266"/>
                    <a:pt x="490" y="266"/>
                  </a:cubicBezTo>
                  <a:cubicBezTo>
                    <a:pt x="490" y="257"/>
                    <a:pt x="491" y="248"/>
                    <a:pt x="491" y="240"/>
                  </a:cubicBezTo>
                  <a:cubicBezTo>
                    <a:pt x="491" y="226"/>
                    <a:pt x="491" y="213"/>
                    <a:pt x="490" y="200"/>
                  </a:cubicBezTo>
                  <a:cubicBezTo>
                    <a:pt x="490" y="193"/>
                    <a:pt x="490" y="187"/>
                    <a:pt x="489" y="180"/>
                  </a:cubicBezTo>
                  <a:cubicBezTo>
                    <a:pt x="489" y="179"/>
                    <a:pt x="489" y="177"/>
                    <a:pt x="489" y="175"/>
                  </a:cubicBezTo>
                  <a:cubicBezTo>
                    <a:pt x="489" y="174"/>
                    <a:pt x="490" y="172"/>
                    <a:pt x="490" y="171"/>
                  </a:cubicBezTo>
                  <a:cubicBezTo>
                    <a:pt x="491" y="169"/>
                    <a:pt x="490" y="166"/>
                    <a:pt x="490" y="164"/>
                  </a:cubicBezTo>
                  <a:cubicBezTo>
                    <a:pt x="489" y="160"/>
                    <a:pt x="486" y="156"/>
                    <a:pt x="482" y="154"/>
                  </a:cubicBezTo>
                  <a:cubicBezTo>
                    <a:pt x="479" y="152"/>
                    <a:pt x="476" y="151"/>
                    <a:pt x="472" y="151"/>
                  </a:cubicBezTo>
                  <a:cubicBezTo>
                    <a:pt x="467" y="149"/>
                    <a:pt x="462" y="148"/>
                    <a:pt x="457" y="147"/>
                  </a:cubicBezTo>
                  <a:cubicBezTo>
                    <a:pt x="436" y="143"/>
                    <a:pt x="414" y="143"/>
                    <a:pt x="393" y="142"/>
                  </a:cubicBezTo>
                  <a:cubicBezTo>
                    <a:pt x="378" y="142"/>
                    <a:pt x="362" y="142"/>
                    <a:pt x="347" y="142"/>
                  </a:cubicBezTo>
                  <a:cubicBezTo>
                    <a:pt x="347" y="142"/>
                    <a:pt x="346" y="141"/>
                    <a:pt x="346" y="141"/>
                  </a:cubicBezTo>
                  <a:cubicBezTo>
                    <a:pt x="341" y="137"/>
                    <a:pt x="336" y="133"/>
                    <a:pt x="332" y="128"/>
                  </a:cubicBezTo>
                  <a:cubicBezTo>
                    <a:pt x="330" y="126"/>
                    <a:pt x="328" y="124"/>
                    <a:pt x="326" y="123"/>
                  </a:cubicBezTo>
                  <a:cubicBezTo>
                    <a:pt x="330" y="121"/>
                    <a:pt x="334" y="120"/>
                    <a:pt x="337" y="118"/>
                  </a:cubicBezTo>
                  <a:cubicBezTo>
                    <a:pt x="341" y="116"/>
                    <a:pt x="344" y="113"/>
                    <a:pt x="348" y="111"/>
                  </a:cubicBezTo>
                  <a:cubicBezTo>
                    <a:pt x="351" y="108"/>
                    <a:pt x="356" y="106"/>
                    <a:pt x="360" y="104"/>
                  </a:cubicBezTo>
                  <a:cubicBezTo>
                    <a:pt x="364" y="101"/>
                    <a:pt x="365" y="94"/>
                    <a:pt x="360" y="92"/>
                  </a:cubicBezTo>
                  <a:cubicBezTo>
                    <a:pt x="354" y="89"/>
                    <a:pt x="347" y="88"/>
                    <a:pt x="341" y="86"/>
                  </a:cubicBezTo>
                  <a:cubicBezTo>
                    <a:pt x="337" y="84"/>
                    <a:pt x="334" y="83"/>
                    <a:pt x="331" y="81"/>
                  </a:cubicBezTo>
                  <a:cubicBezTo>
                    <a:pt x="332" y="81"/>
                    <a:pt x="333" y="80"/>
                    <a:pt x="334" y="79"/>
                  </a:cubicBezTo>
                  <a:cubicBezTo>
                    <a:pt x="338" y="77"/>
                    <a:pt x="342" y="74"/>
                    <a:pt x="347" y="72"/>
                  </a:cubicBezTo>
                  <a:cubicBezTo>
                    <a:pt x="351" y="70"/>
                    <a:pt x="355" y="67"/>
                    <a:pt x="355" y="61"/>
                  </a:cubicBezTo>
                  <a:cubicBezTo>
                    <a:pt x="355" y="55"/>
                    <a:pt x="350" y="53"/>
                    <a:pt x="345" y="51"/>
                  </a:cubicBezTo>
                  <a:cubicBezTo>
                    <a:pt x="343" y="51"/>
                    <a:pt x="340" y="50"/>
                    <a:pt x="338" y="49"/>
                  </a:cubicBezTo>
                  <a:cubicBezTo>
                    <a:pt x="336" y="48"/>
                    <a:pt x="335" y="48"/>
                    <a:pt x="334" y="47"/>
                  </a:cubicBezTo>
                  <a:cubicBezTo>
                    <a:pt x="333" y="47"/>
                    <a:pt x="333" y="46"/>
                    <a:pt x="332" y="46"/>
                  </a:cubicBezTo>
                  <a:cubicBezTo>
                    <a:pt x="332" y="46"/>
                    <a:pt x="332" y="46"/>
                    <a:pt x="333" y="45"/>
                  </a:cubicBezTo>
                  <a:cubicBezTo>
                    <a:pt x="334" y="44"/>
                    <a:pt x="335" y="44"/>
                    <a:pt x="337" y="43"/>
                  </a:cubicBezTo>
                  <a:cubicBezTo>
                    <a:pt x="342" y="45"/>
                    <a:pt x="347" y="46"/>
                    <a:pt x="353" y="45"/>
                  </a:cubicBezTo>
                  <a:cubicBezTo>
                    <a:pt x="367" y="43"/>
                    <a:pt x="376" y="27"/>
                    <a:pt x="370" y="14"/>
                  </a:cubicBezTo>
                  <a:cubicBezTo>
                    <a:pt x="367" y="7"/>
                    <a:pt x="360" y="4"/>
                    <a:pt x="353" y="2"/>
                  </a:cubicBezTo>
                  <a:cubicBezTo>
                    <a:pt x="348" y="1"/>
                    <a:pt x="341" y="0"/>
                    <a:pt x="336" y="2"/>
                  </a:cubicBezTo>
                  <a:cubicBezTo>
                    <a:pt x="332" y="1"/>
                    <a:pt x="329" y="2"/>
                    <a:pt x="326" y="5"/>
                  </a:cubicBezTo>
                  <a:cubicBezTo>
                    <a:pt x="321" y="11"/>
                    <a:pt x="321" y="18"/>
                    <a:pt x="322" y="24"/>
                  </a:cubicBezTo>
                  <a:cubicBezTo>
                    <a:pt x="322" y="28"/>
                    <a:pt x="324" y="31"/>
                    <a:pt x="326" y="34"/>
                  </a:cubicBezTo>
                  <a:cubicBezTo>
                    <a:pt x="326" y="34"/>
                    <a:pt x="326" y="34"/>
                    <a:pt x="326" y="34"/>
                  </a:cubicBezTo>
                  <a:cubicBezTo>
                    <a:pt x="322" y="36"/>
                    <a:pt x="318" y="39"/>
                    <a:pt x="317" y="44"/>
                  </a:cubicBezTo>
                  <a:cubicBezTo>
                    <a:pt x="313" y="53"/>
                    <a:pt x="325" y="58"/>
                    <a:pt x="331" y="61"/>
                  </a:cubicBezTo>
                  <a:cubicBezTo>
                    <a:pt x="333" y="61"/>
                    <a:pt x="335" y="62"/>
                    <a:pt x="336" y="63"/>
                  </a:cubicBezTo>
                  <a:cubicBezTo>
                    <a:pt x="328" y="67"/>
                    <a:pt x="320" y="71"/>
                    <a:pt x="313" y="76"/>
                  </a:cubicBezTo>
                  <a:cubicBezTo>
                    <a:pt x="309" y="78"/>
                    <a:pt x="308" y="85"/>
                    <a:pt x="313" y="88"/>
                  </a:cubicBezTo>
                  <a:cubicBezTo>
                    <a:pt x="320" y="91"/>
                    <a:pt x="327" y="94"/>
                    <a:pt x="334" y="97"/>
                  </a:cubicBezTo>
                  <a:cubicBezTo>
                    <a:pt x="336" y="98"/>
                    <a:pt x="338" y="99"/>
                    <a:pt x="340" y="100"/>
                  </a:cubicBezTo>
                  <a:cubicBezTo>
                    <a:pt x="336" y="102"/>
                    <a:pt x="333" y="105"/>
                    <a:pt x="330" y="107"/>
                  </a:cubicBezTo>
                  <a:cubicBezTo>
                    <a:pt x="323" y="110"/>
                    <a:pt x="315" y="112"/>
                    <a:pt x="310" y="118"/>
                  </a:cubicBezTo>
                  <a:cubicBezTo>
                    <a:pt x="306" y="122"/>
                    <a:pt x="308" y="127"/>
                    <a:pt x="313" y="129"/>
                  </a:cubicBezTo>
                  <a:cubicBezTo>
                    <a:pt x="317" y="131"/>
                    <a:pt x="321" y="136"/>
                    <a:pt x="325" y="139"/>
                  </a:cubicBezTo>
                  <a:cubicBezTo>
                    <a:pt x="326" y="140"/>
                    <a:pt x="327" y="141"/>
                    <a:pt x="329" y="142"/>
                  </a:cubicBezTo>
                  <a:cubicBezTo>
                    <a:pt x="328" y="142"/>
                    <a:pt x="327" y="142"/>
                    <a:pt x="327" y="142"/>
                  </a:cubicBezTo>
                  <a:cubicBezTo>
                    <a:pt x="305" y="143"/>
                    <a:pt x="283" y="142"/>
                    <a:pt x="262" y="144"/>
                  </a:cubicBezTo>
                  <a:cubicBezTo>
                    <a:pt x="250" y="145"/>
                    <a:pt x="239" y="148"/>
                    <a:pt x="228" y="149"/>
                  </a:cubicBezTo>
                  <a:cubicBezTo>
                    <a:pt x="217" y="150"/>
                    <a:pt x="206" y="149"/>
                    <a:pt x="195" y="150"/>
                  </a:cubicBezTo>
                  <a:cubicBezTo>
                    <a:pt x="186" y="150"/>
                    <a:pt x="177" y="153"/>
                    <a:pt x="173" y="162"/>
                  </a:cubicBezTo>
                  <a:cubicBezTo>
                    <a:pt x="170" y="168"/>
                    <a:pt x="168" y="177"/>
                    <a:pt x="171" y="184"/>
                  </a:cubicBezTo>
                  <a:cubicBezTo>
                    <a:pt x="171" y="185"/>
                    <a:pt x="171" y="185"/>
                    <a:pt x="171" y="186"/>
                  </a:cubicBezTo>
                  <a:cubicBezTo>
                    <a:pt x="170" y="192"/>
                    <a:pt x="170" y="198"/>
                    <a:pt x="170" y="204"/>
                  </a:cubicBezTo>
                  <a:cubicBezTo>
                    <a:pt x="170" y="215"/>
                    <a:pt x="170" y="226"/>
                    <a:pt x="170" y="237"/>
                  </a:cubicBezTo>
                  <a:cubicBezTo>
                    <a:pt x="169" y="247"/>
                    <a:pt x="169" y="257"/>
                    <a:pt x="169" y="267"/>
                  </a:cubicBezTo>
                  <a:cubicBezTo>
                    <a:pt x="163" y="267"/>
                    <a:pt x="157" y="269"/>
                    <a:pt x="152" y="271"/>
                  </a:cubicBezTo>
                  <a:cubicBezTo>
                    <a:pt x="143" y="274"/>
                    <a:pt x="135" y="279"/>
                    <a:pt x="128" y="284"/>
                  </a:cubicBezTo>
                  <a:cubicBezTo>
                    <a:pt x="114" y="293"/>
                    <a:pt x="100" y="304"/>
                    <a:pt x="89" y="316"/>
                  </a:cubicBezTo>
                  <a:cubicBezTo>
                    <a:pt x="77" y="328"/>
                    <a:pt x="67" y="342"/>
                    <a:pt x="59" y="357"/>
                  </a:cubicBezTo>
                  <a:cubicBezTo>
                    <a:pt x="55" y="364"/>
                    <a:pt x="51" y="372"/>
                    <a:pt x="49" y="380"/>
                  </a:cubicBezTo>
                  <a:cubicBezTo>
                    <a:pt x="47" y="385"/>
                    <a:pt x="46" y="390"/>
                    <a:pt x="45" y="395"/>
                  </a:cubicBezTo>
                  <a:cubicBezTo>
                    <a:pt x="44" y="399"/>
                    <a:pt x="43" y="403"/>
                    <a:pt x="43" y="407"/>
                  </a:cubicBezTo>
                  <a:cubicBezTo>
                    <a:pt x="39" y="408"/>
                    <a:pt x="34" y="409"/>
                    <a:pt x="30" y="410"/>
                  </a:cubicBezTo>
                  <a:cubicBezTo>
                    <a:pt x="28" y="410"/>
                    <a:pt x="26" y="410"/>
                    <a:pt x="24" y="411"/>
                  </a:cubicBezTo>
                  <a:cubicBezTo>
                    <a:pt x="21" y="414"/>
                    <a:pt x="17" y="417"/>
                    <a:pt x="14" y="421"/>
                  </a:cubicBezTo>
                  <a:cubicBezTo>
                    <a:pt x="12" y="426"/>
                    <a:pt x="10" y="430"/>
                    <a:pt x="8" y="435"/>
                  </a:cubicBezTo>
                  <a:cubicBezTo>
                    <a:pt x="7" y="436"/>
                    <a:pt x="7" y="437"/>
                    <a:pt x="7" y="438"/>
                  </a:cubicBezTo>
                  <a:cubicBezTo>
                    <a:pt x="6" y="439"/>
                    <a:pt x="6" y="440"/>
                    <a:pt x="6" y="440"/>
                  </a:cubicBezTo>
                  <a:cubicBezTo>
                    <a:pt x="6" y="441"/>
                    <a:pt x="5" y="441"/>
                    <a:pt x="5" y="442"/>
                  </a:cubicBezTo>
                  <a:cubicBezTo>
                    <a:pt x="3" y="448"/>
                    <a:pt x="0" y="455"/>
                    <a:pt x="1" y="462"/>
                  </a:cubicBezTo>
                  <a:cubicBezTo>
                    <a:pt x="1" y="468"/>
                    <a:pt x="7" y="476"/>
                    <a:pt x="14" y="474"/>
                  </a:cubicBezTo>
                  <a:cubicBezTo>
                    <a:pt x="14" y="475"/>
                    <a:pt x="15" y="475"/>
                    <a:pt x="16" y="475"/>
                  </a:cubicBezTo>
                  <a:cubicBezTo>
                    <a:pt x="17" y="475"/>
                    <a:pt x="18" y="475"/>
                    <a:pt x="17" y="474"/>
                  </a:cubicBezTo>
                  <a:cubicBezTo>
                    <a:pt x="18" y="474"/>
                    <a:pt x="19" y="474"/>
                    <a:pt x="20" y="474"/>
                  </a:cubicBezTo>
                  <a:cubicBezTo>
                    <a:pt x="23" y="474"/>
                    <a:pt x="25" y="473"/>
                    <a:pt x="28" y="471"/>
                  </a:cubicBezTo>
                  <a:cubicBezTo>
                    <a:pt x="33" y="467"/>
                    <a:pt x="34" y="459"/>
                    <a:pt x="37" y="453"/>
                  </a:cubicBezTo>
                  <a:cubicBezTo>
                    <a:pt x="40" y="449"/>
                    <a:pt x="43" y="444"/>
                    <a:pt x="48" y="442"/>
                  </a:cubicBezTo>
                  <a:cubicBezTo>
                    <a:pt x="53" y="441"/>
                    <a:pt x="59" y="444"/>
                    <a:pt x="60" y="449"/>
                  </a:cubicBezTo>
                  <a:cubicBezTo>
                    <a:pt x="61" y="452"/>
                    <a:pt x="57" y="458"/>
                    <a:pt x="55" y="461"/>
                  </a:cubicBezTo>
                  <a:cubicBezTo>
                    <a:pt x="52" y="466"/>
                    <a:pt x="49" y="471"/>
                    <a:pt x="50" y="478"/>
                  </a:cubicBezTo>
                  <a:cubicBezTo>
                    <a:pt x="52" y="482"/>
                    <a:pt x="56" y="485"/>
                    <a:pt x="61" y="487"/>
                  </a:cubicBezTo>
                  <a:cubicBezTo>
                    <a:pt x="65" y="488"/>
                    <a:pt x="71" y="490"/>
                    <a:pt x="75" y="489"/>
                  </a:cubicBezTo>
                  <a:cubicBezTo>
                    <a:pt x="76" y="488"/>
                    <a:pt x="77" y="488"/>
                    <a:pt x="78" y="487"/>
                  </a:cubicBezTo>
                  <a:cubicBezTo>
                    <a:pt x="81" y="486"/>
                    <a:pt x="84" y="483"/>
                    <a:pt x="85" y="480"/>
                  </a:cubicBezTo>
                  <a:cubicBezTo>
                    <a:pt x="88" y="476"/>
                    <a:pt x="90" y="470"/>
                    <a:pt x="91" y="465"/>
                  </a:cubicBezTo>
                  <a:cubicBezTo>
                    <a:pt x="94" y="453"/>
                    <a:pt x="92" y="440"/>
                    <a:pt x="86" y="429"/>
                  </a:cubicBezTo>
                  <a:cubicBezTo>
                    <a:pt x="87" y="428"/>
                    <a:pt x="88" y="426"/>
                    <a:pt x="89" y="425"/>
                  </a:cubicBezTo>
                  <a:cubicBezTo>
                    <a:pt x="89" y="425"/>
                    <a:pt x="89" y="425"/>
                    <a:pt x="89" y="425"/>
                  </a:cubicBezTo>
                  <a:cubicBezTo>
                    <a:pt x="91" y="415"/>
                    <a:pt x="92" y="404"/>
                    <a:pt x="96" y="394"/>
                  </a:cubicBezTo>
                  <a:cubicBezTo>
                    <a:pt x="97" y="395"/>
                    <a:pt x="99" y="395"/>
                    <a:pt x="100" y="395"/>
                  </a:cubicBezTo>
                  <a:cubicBezTo>
                    <a:pt x="101" y="394"/>
                    <a:pt x="102" y="392"/>
                    <a:pt x="101" y="391"/>
                  </a:cubicBezTo>
                  <a:cubicBezTo>
                    <a:pt x="100" y="390"/>
                    <a:pt x="99" y="390"/>
                    <a:pt x="98" y="389"/>
                  </a:cubicBezTo>
                  <a:cubicBezTo>
                    <a:pt x="98" y="389"/>
                    <a:pt x="98" y="388"/>
                    <a:pt x="99" y="388"/>
                  </a:cubicBezTo>
                  <a:cubicBezTo>
                    <a:pt x="104" y="377"/>
                    <a:pt x="111" y="367"/>
                    <a:pt x="119" y="358"/>
                  </a:cubicBezTo>
                  <a:cubicBezTo>
                    <a:pt x="127" y="349"/>
                    <a:pt x="137" y="342"/>
                    <a:pt x="147" y="335"/>
                  </a:cubicBezTo>
                  <a:cubicBezTo>
                    <a:pt x="153" y="331"/>
                    <a:pt x="159" y="328"/>
                    <a:pt x="166" y="325"/>
                  </a:cubicBezTo>
                  <a:cubicBezTo>
                    <a:pt x="167" y="324"/>
                    <a:pt x="169" y="324"/>
                    <a:pt x="170" y="323"/>
                  </a:cubicBezTo>
                  <a:cubicBezTo>
                    <a:pt x="171" y="339"/>
                    <a:pt x="172" y="355"/>
                    <a:pt x="173" y="371"/>
                  </a:cubicBezTo>
                  <a:cubicBezTo>
                    <a:pt x="173" y="382"/>
                    <a:pt x="173" y="393"/>
                    <a:pt x="173" y="403"/>
                  </a:cubicBezTo>
                  <a:cubicBezTo>
                    <a:pt x="173" y="414"/>
                    <a:pt x="174" y="425"/>
                    <a:pt x="174" y="436"/>
                  </a:cubicBezTo>
                  <a:cubicBezTo>
                    <a:pt x="175" y="454"/>
                    <a:pt x="174" y="472"/>
                    <a:pt x="172" y="490"/>
                  </a:cubicBezTo>
                  <a:cubicBezTo>
                    <a:pt x="172" y="492"/>
                    <a:pt x="173" y="494"/>
                    <a:pt x="174" y="495"/>
                  </a:cubicBezTo>
                  <a:cubicBezTo>
                    <a:pt x="174" y="496"/>
                    <a:pt x="174" y="498"/>
                    <a:pt x="175" y="499"/>
                  </a:cubicBezTo>
                  <a:cubicBezTo>
                    <a:pt x="177" y="506"/>
                    <a:pt x="185" y="514"/>
                    <a:pt x="193" y="514"/>
                  </a:cubicBezTo>
                  <a:cubicBezTo>
                    <a:pt x="194" y="514"/>
                    <a:pt x="196" y="513"/>
                    <a:pt x="197" y="512"/>
                  </a:cubicBezTo>
                  <a:cubicBezTo>
                    <a:pt x="206" y="515"/>
                    <a:pt x="217" y="513"/>
                    <a:pt x="225" y="514"/>
                  </a:cubicBezTo>
                  <a:cubicBezTo>
                    <a:pt x="229" y="514"/>
                    <a:pt x="232" y="514"/>
                    <a:pt x="235" y="514"/>
                  </a:cubicBezTo>
                  <a:cubicBezTo>
                    <a:pt x="235" y="516"/>
                    <a:pt x="235" y="518"/>
                    <a:pt x="235" y="520"/>
                  </a:cubicBezTo>
                  <a:cubicBezTo>
                    <a:pt x="234" y="522"/>
                    <a:pt x="233" y="526"/>
                    <a:pt x="233" y="529"/>
                  </a:cubicBezTo>
                  <a:cubicBezTo>
                    <a:pt x="222" y="530"/>
                    <a:pt x="211" y="531"/>
                    <a:pt x="200" y="531"/>
                  </a:cubicBezTo>
                  <a:cubicBezTo>
                    <a:pt x="184" y="531"/>
                    <a:pt x="167" y="532"/>
                    <a:pt x="151" y="532"/>
                  </a:cubicBezTo>
                  <a:cubicBezTo>
                    <a:pt x="143" y="532"/>
                    <a:pt x="135" y="531"/>
                    <a:pt x="127" y="531"/>
                  </a:cubicBezTo>
                  <a:cubicBezTo>
                    <a:pt x="127" y="531"/>
                    <a:pt x="126" y="531"/>
                    <a:pt x="126" y="531"/>
                  </a:cubicBezTo>
                  <a:cubicBezTo>
                    <a:pt x="124" y="530"/>
                    <a:pt x="123" y="530"/>
                    <a:pt x="122" y="530"/>
                  </a:cubicBezTo>
                  <a:cubicBezTo>
                    <a:pt x="112" y="528"/>
                    <a:pt x="102" y="529"/>
                    <a:pt x="93" y="534"/>
                  </a:cubicBezTo>
                  <a:cubicBezTo>
                    <a:pt x="77" y="541"/>
                    <a:pt x="69" y="562"/>
                    <a:pt x="73" y="578"/>
                  </a:cubicBezTo>
                  <a:cubicBezTo>
                    <a:pt x="77" y="595"/>
                    <a:pt x="93" y="604"/>
                    <a:pt x="108" y="607"/>
                  </a:cubicBezTo>
                  <a:cubicBezTo>
                    <a:pt x="118" y="609"/>
                    <a:pt x="128" y="610"/>
                    <a:pt x="138" y="610"/>
                  </a:cubicBezTo>
                  <a:cubicBezTo>
                    <a:pt x="145" y="611"/>
                    <a:pt x="153" y="611"/>
                    <a:pt x="160" y="610"/>
                  </a:cubicBezTo>
                  <a:cubicBezTo>
                    <a:pt x="171" y="610"/>
                    <a:pt x="182" y="609"/>
                    <a:pt x="193" y="609"/>
                  </a:cubicBezTo>
                  <a:cubicBezTo>
                    <a:pt x="215" y="608"/>
                    <a:pt x="236" y="610"/>
                    <a:pt x="257" y="611"/>
                  </a:cubicBezTo>
                  <a:cubicBezTo>
                    <a:pt x="279" y="611"/>
                    <a:pt x="301" y="611"/>
                    <a:pt x="323" y="609"/>
                  </a:cubicBezTo>
                  <a:cubicBezTo>
                    <a:pt x="343" y="608"/>
                    <a:pt x="363" y="606"/>
                    <a:pt x="382" y="604"/>
                  </a:cubicBezTo>
                  <a:cubicBezTo>
                    <a:pt x="392" y="603"/>
                    <a:pt x="402" y="603"/>
                    <a:pt x="411" y="604"/>
                  </a:cubicBezTo>
                  <a:cubicBezTo>
                    <a:pt x="422" y="604"/>
                    <a:pt x="432" y="605"/>
                    <a:pt x="442" y="605"/>
                  </a:cubicBezTo>
                  <a:cubicBezTo>
                    <a:pt x="462" y="606"/>
                    <a:pt x="482" y="605"/>
                    <a:pt x="502" y="604"/>
                  </a:cubicBezTo>
                  <a:cubicBezTo>
                    <a:pt x="512" y="603"/>
                    <a:pt x="522" y="603"/>
                    <a:pt x="531" y="603"/>
                  </a:cubicBezTo>
                  <a:cubicBezTo>
                    <a:pt x="535" y="603"/>
                    <a:pt x="539" y="603"/>
                    <a:pt x="542" y="602"/>
                  </a:cubicBezTo>
                  <a:cubicBezTo>
                    <a:pt x="549" y="604"/>
                    <a:pt x="556" y="603"/>
                    <a:pt x="563" y="603"/>
                  </a:cubicBezTo>
                  <a:cubicBezTo>
                    <a:pt x="571" y="602"/>
                    <a:pt x="579" y="601"/>
                    <a:pt x="586" y="597"/>
                  </a:cubicBezTo>
                  <a:cubicBezTo>
                    <a:pt x="598" y="592"/>
                    <a:pt x="604" y="580"/>
                    <a:pt x="605" y="567"/>
                  </a:cubicBezTo>
                  <a:cubicBezTo>
                    <a:pt x="606" y="555"/>
                    <a:pt x="601" y="542"/>
                    <a:pt x="592" y="533"/>
                  </a:cubicBezTo>
                  <a:cubicBezTo>
                    <a:pt x="586" y="528"/>
                    <a:pt x="580" y="525"/>
                    <a:pt x="573" y="523"/>
                  </a:cubicBezTo>
                  <a:cubicBezTo>
                    <a:pt x="570" y="522"/>
                    <a:pt x="566" y="522"/>
                    <a:pt x="563" y="521"/>
                  </a:cubicBezTo>
                  <a:cubicBezTo>
                    <a:pt x="559" y="521"/>
                    <a:pt x="555" y="521"/>
                    <a:pt x="552" y="523"/>
                  </a:cubicBezTo>
                  <a:cubicBezTo>
                    <a:pt x="552" y="523"/>
                    <a:pt x="552" y="523"/>
                    <a:pt x="552" y="523"/>
                  </a:cubicBezTo>
                  <a:cubicBezTo>
                    <a:pt x="547" y="524"/>
                    <a:pt x="541" y="525"/>
                    <a:pt x="536" y="525"/>
                  </a:cubicBezTo>
                  <a:cubicBezTo>
                    <a:pt x="525" y="527"/>
                    <a:pt x="514" y="527"/>
                    <a:pt x="503" y="527"/>
                  </a:cubicBezTo>
                  <a:cubicBezTo>
                    <a:pt x="481" y="526"/>
                    <a:pt x="458" y="527"/>
                    <a:pt x="436" y="527"/>
                  </a:cubicBezTo>
                  <a:cubicBezTo>
                    <a:pt x="431" y="527"/>
                    <a:pt x="426" y="527"/>
                    <a:pt x="420" y="527"/>
                  </a:cubicBezTo>
                  <a:cubicBezTo>
                    <a:pt x="420" y="525"/>
                    <a:pt x="420" y="523"/>
                    <a:pt x="419" y="522"/>
                  </a:cubicBezTo>
                  <a:cubicBezTo>
                    <a:pt x="419" y="520"/>
                    <a:pt x="419" y="517"/>
                    <a:pt x="418" y="515"/>
                  </a:cubicBezTo>
                  <a:cubicBezTo>
                    <a:pt x="421" y="515"/>
                    <a:pt x="423" y="515"/>
                    <a:pt x="426" y="515"/>
                  </a:cubicBezTo>
                  <a:cubicBezTo>
                    <a:pt x="432" y="514"/>
                    <a:pt x="438" y="514"/>
                    <a:pt x="444" y="514"/>
                  </a:cubicBezTo>
                  <a:cubicBezTo>
                    <a:pt x="450" y="514"/>
                    <a:pt x="456" y="514"/>
                    <a:pt x="462" y="514"/>
                  </a:cubicBezTo>
                  <a:cubicBezTo>
                    <a:pt x="468" y="513"/>
                    <a:pt x="474" y="512"/>
                    <a:pt x="479" y="508"/>
                  </a:cubicBezTo>
                  <a:cubicBezTo>
                    <a:pt x="481" y="507"/>
                    <a:pt x="483" y="505"/>
                    <a:pt x="485" y="504"/>
                  </a:cubicBezTo>
                  <a:cubicBezTo>
                    <a:pt x="485" y="503"/>
                    <a:pt x="485" y="503"/>
                    <a:pt x="486" y="502"/>
                  </a:cubicBezTo>
                  <a:cubicBezTo>
                    <a:pt x="486" y="502"/>
                    <a:pt x="486" y="501"/>
                    <a:pt x="487" y="500"/>
                  </a:cubicBezTo>
                  <a:cubicBezTo>
                    <a:pt x="487" y="499"/>
                    <a:pt x="488" y="498"/>
                    <a:pt x="488" y="496"/>
                  </a:cubicBezTo>
                  <a:cubicBezTo>
                    <a:pt x="488" y="495"/>
                    <a:pt x="487" y="494"/>
                    <a:pt x="487" y="493"/>
                  </a:cubicBezTo>
                  <a:cubicBezTo>
                    <a:pt x="487" y="490"/>
                    <a:pt x="487" y="488"/>
                    <a:pt x="487" y="485"/>
                  </a:cubicBezTo>
                  <a:cubicBezTo>
                    <a:pt x="488" y="480"/>
                    <a:pt x="489" y="474"/>
                    <a:pt x="489" y="469"/>
                  </a:cubicBezTo>
                  <a:cubicBezTo>
                    <a:pt x="490" y="458"/>
                    <a:pt x="490" y="447"/>
                    <a:pt x="491" y="436"/>
                  </a:cubicBezTo>
                  <a:cubicBezTo>
                    <a:pt x="491" y="425"/>
                    <a:pt x="492" y="414"/>
                    <a:pt x="492" y="403"/>
                  </a:cubicBezTo>
                  <a:cubicBezTo>
                    <a:pt x="493" y="391"/>
                    <a:pt x="492" y="380"/>
                    <a:pt x="493" y="369"/>
                  </a:cubicBezTo>
                  <a:cubicBezTo>
                    <a:pt x="494" y="358"/>
                    <a:pt x="493" y="347"/>
                    <a:pt x="493" y="336"/>
                  </a:cubicBezTo>
                  <a:cubicBezTo>
                    <a:pt x="493" y="331"/>
                    <a:pt x="493" y="325"/>
                    <a:pt x="493" y="320"/>
                  </a:cubicBezTo>
                  <a:cubicBezTo>
                    <a:pt x="494" y="320"/>
                    <a:pt x="495" y="321"/>
                    <a:pt x="496" y="321"/>
                  </a:cubicBezTo>
                  <a:cubicBezTo>
                    <a:pt x="502" y="325"/>
                    <a:pt x="507" y="329"/>
                    <a:pt x="512" y="333"/>
                  </a:cubicBezTo>
                  <a:cubicBezTo>
                    <a:pt x="517" y="338"/>
                    <a:pt x="522" y="342"/>
                    <a:pt x="527" y="347"/>
                  </a:cubicBezTo>
                  <a:cubicBezTo>
                    <a:pt x="532" y="352"/>
                    <a:pt x="538" y="357"/>
                    <a:pt x="544" y="362"/>
                  </a:cubicBezTo>
                  <a:cubicBezTo>
                    <a:pt x="555" y="372"/>
                    <a:pt x="565" y="383"/>
                    <a:pt x="573" y="395"/>
                  </a:cubicBezTo>
                  <a:cubicBezTo>
                    <a:pt x="577" y="402"/>
                    <a:pt x="581" y="408"/>
                    <a:pt x="586" y="414"/>
                  </a:cubicBezTo>
                  <a:cubicBezTo>
                    <a:pt x="588" y="417"/>
                    <a:pt x="590" y="420"/>
                    <a:pt x="591" y="423"/>
                  </a:cubicBezTo>
                  <a:cubicBezTo>
                    <a:pt x="593" y="427"/>
                    <a:pt x="594" y="431"/>
                    <a:pt x="596" y="434"/>
                  </a:cubicBezTo>
                  <a:cubicBezTo>
                    <a:pt x="596" y="434"/>
                    <a:pt x="596" y="434"/>
                    <a:pt x="596" y="434"/>
                  </a:cubicBezTo>
                  <a:cubicBezTo>
                    <a:pt x="595" y="436"/>
                    <a:pt x="593" y="439"/>
                    <a:pt x="592" y="441"/>
                  </a:cubicBezTo>
                  <a:cubicBezTo>
                    <a:pt x="589" y="449"/>
                    <a:pt x="587" y="457"/>
                    <a:pt x="586" y="465"/>
                  </a:cubicBezTo>
                  <a:cubicBezTo>
                    <a:pt x="586" y="469"/>
                    <a:pt x="586" y="474"/>
                    <a:pt x="587" y="478"/>
                  </a:cubicBezTo>
                  <a:cubicBezTo>
                    <a:pt x="587" y="480"/>
                    <a:pt x="588" y="483"/>
                    <a:pt x="589" y="485"/>
                  </a:cubicBezTo>
                  <a:cubicBezTo>
                    <a:pt x="588" y="489"/>
                    <a:pt x="589" y="493"/>
                    <a:pt x="593" y="494"/>
                  </a:cubicBezTo>
                  <a:cubicBezTo>
                    <a:pt x="596" y="494"/>
                    <a:pt x="599" y="494"/>
                    <a:pt x="601" y="494"/>
                  </a:cubicBezTo>
                  <a:cubicBezTo>
                    <a:pt x="604" y="494"/>
                    <a:pt x="607" y="494"/>
                    <a:pt x="610" y="494"/>
                  </a:cubicBezTo>
                  <a:cubicBezTo>
                    <a:pt x="616" y="494"/>
                    <a:pt x="622" y="492"/>
                    <a:pt x="626" y="487"/>
                  </a:cubicBezTo>
                  <a:cubicBezTo>
                    <a:pt x="630" y="480"/>
                    <a:pt x="627" y="474"/>
                    <a:pt x="626" y="467"/>
                  </a:cubicBezTo>
                  <a:cubicBezTo>
                    <a:pt x="625" y="461"/>
                    <a:pt x="625" y="455"/>
                    <a:pt x="629" y="451"/>
                  </a:cubicBezTo>
                  <a:cubicBezTo>
                    <a:pt x="638" y="442"/>
                    <a:pt x="652" y="455"/>
                    <a:pt x="656" y="463"/>
                  </a:cubicBezTo>
                  <a:cubicBezTo>
                    <a:pt x="659" y="468"/>
                    <a:pt x="663" y="477"/>
                    <a:pt x="670" y="477"/>
                  </a:cubicBezTo>
                  <a:cubicBezTo>
                    <a:pt x="673" y="477"/>
                    <a:pt x="676" y="475"/>
                    <a:pt x="677" y="473"/>
                  </a:cubicBezTo>
                  <a:cubicBezTo>
                    <a:pt x="678" y="472"/>
                    <a:pt x="679" y="472"/>
                    <a:pt x="680" y="471"/>
                  </a:cubicBezTo>
                  <a:cubicBezTo>
                    <a:pt x="684" y="467"/>
                    <a:pt x="683" y="462"/>
                    <a:pt x="682" y="45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îS1îḑê"/>
            <p:cNvSpPr/>
            <p:nvPr/>
          </p:nvSpPr>
          <p:spPr bwMode="auto">
            <a:xfrm>
              <a:off x="4959703" y="2625991"/>
              <a:ext cx="2103644" cy="2455944"/>
            </a:xfrm>
            <a:custGeom>
              <a:avLst/>
              <a:gdLst>
                <a:gd name="T0" fmla="*/ 298 w 299"/>
                <a:gd name="T1" fmla="*/ 235 h 349"/>
                <a:gd name="T2" fmla="*/ 296 w 299"/>
                <a:gd name="T3" fmla="*/ 309 h 349"/>
                <a:gd name="T4" fmla="*/ 292 w 299"/>
                <a:gd name="T5" fmla="*/ 343 h 349"/>
                <a:gd name="T6" fmla="*/ 264 w 299"/>
                <a:gd name="T7" fmla="*/ 347 h 349"/>
                <a:gd name="T8" fmla="*/ 181 w 299"/>
                <a:gd name="T9" fmla="*/ 348 h 349"/>
                <a:gd name="T10" fmla="*/ 47 w 299"/>
                <a:gd name="T11" fmla="*/ 347 h 349"/>
                <a:gd name="T12" fmla="*/ 17 w 299"/>
                <a:gd name="T13" fmla="*/ 348 h 349"/>
                <a:gd name="T14" fmla="*/ 8 w 299"/>
                <a:gd name="T15" fmla="*/ 343 h 349"/>
                <a:gd name="T16" fmla="*/ 5 w 299"/>
                <a:gd name="T17" fmla="*/ 339 h 349"/>
                <a:gd name="T18" fmla="*/ 4 w 299"/>
                <a:gd name="T19" fmla="*/ 331 h 349"/>
                <a:gd name="T20" fmla="*/ 38 w 299"/>
                <a:gd name="T21" fmla="*/ 332 h 349"/>
                <a:gd name="T22" fmla="*/ 125 w 299"/>
                <a:gd name="T23" fmla="*/ 328 h 349"/>
                <a:gd name="T24" fmla="*/ 158 w 299"/>
                <a:gd name="T25" fmla="*/ 326 h 349"/>
                <a:gd name="T26" fmla="*/ 163 w 299"/>
                <a:gd name="T27" fmla="*/ 325 h 349"/>
                <a:gd name="T28" fmla="*/ 172 w 299"/>
                <a:gd name="T29" fmla="*/ 304 h 349"/>
                <a:gd name="T30" fmla="*/ 171 w 299"/>
                <a:gd name="T31" fmla="*/ 255 h 349"/>
                <a:gd name="T32" fmla="*/ 167 w 299"/>
                <a:gd name="T33" fmla="*/ 232 h 349"/>
                <a:gd name="T34" fmla="*/ 167 w 299"/>
                <a:gd name="T35" fmla="*/ 231 h 349"/>
                <a:gd name="T36" fmla="*/ 167 w 299"/>
                <a:gd name="T37" fmla="*/ 231 h 349"/>
                <a:gd name="T38" fmla="*/ 162 w 299"/>
                <a:gd name="T39" fmla="*/ 230 h 349"/>
                <a:gd name="T40" fmla="*/ 120 w 299"/>
                <a:gd name="T41" fmla="*/ 231 h 349"/>
                <a:gd name="T42" fmla="*/ 78 w 299"/>
                <a:gd name="T43" fmla="*/ 232 h 349"/>
                <a:gd name="T44" fmla="*/ 19 w 299"/>
                <a:gd name="T45" fmla="*/ 230 h 349"/>
                <a:gd name="T46" fmla="*/ 6 w 299"/>
                <a:gd name="T47" fmla="*/ 231 h 349"/>
                <a:gd name="T48" fmla="*/ 2 w 299"/>
                <a:gd name="T49" fmla="*/ 144 h 349"/>
                <a:gd name="T50" fmla="*/ 1 w 299"/>
                <a:gd name="T51" fmla="*/ 46 h 349"/>
                <a:gd name="T52" fmla="*/ 0 w 299"/>
                <a:gd name="T53" fmla="*/ 21 h 349"/>
                <a:gd name="T54" fmla="*/ 9 w 299"/>
                <a:gd name="T55" fmla="*/ 9 h 349"/>
                <a:gd name="T56" fmla="*/ 39 w 299"/>
                <a:gd name="T57" fmla="*/ 8 h 349"/>
                <a:gd name="T58" fmla="*/ 89 w 299"/>
                <a:gd name="T59" fmla="*/ 2 h 349"/>
                <a:gd name="T60" fmla="*/ 154 w 299"/>
                <a:gd name="T61" fmla="*/ 1 h 349"/>
                <a:gd name="T62" fmla="*/ 271 w 299"/>
                <a:gd name="T63" fmla="*/ 5 h 349"/>
                <a:gd name="T64" fmla="*/ 296 w 299"/>
                <a:gd name="T65" fmla="*/ 11 h 349"/>
                <a:gd name="T66" fmla="*/ 298 w 299"/>
                <a:gd name="T67" fmla="*/ 23 h 349"/>
                <a:gd name="T68" fmla="*/ 297 w 299"/>
                <a:gd name="T69" fmla="*/ 73 h 349"/>
                <a:gd name="T70" fmla="*/ 298 w 299"/>
                <a:gd name="T71" fmla="*/ 154 h 349"/>
                <a:gd name="T72" fmla="*/ 298 w 299"/>
                <a:gd name="T73" fmla="*/ 159 h 349"/>
                <a:gd name="T74" fmla="*/ 299 w 299"/>
                <a:gd name="T75" fmla="*/ 2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9" h="349">
                  <a:moveTo>
                    <a:pt x="298" y="235"/>
                  </a:moveTo>
                  <a:cubicBezTo>
                    <a:pt x="298" y="235"/>
                    <a:pt x="298" y="235"/>
                    <a:pt x="298" y="235"/>
                  </a:cubicBezTo>
                  <a:cubicBezTo>
                    <a:pt x="298" y="247"/>
                    <a:pt x="298" y="258"/>
                    <a:pt x="298" y="269"/>
                  </a:cubicBezTo>
                  <a:cubicBezTo>
                    <a:pt x="297" y="282"/>
                    <a:pt x="297" y="296"/>
                    <a:pt x="296" y="309"/>
                  </a:cubicBezTo>
                  <a:cubicBezTo>
                    <a:pt x="295" y="319"/>
                    <a:pt x="294" y="330"/>
                    <a:pt x="296" y="340"/>
                  </a:cubicBezTo>
                  <a:cubicBezTo>
                    <a:pt x="294" y="341"/>
                    <a:pt x="293" y="342"/>
                    <a:pt x="292" y="343"/>
                  </a:cubicBezTo>
                  <a:cubicBezTo>
                    <a:pt x="288" y="346"/>
                    <a:pt x="284" y="346"/>
                    <a:pt x="279" y="347"/>
                  </a:cubicBezTo>
                  <a:cubicBezTo>
                    <a:pt x="274" y="347"/>
                    <a:pt x="269" y="347"/>
                    <a:pt x="264" y="347"/>
                  </a:cubicBezTo>
                  <a:cubicBezTo>
                    <a:pt x="259" y="347"/>
                    <a:pt x="253" y="347"/>
                    <a:pt x="248" y="347"/>
                  </a:cubicBezTo>
                  <a:cubicBezTo>
                    <a:pt x="226" y="349"/>
                    <a:pt x="203" y="349"/>
                    <a:pt x="181" y="348"/>
                  </a:cubicBezTo>
                  <a:cubicBezTo>
                    <a:pt x="159" y="348"/>
                    <a:pt x="136" y="347"/>
                    <a:pt x="114" y="346"/>
                  </a:cubicBezTo>
                  <a:cubicBezTo>
                    <a:pt x="92" y="346"/>
                    <a:pt x="69" y="347"/>
                    <a:pt x="47" y="347"/>
                  </a:cubicBezTo>
                  <a:cubicBezTo>
                    <a:pt x="40" y="347"/>
                    <a:pt x="34" y="348"/>
                    <a:pt x="27" y="348"/>
                  </a:cubicBezTo>
                  <a:cubicBezTo>
                    <a:pt x="24" y="348"/>
                    <a:pt x="20" y="348"/>
                    <a:pt x="17" y="348"/>
                  </a:cubicBezTo>
                  <a:cubicBezTo>
                    <a:pt x="16" y="348"/>
                    <a:pt x="16" y="347"/>
                    <a:pt x="15" y="347"/>
                  </a:cubicBezTo>
                  <a:cubicBezTo>
                    <a:pt x="13" y="346"/>
                    <a:pt x="10" y="345"/>
                    <a:pt x="8" y="343"/>
                  </a:cubicBezTo>
                  <a:cubicBezTo>
                    <a:pt x="7" y="343"/>
                    <a:pt x="7" y="342"/>
                    <a:pt x="7" y="342"/>
                  </a:cubicBezTo>
                  <a:cubicBezTo>
                    <a:pt x="6" y="340"/>
                    <a:pt x="6" y="340"/>
                    <a:pt x="5" y="339"/>
                  </a:cubicBezTo>
                  <a:cubicBezTo>
                    <a:pt x="5" y="337"/>
                    <a:pt x="4" y="335"/>
                    <a:pt x="4" y="332"/>
                  </a:cubicBezTo>
                  <a:cubicBezTo>
                    <a:pt x="4" y="332"/>
                    <a:pt x="4" y="331"/>
                    <a:pt x="4" y="331"/>
                  </a:cubicBezTo>
                  <a:cubicBezTo>
                    <a:pt x="8" y="331"/>
                    <a:pt x="12" y="331"/>
                    <a:pt x="15" y="332"/>
                  </a:cubicBezTo>
                  <a:cubicBezTo>
                    <a:pt x="23" y="332"/>
                    <a:pt x="30" y="332"/>
                    <a:pt x="38" y="332"/>
                  </a:cubicBezTo>
                  <a:cubicBezTo>
                    <a:pt x="52" y="332"/>
                    <a:pt x="67" y="333"/>
                    <a:pt x="81" y="333"/>
                  </a:cubicBezTo>
                  <a:cubicBezTo>
                    <a:pt x="96" y="332"/>
                    <a:pt x="110" y="330"/>
                    <a:pt x="125" y="328"/>
                  </a:cubicBezTo>
                  <a:cubicBezTo>
                    <a:pt x="132" y="327"/>
                    <a:pt x="140" y="326"/>
                    <a:pt x="147" y="326"/>
                  </a:cubicBezTo>
                  <a:cubicBezTo>
                    <a:pt x="151" y="326"/>
                    <a:pt x="154" y="326"/>
                    <a:pt x="158" y="326"/>
                  </a:cubicBezTo>
                  <a:cubicBezTo>
                    <a:pt x="159" y="325"/>
                    <a:pt x="161" y="325"/>
                    <a:pt x="162" y="325"/>
                  </a:cubicBezTo>
                  <a:cubicBezTo>
                    <a:pt x="162" y="325"/>
                    <a:pt x="162" y="325"/>
                    <a:pt x="163" y="325"/>
                  </a:cubicBezTo>
                  <a:cubicBezTo>
                    <a:pt x="164" y="327"/>
                    <a:pt x="168" y="327"/>
                    <a:pt x="170" y="324"/>
                  </a:cubicBezTo>
                  <a:cubicBezTo>
                    <a:pt x="174" y="319"/>
                    <a:pt x="172" y="310"/>
                    <a:pt x="172" y="304"/>
                  </a:cubicBezTo>
                  <a:cubicBezTo>
                    <a:pt x="172" y="296"/>
                    <a:pt x="173" y="288"/>
                    <a:pt x="173" y="281"/>
                  </a:cubicBezTo>
                  <a:cubicBezTo>
                    <a:pt x="173" y="272"/>
                    <a:pt x="172" y="264"/>
                    <a:pt x="171" y="255"/>
                  </a:cubicBezTo>
                  <a:cubicBezTo>
                    <a:pt x="170" y="251"/>
                    <a:pt x="170" y="247"/>
                    <a:pt x="169" y="243"/>
                  </a:cubicBezTo>
                  <a:cubicBezTo>
                    <a:pt x="169" y="240"/>
                    <a:pt x="169" y="236"/>
                    <a:pt x="167" y="232"/>
                  </a:cubicBezTo>
                  <a:cubicBezTo>
                    <a:pt x="167" y="232"/>
                    <a:pt x="167" y="232"/>
                    <a:pt x="167" y="231"/>
                  </a:cubicBezTo>
                  <a:cubicBezTo>
                    <a:pt x="167" y="231"/>
                    <a:pt x="167" y="231"/>
                    <a:pt x="167" y="231"/>
                  </a:cubicBezTo>
                  <a:cubicBezTo>
                    <a:pt x="167" y="231"/>
                    <a:pt x="167" y="231"/>
                    <a:pt x="167" y="231"/>
                  </a:cubicBezTo>
                  <a:cubicBezTo>
                    <a:pt x="167" y="231"/>
                    <a:pt x="167" y="231"/>
                    <a:pt x="167" y="231"/>
                  </a:cubicBezTo>
                  <a:cubicBezTo>
                    <a:pt x="166" y="231"/>
                    <a:pt x="166" y="231"/>
                    <a:pt x="166" y="230"/>
                  </a:cubicBezTo>
                  <a:cubicBezTo>
                    <a:pt x="165" y="230"/>
                    <a:pt x="164" y="229"/>
                    <a:pt x="162" y="230"/>
                  </a:cubicBezTo>
                  <a:cubicBezTo>
                    <a:pt x="155" y="231"/>
                    <a:pt x="149" y="231"/>
                    <a:pt x="142" y="231"/>
                  </a:cubicBezTo>
                  <a:cubicBezTo>
                    <a:pt x="135" y="231"/>
                    <a:pt x="127" y="231"/>
                    <a:pt x="120" y="231"/>
                  </a:cubicBezTo>
                  <a:cubicBezTo>
                    <a:pt x="113" y="231"/>
                    <a:pt x="106" y="231"/>
                    <a:pt x="99" y="231"/>
                  </a:cubicBezTo>
                  <a:cubicBezTo>
                    <a:pt x="92" y="230"/>
                    <a:pt x="85" y="230"/>
                    <a:pt x="78" y="232"/>
                  </a:cubicBezTo>
                  <a:cubicBezTo>
                    <a:pt x="66" y="234"/>
                    <a:pt x="52" y="234"/>
                    <a:pt x="39" y="233"/>
                  </a:cubicBezTo>
                  <a:cubicBezTo>
                    <a:pt x="33" y="232"/>
                    <a:pt x="26" y="230"/>
                    <a:pt x="19" y="230"/>
                  </a:cubicBezTo>
                  <a:cubicBezTo>
                    <a:pt x="16" y="230"/>
                    <a:pt x="12" y="230"/>
                    <a:pt x="9" y="230"/>
                  </a:cubicBezTo>
                  <a:cubicBezTo>
                    <a:pt x="8" y="230"/>
                    <a:pt x="7" y="230"/>
                    <a:pt x="6" y="231"/>
                  </a:cubicBezTo>
                  <a:cubicBezTo>
                    <a:pt x="6" y="224"/>
                    <a:pt x="6" y="217"/>
                    <a:pt x="5" y="210"/>
                  </a:cubicBezTo>
                  <a:cubicBezTo>
                    <a:pt x="5" y="188"/>
                    <a:pt x="2" y="166"/>
                    <a:pt x="2" y="144"/>
                  </a:cubicBezTo>
                  <a:cubicBezTo>
                    <a:pt x="1" y="121"/>
                    <a:pt x="1" y="99"/>
                    <a:pt x="1" y="77"/>
                  </a:cubicBezTo>
                  <a:cubicBezTo>
                    <a:pt x="1" y="66"/>
                    <a:pt x="2" y="56"/>
                    <a:pt x="1" y="46"/>
                  </a:cubicBezTo>
                  <a:cubicBezTo>
                    <a:pt x="1" y="41"/>
                    <a:pt x="1" y="36"/>
                    <a:pt x="1" y="31"/>
                  </a:cubicBezTo>
                  <a:cubicBezTo>
                    <a:pt x="1" y="28"/>
                    <a:pt x="1" y="25"/>
                    <a:pt x="0" y="21"/>
                  </a:cubicBezTo>
                  <a:cubicBezTo>
                    <a:pt x="1" y="18"/>
                    <a:pt x="2" y="15"/>
                    <a:pt x="3" y="13"/>
                  </a:cubicBezTo>
                  <a:cubicBezTo>
                    <a:pt x="5" y="11"/>
                    <a:pt x="7" y="10"/>
                    <a:pt x="9" y="9"/>
                  </a:cubicBezTo>
                  <a:cubicBezTo>
                    <a:pt x="14" y="8"/>
                    <a:pt x="19" y="8"/>
                    <a:pt x="24" y="8"/>
                  </a:cubicBezTo>
                  <a:cubicBezTo>
                    <a:pt x="29" y="8"/>
                    <a:pt x="34" y="8"/>
                    <a:pt x="39" y="8"/>
                  </a:cubicBezTo>
                  <a:cubicBezTo>
                    <a:pt x="45" y="8"/>
                    <a:pt x="51" y="7"/>
                    <a:pt x="57" y="6"/>
                  </a:cubicBezTo>
                  <a:cubicBezTo>
                    <a:pt x="67" y="5"/>
                    <a:pt x="78" y="3"/>
                    <a:pt x="89" y="2"/>
                  </a:cubicBezTo>
                  <a:cubicBezTo>
                    <a:pt x="99" y="1"/>
                    <a:pt x="110" y="1"/>
                    <a:pt x="121" y="1"/>
                  </a:cubicBezTo>
                  <a:cubicBezTo>
                    <a:pt x="132" y="1"/>
                    <a:pt x="143" y="1"/>
                    <a:pt x="154" y="1"/>
                  </a:cubicBezTo>
                  <a:cubicBezTo>
                    <a:pt x="176" y="0"/>
                    <a:pt x="197" y="1"/>
                    <a:pt x="219" y="1"/>
                  </a:cubicBezTo>
                  <a:cubicBezTo>
                    <a:pt x="237" y="2"/>
                    <a:pt x="254" y="2"/>
                    <a:pt x="271" y="5"/>
                  </a:cubicBezTo>
                  <a:cubicBezTo>
                    <a:pt x="279" y="6"/>
                    <a:pt x="286" y="8"/>
                    <a:pt x="293" y="10"/>
                  </a:cubicBezTo>
                  <a:cubicBezTo>
                    <a:pt x="294" y="10"/>
                    <a:pt x="295" y="11"/>
                    <a:pt x="296" y="11"/>
                  </a:cubicBezTo>
                  <a:cubicBezTo>
                    <a:pt x="297" y="12"/>
                    <a:pt x="298" y="12"/>
                    <a:pt x="298" y="12"/>
                  </a:cubicBezTo>
                  <a:cubicBezTo>
                    <a:pt x="298" y="16"/>
                    <a:pt x="298" y="19"/>
                    <a:pt x="298" y="23"/>
                  </a:cubicBezTo>
                  <a:cubicBezTo>
                    <a:pt x="297" y="28"/>
                    <a:pt x="297" y="34"/>
                    <a:pt x="297" y="40"/>
                  </a:cubicBezTo>
                  <a:cubicBezTo>
                    <a:pt x="297" y="51"/>
                    <a:pt x="297" y="62"/>
                    <a:pt x="297" y="73"/>
                  </a:cubicBezTo>
                  <a:cubicBezTo>
                    <a:pt x="297" y="95"/>
                    <a:pt x="295" y="116"/>
                    <a:pt x="297" y="138"/>
                  </a:cubicBezTo>
                  <a:cubicBezTo>
                    <a:pt x="297" y="143"/>
                    <a:pt x="298" y="149"/>
                    <a:pt x="298" y="154"/>
                  </a:cubicBezTo>
                  <a:cubicBezTo>
                    <a:pt x="298" y="154"/>
                    <a:pt x="298" y="154"/>
                    <a:pt x="298" y="154"/>
                  </a:cubicBezTo>
                  <a:cubicBezTo>
                    <a:pt x="297" y="156"/>
                    <a:pt x="297" y="158"/>
                    <a:pt x="298" y="159"/>
                  </a:cubicBezTo>
                  <a:cubicBezTo>
                    <a:pt x="299" y="163"/>
                    <a:pt x="299" y="166"/>
                    <a:pt x="299" y="170"/>
                  </a:cubicBezTo>
                  <a:cubicBezTo>
                    <a:pt x="299" y="181"/>
                    <a:pt x="299" y="191"/>
                    <a:pt x="299" y="202"/>
                  </a:cubicBezTo>
                  <a:cubicBezTo>
                    <a:pt x="299" y="213"/>
                    <a:pt x="298" y="224"/>
                    <a:pt x="298" y="235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ïṧ1îďé"/>
            <p:cNvSpPr/>
            <p:nvPr/>
          </p:nvSpPr>
          <p:spPr bwMode="auto">
            <a:xfrm>
              <a:off x="4959703" y="2683578"/>
              <a:ext cx="145664" cy="2374644"/>
            </a:xfrm>
            <a:custGeom>
              <a:avLst/>
              <a:gdLst>
                <a:gd name="T0" fmla="*/ 13 w 21"/>
                <a:gd name="T1" fmla="*/ 338 h 338"/>
                <a:gd name="T2" fmla="*/ 8 w 21"/>
                <a:gd name="T3" fmla="*/ 335 h 338"/>
                <a:gd name="T4" fmla="*/ 7 w 21"/>
                <a:gd name="T5" fmla="*/ 334 h 338"/>
                <a:gd name="T6" fmla="*/ 5 w 21"/>
                <a:gd name="T7" fmla="*/ 331 h 338"/>
                <a:gd name="T8" fmla="*/ 4 w 21"/>
                <a:gd name="T9" fmla="*/ 324 h 338"/>
                <a:gd name="T10" fmla="*/ 4 w 21"/>
                <a:gd name="T11" fmla="*/ 323 h 338"/>
                <a:gd name="T12" fmla="*/ 13 w 21"/>
                <a:gd name="T13" fmla="*/ 323 h 338"/>
                <a:gd name="T14" fmla="*/ 13 w 21"/>
                <a:gd name="T15" fmla="*/ 338 h 338"/>
                <a:gd name="T16" fmla="*/ 11 w 21"/>
                <a:gd name="T17" fmla="*/ 222 h 338"/>
                <a:gd name="T18" fmla="*/ 9 w 21"/>
                <a:gd name="T19" fmla="*/ 222 h 338"/>
                <a:gd name="T20" fmla="*/ 6 w 21"/>
                <a:gd name="T21" fmla="*/ 223 h 338"/>
                <a:gd name="T22" fmla="*/ 5 w 21"/>
                <a:gd name="T23" fmla="*/ 202 h 338"/>
                <a:gd name="T24" fmla="*/ 2 w 21"/>
                <a:gd name="T25" fmla="*/ 136 h 338"/>
                <a:gd name="T26" fmla="*/ 1 w 21"/>
                <a:gd name="T27" fmla="*/ 69 h 338"/>
                <a:gd name="T28" fmla="*/ 1 w 21"/>
                <a:gd name="T29" fmla="*/ 38 h 338"/>
                <a:gd name="T30" fmla="*/ 1 w 21"/>
                <a:gd name="T31" fmla="*/ 23 h 338"/>
                <a:gd name="T32" fmla="*/ 0 w 21"/>
                <a:gd name="T33" fmla="*/ 13 h 338"/>
                <a:gd name="T34" fmla="*/ 3 w 21"/>
                <a:gd name="T35" fmla="*/ 5 h 338"/>
                <a:gd name="T36" fmla="*/ 9 w 21"/>
                <a:gd name="T37" fmla="*/ 1 h 338"/>
                <a:gd name="T38" fmla="*/ 21 w 21"/>
                <a:gd name="T39" fmla="*/ 0 h 338"/>
                <a:gd name="T40" fmla="*/ 21 w 21"/>
                <a:gd name="T41" fmla="*/ 0 h 338"/>
                <a:gd name="T42" fmla="*/ 9 w 21"/>
                <a:gd name="T43" fmla="*/ 70 h 338"/>
                <a:gd name="T44" fmla="*/ 11 w 21"/>
                <a:gd name="T45" fmla="*/ 222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338">
                  <a:moveTo>
                    <a:pt x="13" y="338"/>
                  </a:moveTo>
                  <a:cubicBezTo>
                    <a:pt x="11" y="337"/>
                    <a:pt x="9" y="336"/>
                    <a:pt x="8" y="335"/>
                  </a:cubicBezTo>
                  <a:cubicBezTo>
                    <a:pt x="7" y="335"/>
                    <a:pt x="7" y="334"/>
                    <a:pt x="7" y="334"/>
                  </a:cubicBezTo>
                  <a:cubicBezTo>
                    <a:pt x="6" y="332"/>
                    <a:pt x="6" y="332"/>
                    <a:pt x="5" y="331"/>
                  </a:cubicBezTo>
                  <a:cubicBezTo>
                    <a:pt x="5" y="329"/>
                    <a:pt x="4" y="327"/>
                    <a:pt x="4" y="324"/>
                  </a:cubicBezTo>
                  <a:cubicBezTo>
                    <a:pt x="4" y="324"/>
                    <a:pt x="4" y="323"/>
                    <a:pt x="4" y="323"/>
                  </a:cubicBezTo>
                  <a:cubicBezTo>
                    <a:pt x="7" y="323"/>
                    <a:pt x="10" y="323"/>
                    <a:pt x="13" y="323"/>
                  </a:cubicBezTo>
                  <a:lnTo>
                    <a:pt x="13" y="338"/>
                  </a:lnTo>
                  <a:close/>
                  <a:moveTo>
                    <a:pt x="11" y="222"/>
                  </a:moveTo>
                  <a:cubicBezTo>
                    <a:pt x="11" y="222"/>
                    <a:pt x="10" y="222"/>
                    <a:pt x="9" y="222"/>
                  </a:cubicBezTo>
                  <a:cubicBezTo>
                    <a:pt x="8" y="222"/>
                    <a:pt x="7" y="222"/>
                    <a:pt x="6" y="223"/>
                  </a:cubicBezTo>
                  <a:cubicBezTo>
                    <a:pt x="6" y="216"/>
                    <a:pt x="6" y="209"/>
                    <a:pt x="5" y="202"/>
                  </a:cubicBezTo>
                  <a:cubicBezTo>
                    <a:pt x="5" y="180"/>
                    <a:pt x="2" y="158"/>
                    <a:pt x="2" y="136"/>
                  </a:cubicBezTo>
                  <a:cubicBezTo>
                    <a:pt x="1" y="113"/>
                    <a:pt x="1" y="91"/>
                    <a:pt x="1" y="69"/>
                  </a:cubicBezTo>
                  <a:cubicBezTo>
                    <a:pt x="1" y="58"/>
                    <a:pt x="2" y="48"/>
                    <a:pt x="1" y="38"/>
                  </a:cubicBezTo>
                  <a:cubicBezTo>
                    <a:pt x="1" y="33"/>
                    <a:pt x="1" y="28"/>
                    <a:pt x="1" y="23"/>
                  </a:cubicBezTo>
                  <a:cubicBezTo>
                    <a:pt x="1" y="20"/>
                    <a:pt x="1" y="17"/>
                    <a:pt x="0" y="13"/>
                  </a:cubicBezTo>
                  <a:cubicBezTo>
                    <a:pt x="1" y="10"/>
                    <a:pt x="2" y="7"/>
                    <a:pt x="3" y="5"/>
                  </a:cubicBezTo>
                  <a:cubicBezTo>
                    <a:pt x="5" y="3"/>
                    <a:pt x="7" y="2"/>
                    <a:pt x="9" y="1"/>
                  </a:cubicBezTo>
                  <a:cubicBezTo>
                    <a:pt x="13" y="0"/>
                    <a:pt x="17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8" y="2"/>
                    <a:pt x="9" y="70"/>
                  </a:cubicBezTo>
                  <a:cubicBezTo>
                    <a:pt x="10" y="100"/>
                    <a:pt x="11" y="163"/>
                    <a:pt x="11" y="2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ísľíḑe"/>
            <p:cNvSpPr/>
            <p:nvPr/>
          </p:nvSpPr>
          <p:spPr bwMode="auto">
            <a:xfrm>
              <a:off x="6670394" y="2653091"/>
              <a:ext cx="392951" cy="2422069"/>
            </a:xfrm>
            <a:custGeom>
              <a:avLst/>
              <a:gdLst>
                <a:gd name="T0" fmla="*/ 55 w 56"/>
                <a:gd name="T1" fmla="*/ 231 h 344"/>
                <a:gd name="T2" fmla="*/ 55 w 56"/>
                <a:gd name="T3" fmla="*/ 231 h 344"/>
                <a:gd name="T4" fmla="*/ 55 w 56"/>
                <a:gd name="T5" fmla="*/ 265 h 344"/>
                <a:gd name="T6" fmla="*/ 53 w 56"/>
                <a:gd name="T7" fmla="*/ 305 h 344"/>
                <a:gd name="T8" fmla="*/ 53 w 56"/>
                <a:gd name="T9" fmla="*/ 336 h 344"/>
                <a:gd name="T10" fmla="*/ 49 w 56"/>
                <a:gd name="T11" fmla="*/ 339 h 344"/>
                <a:gd name="T12" fmla="*/ 36 w 56"/>
                <a:gd name="T13" fmla="*/ 343 h 344"/>
                <a:gd name="T14" fmla="*/ 21 w 56"/>
                <a:gd name="T15" fmla="*/ 343 h 344"/>
                <a:gd name="T16" fmla="*/ 5 w 56"/>
                <a:gd name="T17" fmla="*/ 343 h 344"/>
                <a:gd name="T18" fmla="*/ 0 w 56"/>
                <a:gd name="T19" fmla="*/ 344 h 344"/>
                <a:gd name="T20" fmla="*/ 22 w 56"/>
                <a:gd name="T21" fmla="*/ 0 h 344"/>
                <a:gd name="T22" fmla="*/ 22 w 56"/>
                <a:gd name="T23" fmla="*/ 0 h 344"/>
                <a:gd name="T24" fmla="*/ 28 w 56"/>
                <a:gd name="T25" fmla="*/ 1 h 344"/>
                <a:gd name="T26" fmla="*/ 50 w 56"/>
                <a:gd name="T27" fmla="*/ 6 h 344"/>
                <a:gd name="T28" fmla="*/ 53 w 56"/>
                <a:gd name="T29" fmla="*/ 7 h 344"/>
                <a:gd name="T30" fmla="*/ 55 w 56"/>
                <a:gd name="T31" fmla="*/ 8 h 344"/>
                <a:gd name="T32" fmla="*/ 55 w 56"/>
                <a:gd name="T33" fmla="*/ 19 h 344"/>
                <a:gd name="T34" fmla="*/ 54 w 56"/>
                <a:gd name="T35" fmla="*/ 36 h 344"/>
                <a:gd name="T36" fmla="*/ 54 w 56"/>
                <a:gd name="T37" fmla="*/ 69 h 344"/>
                <a:gd name="T38" fmla="*/ 54 w 56"/>
                <a:gd name="T39" fmla="*/ 134 h 344"/>
                <a:gd name="T40" fmla="*/ 55 w 56"/>
                <a:gd name="T41" fmla="*/ 150 h 344"/>
                <a:gd name="T42" fmla="*/ 55 w 56"/>
                <a:gd name="T43" fmla="*/ 150 h 344"/>
                <a:gd name="T44" fmla="*/ 55 w 56"/>
                <a:gd name="T45" fmla="*/ 155 h 344"/>
                <a:gd name="T46" fmla="*/ 56 w 56"/>
                <a:gd name="T47" fmla="*/ 166 h 344"/>
                <a:gd name="T48" fmla="*/ 56 w 56"/>
                <a:gd name="T49" fmla="*/ 198 h 344"/>
                <a:gd name="T50" fmla="*/ 55 w 56"/>
                <a:gd name="T51" fmla="*/ 231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6" h="344">
                  <a:moveTo>
                    <a:pt x="55" y="231"/>
                  </a:moveTo>
                  <a:cubicBezTo>
                    <a:pt x="55" y="231"/>
                    <a:pt x="55" y="231"/>
                    <a:pt x="55" y="231"/>
                  </a:cubicBezTo>
                  <a:cubicBezTo>
                    <a:pt x="55" y="243"/>
                    <a:pt x="55" y="254"/>
                    <a:pt x="55" y="265"/>
                  </a:cubicBezTo>
                  <a:cubicBezTo>
                    <a:pt x="54" y="278"/>
                    <a:pt x="54" y="292"/>
                    <a:pt x="53" y="305"/>
                  </a:cubicBezTo>
                  <a:cubicBezTo>
                    <a:pt x="52" y="315"/>
                    <a:pt x="51" y="326"/>
                    <a:pt x="53" y="336"/>
                  </a:cubicBezTo>
                  <a:cubicBezTo>
                    <a:pt x="51" y="337"/>
                    <a:pt x="50" y="338"/>
                    <a:pt x="49" y="339"/>
                  </a:cubicBezTo>
                  <a:cubicBezTo>
                    <a:pt x="45" y="342"/>
                    <a:pt x="41" y="342"/>
                    <a:pt x="36" y="343"/>
                  </a:cubicBezTo>
                  <a:cubicBezTo>
                    <a:pt x="31" y="343"/>
                    <a:pt x="26" y="343"/>
                    <a:pt x="21" y="343"/>
                  </a:cubicBezTo>
                  <a:cubicBezTo>
                    <a:pt x="16" y="343"/>
                    <a:pt x="10" y="343"/>
                    <a:pt x="5" y="343"/>
                  </a:cubicBezTo>
                  <a:cubicBezTo>
                    <a:pt x="3" y="343"/>
                    <a:pt x="2" y="343"/>
                    <a:pt x="0" y="344"/>
                  </a:cubicBezTo>
                  <a:cubicBezTo>
                    <a:pt x="49" y="20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6" y="1"/>
                    <a:pt x="28" y="1"/>
                  </a:cubicBezTo>
                  <a:cubicBezTo>
                    <a:pt x="36" y="2"/>
                    <a:pt x="43" y="4"/>
                    <a:pt x="50" y="6"/>
                  </a:cubicBezTo>
                  <a:cubicBezTo>
                    <a:pt x="51" y="6"/>
                    <a:pt x="52" y="7"/>
                    <a:pt x="53" y="7"/>
                  </a:cubicBezTo>
                  <a:cubicBezTo>
                    <a:pt x="54" y="8"/>
                    <a:pt x="55" y="8"/>
                    <a:pt x="55" y="8"/>
                  </a:cubicBezTo>
                  <a:cubicBezTo>
                    <a:pt x="55" y="12"/>
                    <a:pt x="55" y="15"/>
                    <a:pt x="55" y="19"/>
                  </a:cubicBezTo>
                  <a:cubicBezTo>
                    <a:pt x="54" y="24"/>
                    <a:pt x="54" y="30"/>
                    <a:pt x="54" y="36"/>
                  </a:cubicBezTo>
                  <a:cubicBezTo>
                    <a:pt x="54" y="47"/>
                    <a:pt x="54" y="58"/>
                    <a:pt x="54" y="69"/>
                  </a:cubicBezTo>
                  <a:cubicBezTo>
                    <a:pt x="54" y="91"/>
                    <a:pt x="52" y="112"/>
                    <a:pt x="54" y="134"/>
                  </a:cubicBezTo>
                  <a:cubicBezTo>
                    <a:pt x="54" y="139"/>
                    <a:pt x="55" y="145"/>
                    <a:pt x="55" y="150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4" y="152"/>
                    <a:pt x="54" y="154"/>
                    <a:pt x="55" y="155"/>
                  </a:cubicBezTo>
                  <a:cubicBezTo>
                    <a:pt x="56" y="159"/>
                    <a:pt x="56" y="162"/>
                    <a:pt x="56" y="166"/>
                  </a:cubicBezTo>
                  <a:cubicBezTo>
                    <a:pt x="56" y="177"/>
                    <a:pt x="56" y="187"/>
                    <a:pt x="56" y="198"/>
                  </a:cubicBezTo>
                  <a:cubicBezTo>
                    <a:pt x="56" y="209"/>
                    <a:pt x="55" y="220"/>
                    <a:pt x="55" y="23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i$lïḑê"/>
            <p:cNvSpPr/>
            <p:nvPr/>
          </p:nvSpPr>
          <p:spPr bwMode="auto">
            <a:xfrm>
              <a:off x="5305229" y="2639541"/>
              <a:ext cx="1449853" cy="829940"/>
            </a:xfrm>
            <a:custGeom>
              <a:avLst/>
              <a:gdLst>
                <a:gd name="T0" fmla="*/ 190 w 206"/>
                <a:gd name="T1" fmla="*/ 88 h 118"/>
                <a:gd name="T2" fmla="*/ 205 w 206"/>
                <a:gd name="T3" fmla="*/ 64 h 118"/>
                <a:gd name="T4" fmla="*/ 204 w 206"/>
                <a:gd name="T5" fmla="*/ 51 h 118"/>
                <a:gd name="T6" fmla="*/ 204 w 206"/>
                <a:gd name="T7" fmla="*/ 50 h 118"/>
                <a:gd name="T8" fmla="*/ 190 w 206"/>
                <a:gd name="T9" fmla="*/ 30 h 118"/>
                <a:gd name="T10" fmla="*/ 171 w 206"/>
                <a:gd name="T11" fmla="*/ 16 h 118"/>
                <a:gd name="T12" fmla="*/ 116 w 206"/>
                <a:gd name="T13" fmla="*/ 2 h 118"/>
                <a:gd name="T14" fmla="*/ 9 w 206"/>
                <a:gd name="T15" fmla="*/ 41 h 118"/>
                <a:gd name="T16" fmla="*/ 10 w 206"/>
                <a:gd name="T17" fmla="*/ 44 h 118"/>
                <a:gd name="T18" fmla="*/ 10 w 206"/>
                <a:gd name="T19" fmla="*/ 44 h 118"/>
                <a:gd name="T20" fmla="*/ 0 w 206"/>
                <a:gd name="T21" fmla="*/ 67 h 118"/>
                <a:gd name="T22" fmla="*/ 30 w 206"/>
                <a:gd name="T23" fmla="*/ 106 h 118"/>
                <a:gd name="T24" fmla="*/ 82 w 206"/>
                <a:gd name="T25" fmla="*/ 116 h 118"/>
                <a:gd name="T26" fmla="*/ 143 w 206"/>
                <a:gd name="T27" fmla="*/ 114 h 118"/>
                <a:gd name="T28" fmla="*/ 190 w 206"/>
                <a:gd name="T29" fmla="*/ 88 h 118"/>
                <a:gd name="T30" fmla="*/ 62 w 206"/>
                <a:gd name="T31" fmla="*/ 106 h 118"/>
                <a:gd name="T32" fmla="*/ 62 w 206"/>
                <a:gd name="T33" fmla="*/ 106 h 118"/>
                <a:gd name="T34" fmla="*/ 17 w 206"/>
                <a:gd name="T35" fmla="*/ 88 h 118"/>
                <a:gd name="T36" fmla="*/ 8 w 206"/>
                <a:gd name="T37" fmla="*/ 56 h 118"/>
                <a:gd name="T38" fmla="*/ 32 w 206"/>
                <a:gd name="T39" fmla="*/ 35 h 118"/>
                <a:gd name="T40" fmla="*/ 32 w 206"/>
                <a:gd name="T41" fmla="*/ 31 h 118"/>
                <a:gd name="T42" fmla="*/ 112 w 206"/>
                <a:gd name="T43" fmla="*/ 9 h 118"/>
                <a:gd name="T44" fmla="*/ 166 w 206"/>
                <a:gd name="T45" fmla="*/ 21 h 118"/>
                <a:gd name="T46" fmla="*/ 184 w 206"/>
                <a:gd name="T47" fmla="*/ 34 h 118"/>
                <a:gd name="T48" fmla="*/ 192 w 206"/>
                <a:gd name="T49" fmla="*/ 43 h 118"/>
                <a:gd name="T50" fmla="*/ 197 w 206"/>
                <a:gd name="T51" fmla="*/ 51 h 118"/>
                <a:gd name="T52" fmla="*/ 195 w 206"/>
                <a:gd name="T53" fmla="*/ 69 h 118"/>
                <a:gd name="T54" fmla="*/ 175 w 206"/>
                <a:gd name="T55" fmla="*/ 90 h 118"/>
                <a:gd name="T56" fmla="*/ 125 w 206"/>
                <a:gd name="T57" fmla="*/ 107 h 118"/>
                <a:gd name="T58" fmla="*/ 62 w 206"/>
                <a:gd name="T59" fmla="*/ 106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6" h="118">
                  <a:moveTo>
                    <a:pt x="190" y="88"/>
                  </a:moveTo>
                  <a:cubicBezTo>
                    <a:pt x="197" y="81"/>
                    <a:pt x="203" y="73"/>
                    <a:pt x="205" y="64"/>
                  </a:cubicBezTo>
                  <a:cubicBezTo>
                    <a:pt x="206" y="59"/>
                    <a:pt x="205" y="55"/>
                    <a:pt x="204" y="51"/>
                  </a:cubicBezTo>
                  <a:cubicBezTo>
                    <a:pt x="204" y="50"/>
                    <a:pt x="204" y="50"/>
                    <a:pt x="204" y="50"/>
                  </a:cubicBezTo>
                  <a:cubicBezTo>
                    <a:pt x="202" y="43"/>
                    <a:pt x="195" y="36"/>
                    <a:pt x="190" y="30"/>
                  </a:cubicBezTo>
                  <a:cubicBezTo>
                    <a:pt x="185" y="24"/>
                    <a:pt x="178" y="19"/>
                    <a:pt x="171" y="16"/>
                  </a:cubicBezTo>
                  <a:cubicBezTo>
                    <a:pt x="154" y="7"/>
                    <a:pt x="134" y="3"/>
                    <a:pt x="116" y="2"/>
                  </a:cubicBezTo>
                  <a:cubicBezTo>
                    <a:pt x="76" y="0"/>
                    <a:pt x="40" y="18"/>
                    <a:pt x="9" y="41"/>
                  </a:cubicBezTo>
                  <a:cubicBezTo>
                    <a:pt x="8" y="42"/>
                    <a:pt x="9" y="44"/>
                    <a:pt x="10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3" y="50"/>
                    <a:pt x="0" y="58"/>
                    <a:pt x="0" y="67"/>
                  </a:cubicBezTo>
                  <a:cubicBezTo>
                    <a:pt x="2" y="84"/>
                    <a:pt x="16" y="97"/>
                    <a:pt x="30" y="106"/>
                  </a:cubicBezTo>
                  <a:cubicBezTo>
                    <a:pt x="46" y="115"/>
                    <a:pt x="65" y="115"/>
                    <a:pt x="82" y="116"/>
                  </a:cubicBezTo>
                  <a:cubicBezTo>
                    <a:pt x="102" y="117"/>
                    <a:pt x="123" y="118"/>
                    <a:pt x="143" y="114"/>
                  </a:cubicBezTo>
                  <a:cubicBezTo>
                    <a:pt x="161" y="110"/>
                    <a:pt x="178" y="101"/>
                    <a:pt x="190" y="88"/>
                  </a:cubicBezTo>
                  <a:close/>
                  <a:moveTo>
                    <a:pt x="62" y="106"/>
                  </a:moveTo>
                  <a:cubicBezTo>
                    <a:pt x="62" y="106"/>
                    <a:pt x="62" y="106"/>
                    <a:pt x="62" y="106"/>
                  </a:cubicBezTo>
                  <a:cubicBezTo>
                    <a:pt x="46" y="105"/>
                    <a:pt x="28" y="100"/>
                    <a:pt x="17" y="88"/>
                  </a:cubicBezTo>
                  <a:cubicBezTo>
                    <a:pt x="9" y="79"/>
                    <a:pt x="3" y="67"/>
                    <a:pt x="8" y="56"/>
                  </a:cubicBezTo>
                  <a:cubicBezTo>
                    <a:pt x="13" y="45"/>
                    <a:pt x="25" y="42"/>
                    <a:pt x="32" y="35"/>
                  </a:cubicBezTo>
                  <a:cubicBezTo>
                    <a:pt x="34" y="34"/>
                    <a:pt x="33" y="32"/>
                    <a:pt x="32" y="31"/>
                  </a:cubicBezTo>
                  <a:cubicBezTo>
                    <a:pt x="57" y="18"/>
                    <a:pt x="84" y="8"/>
                    <a:pt x="112" y="9"/>
                  </a:cubicBezTo>
                  <a:cubicBezTo>
                    <a:pt x="130" y="9"/>
                    <a:pt x="149" y="14"/>
                    <a:pt x="166" y="21"/>
                  </a:cubicBezTo>
                  <a:cubicBezTo>
                    <a:pt x="173" y="24"/>
                    <a:pt x="179" y="28"/>
                    <a:pt x="184" y="34"/>
                  </a:cubicBezTo>
                  <a:cubicBezTo>
                    <a:pt x="187" y="36"/>
                    <a:pt x="189" y="40"/>
                    <a:pt x="192" y="43"/>
                  </a:cubicBezTo>
                  <a:cubicBezTo>
                    <a:pt x="194" y="46"/>
                    <a:pt x="195" y="49"/>
                    <a:pt x="197" y="51"/>
                  </a:cubicBezTo>
                  <a:cubicBezTo>
                    <a:pt x="198" y="57"/>
                    <a:pt x="198" y="63"/>
                    <a:pt x="195" y="69"/>
                  </a:cubicBezTo>
                  <a:cubicBezTo>
                    <a:pt x="190" y="77"/>
                    <a:pt x="183" y="84"/>
                    <a:pt x="175" y="90"/>
                  </a:cubicBezTo>
                  <a:cubicBezTo>
                    <a:pt x="161" y="100"/>
                    <a:pt x="143" y="107"/>
                    <a:pt x="125" y="107"/>
                  </a:cubicBezTo>
                  <a:cubicBezTo>
                    <a:pt x="104" y="108"/>
                    <a:pt x="83" y="108"/>
                    <a:pt x="62" y="106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í$1îďe"/>
            <p:cNvSpPr/>
            <p:nvPr/>
          </p:nvSpPr>
          <p:spPr bwMode="auto">
            <a:xfrm>
              <a:off x="5664305" y="2815692"/>
              <a:ext cx="182925" cy="189700"/>
            </a:xfrm>
            <a:custGeom>
              <a:avLst/>
              <a:gdLst>
                <a:gd name="T0" fmla="*/ 18 w 26"/>
                <a:gd name="T1" fmla="*/ 2 h 27"/>
                <a:gd name="T2" fmla="*/ 4 w 26"/>
                <a:gd name="T3" fmla="*/ 4 h 27"/>
                <a:gd name="T4" fmla="*/ 1 w 26"/>
                <a:gd name="T5" fmla="*/ 14 h 27"/>
                <a:gd name="T6" fmla="*/ 6 w 26"/>
                <a:gd name="T7" fmla="*/ 25 h 27"/>
                <a:gd name="T8" fmla="*/ 18 w 26"/>
                <a:gd name="T9" fmla="*/ 24 h 27"/>
                <a:gd name="T10" fmla="*/ 26 w 26"/>
                <a:gd name="T11" fmla="*/ 12 h 27"/>
                <a:gd name="T12" fmla="*/ 18 w 26"/>
                <a:gd name="T13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7">
                  <a:moveTo>
                    <a:pt x="18" y="2"/>
                  </a:moveTo>
                  <a:cubicBezTo>
                    <a:pt x="13" y="0"/>
                    <a:pt x="8" y="1"/>
                    <a:pt x="4" y="4"/>
                  </a:cubicBezTo>
                  <a:cubicBezTo>
                    <a:pt x="1" y="6"/>
                    <a:pt x="0" y="10"/>
                    <a:pt x="1" y="14"/>
                  </a:cubicBezTo>
                  <a:cubicBezTo>
                    <a:pt x="0" y="18"/>
                    <a:pt x="2" y="22"/>
                    <a:pt x="6" y="25"/>
                  </a:cubicBezTo>
                  <a:cubicBezTo>
                    <a:pt x="10" y="27"/>
                    <a:pt x="15" y="26"/>
                    <a:pt x="18" y="24"/>
                  </a:cubicBezTo>
                  <a:cubicBezTo>
                    <a:pt x="23" y="22"/>
                    <a:pt x="26" y="17"/>
                    <a:pt x="26" y="12"/>
                  </a:cubicBezTo>
                  <a:cubicBezTo>
                    <a:pt x="26" y="7"/>
                    <a:pt x="22" y="4"/>
                    <a:pt x="1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işľîḋé"/>
            <p:cNvSpPr/>
            <p:nvPr/>
          </p:nvSpPr>
          <p:spPr bwMode="auto">
            <a:xfrm>
              <a:off x="6175817" y="2795367"/>
              <a:ext cx="220189" cy="203250"/>
            </a:xfrm>
            <a:custGeom>
              <a:avLst/>
              <a:gdLst>
                <a:gd name="T0" fmla="*/ 20 w 31"/>
                <a:gd name="T1" fmla="*/ 2 h 29"/>
                <a:gd name="T2" fmla="*/ 8 w 31"/>
                <a:gd name="T3" fmla="*/ 3 h 29"/>
                <a:gd name="T4" fmla="*/ 1 w 31"/>
                <a:gd name="T5" fmla="*/ 19 h 29"/>
                <a:gd name="T6" fmla="*/ 10 w 31"/>
                <a:gd name="T7" fmla="*/ 27 h 29"/>
                <a:gd name="T8" fmla="*/ 24 w 31"/>
                <a:gd name="T9" fmla="*/ 27 h 29"/>
                <a:gd name="T10" fmla="*/ 31 w 31"/>
                <a:gd name="T11" fmla="*/ 15 h 29"/>
                <a:gd name="T12" fmla="*/ 20 w 31"/>
                <a:gd name="T13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9">
                  <a:moveTo>
                    <a:pt x="20" y="2"/>
                  </a:moveTo>
                  <a:cubicBezTo>
                    <a:pt x="16" y="0"/>
                    <a:pt x="12" y="0"/>
                    <a:pt x="8" y="3"/>
                  </a:cubicBezTo>
                  <a:cubicBezTo>
                    <a:pt x="3" y="6"/>
                    <a:pt x="0" y="13"/>
                    <a:pt x="1" y="19"/>
                  </a:cubicBezTo>
                  <a:cubicBezTo>
                    <a:pt x="2" y="23"/>
                    <a:pt x="6" y="26"/>
                    <a:pt x="10" y="27"/>
                  </a:cubicBezTo>
                  <a:cubicBezTo>
                    <a:pt x="15" y="28"/>
                    <a:pt x="20" y="29"/>
                    <a:pt x="24" y="27"/>
                  </a:cubicBezTo>
                  <a:cubicBezTo>
                    <a:pt x="29" y="25"/>
                    <a:pt x="31" y="19"/>
                    <a:pt x="31" y="15"/>
                  </a:cubicBezTo>
                  <a:cubicBezTo>
                    <a:pt x="31" y="9"/>
                    <a:pt x="26" y="4"/>
                    <a:pt x="20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íşļîḍé"/>
            <p:cNvSpPr/>
            <p:nvPr/>
          </p:nvSpPr>
          <p:spPr bwMode="auto">
            <a:xfrm>
              <a:off x="5823517" y="3012167"/>
              <a:ext cx="372626" cy="162600"/>
            </a:xfrm>
            <a:custGeom>
              <a:avLst/>
              <a:gdLst>
                <a:gd name="T0" fmla="*/ 46 w 53"/>
                <a:gd name="T1" fmla="*/ 3 h 23"/>
                <a:gd name="T2" fmla="*/ 35 w 53"/>
                <a:gd name="T3" fmla="*/ 10 h 23"/>
                <a:gd name="T4" fmla="*/ 24 w 53"/>
                <a:gd name="T5" fmla="*/ 11 h 23"/>
                <a:gd name="T6" fmla="*/ 15 w 53"/>
                <a:gd name="T7" fmla="*/ 9 h 23"/>
                <a:gd name="T8" fmla="*/ 7 w 53"/>
                <a:gd name="T9" fmla="*/ 3 h 23"/>
                <a:gd name="T10" fmla="*/ 4 w 53"/>
                <a:gd name="T11" fmla="*/ 4 h 23"/>
                <a:gd name="T12" fmla="*/ 21 w 53"/>
                <a:gd name="T13" fmla="*/ 20 h 23"/>
                <a:gd name="T14" fmla="*/ 52 w 53"/>
                <a:gd name="T15" fmla="*/ 9 h 23"/>
                <a:gd name="T16" fmla="*/ 46 w 53"/>
                <a:gd name="T1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3">
                  <a:moveTo>
                    <a:pt x="46" y="3"/>
                  </a:moveTo>
                  <a:cubicBezTo>
                    <a:pt x="42" y="5"/>
                    <a:pt x="39" y="8"/>
                    <a:pt x="35" y="10"/>
                  </a:cubicBezTo>
                  <a:cubicBezTo>
                    <a:pt x="32" y="11"/>
                    <a:pt x="28" y="12"/>
                    <a:pt x="24" y="11"/>
                  </a:cubicBezTo>
                  <a:cubicBezTo>
                    <a:pt x="21" y="11"/>
                    <a:pt x="18" y="10"/>
                    <a:pt x="15" y="9"/>
                  </a:cubicBezTo>
                  <a:cubicBezTo>
                    <a:pt x="12" y="8"/>
                    <a:pt x="10" y="5"/>
                    <a:pt x="7" y="3"/>
                  </a:cubicBezTo>
                  <a:cubicBezTo>
                    <a:pt x="6" y="3"/>
                    <a:pt x="5" y="2"/>
                    <a:pt x="4" y="4"/>
                  </a:cubicBezTo>
                  <a:cubicBezTo>
                    <a:pt x="0" y="13"/>
                    <a:pt x="15" y="19"/>
                    <a:pt x="21" y="20"/>
                  </a:cubicBezTo>
                  <a:cubicBezTo>
                    <a:pt x="31" y="23"/>
                    <a:pt x="47" y="19"/>
                    <a:pt x="52" y="9"/>
                  </a:cubicBezTo>
                  <a:cubicBezTo>
                    <a:pt x="53" y="5"/>
                    <a:pt x="50" y="0"/>
                    <a:pt x="46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î$1iḑê"/>
            <p:cNvSpPr/>
            <p:nvPr/>
          </p:nvSpPr>
          <p:spPr bwMode="auto">
            <a:xfrm>
              <a:off x="5091815" y="3476255"/>
              <a:ext cx="111789" cy="311651"/>
            </a:xfrm>
            <a:custGeom>
              <a:avLst/>
              <a:gdLst>
                <a:gd name="T0" fmla="*/ 10 w 16"/>
                <a:gd name="T1" fmla="*/ 4 h 44"/>
                <a:gd name="T2" fmla="*/ 3 w 16"/>
                <a:gd name="T3" fmla="*/ 3 h 44"/>
                <a:gd name="T4" fmla="*/ 3 w 16"/>
                <a:gd name="T5" fmla="*/ 22 h 44"/>
                <a:gd name="T6" fmla="*/ 3 w 16"/>
                <a:gd name="T7" fmla="*/ 29 h 44"/>
                <a:gd name="T8" fmla="*/ 2 w 16"/>
                <a:gd name="T9" fmla="*/ 37 h 44"/>
                <a:gd name="T10" fmla="*/ 10 w 16"/>
                <a:gd name="T11" fmla="*/ 41 h 44"/>
                <a:gd name="T12" fmla="*/ 14 w 16"/>
                <a:gd name="T13" fmla="*/ 24 h 44"/>
                <a:gd name="T14" fmla="*/ 10 w 16"/>
                <a:gd name="T15" fmla="*/ 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44">
                  <a:moveTo>
                    <a:pt x="10" y="4"/>
                  </a:moveTo>
                  <a:cubicBezTo>
                    <a:pt x="9" y="1"/>
                    <a:pt x="4" y="0"/>
                    <a:pt x="3" y="3"/>
                  </a:cubicBezTo>
                  <a:cubicBezTo>
                    <a:pt x="0" y="9"/>
                    <a:pt x="3" y="15"/>
                    <a:pt x="3" y="22"/>
                  </a:cubicBezTo>
                  <a:cubicBezTo>
                    <a:pt x="2" y="24"/>
                    <a:pt x="3" y="26"/>
                    <a:pt x="3" y="29"/>
                  </a:cubicBezTo>
                  <a:cubicBezTo>
                    <a:pt x="3" y="32"/>
                    <a:pt x="2" y="34"/>
                    <a:pt x="2" y="37"/>
                  </a:cubicBezTo>
                  <a:cubicBezTo>
                    <a:pt x="2" y="41"/>
                    <a:pt x="6" y="44"/>
                    <a:pt x="10" y="41"/>
                  </a:cubicBezTo>
                  <a:cubicBezTo>
                    <a:pt x="16" y="38"/>
                    <a:pt x="15" y="30"/>
                    <a:pt x="14" y="24"/>
                  </a:cubicBezTo>
                  <a:cubicBezTo>
                    <a:pt x="13" y="17"/>
                    <a:pt x="12" y="10"/>
                    <a:pt x="10" y="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í$lîďê"/>
            <p:cNvSpPr/>
            <p:nvPr/>
          </p:nvSpPr>
          <p:spPr bwMode="auto">
            <a:xfrm>
              <a:off x="5213765" y="3476255"/>
              <a:ext cx="111789" cy="311651"/>
            </a:xfrm>
            <a:custGeom>
              <a:avLst/>
              <a:gdLst>
                <a:gd name="T0" fmla="*/ 9 w 16"/>
                <a:gd name="T1" fmla="*/ 2 h 44"/>
                <a:gd name="T2" fmla="*/ 4 w 16"/>
                <a:gd name="T3" fmla="*/ 2 h 44"/>
                <a:gd name="T4" fmla="*/ 1 w 16"/>
                <a:gd name="T5" fmla="*/ 21 h 44"/>
                <a:gd name="T6" fmla="*/ 2 w 16"/>
                <a:gd name="T7" fmla="*/ 29 h 44"/>
                <a:gd name="T8" fmla="*/ 1 w 16"/>
                <a:gd name="T9" fmla="*/ 39 h 44"/>
                <a:gd name="T10" fmla="*/ 9 w 16"/>
                <a:gd name="T11" fmla="*/ 42 h 44"/>
                <a:gd name="T12" fmla="*/ 13 w 16"/>
                <a:gd name="T13" fmla="*/ 23 h 44"/>
                <a:gd name="T14" fmla="*/ 9 w 16"/>
                <a:gd name="T15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44">
                  <a:moveTo>
                    <a:pt x="9" y="2"/>
                  </a:moveTo>
                  <a:cubicBezTo>
                    <a:pt x="8" y="0"/>
                    <a:pt x="5" y="0"/>
                    <a:pt x="4" y="2"/>
                  </a:cubicBezTo>
                  <a:cubicBezTo>
                    <a:pt x="0" y="7"/>
                    <a:pt x="1" y="15"/>
                    <a:pt x="1" y="21"/>
                  </a:cubicBezTo>
                  <a:cubicBezTo>
                    <a:pt x="1" y="24"/>
                    <a:pt x="2" y="27"/>
                    <a:pt x="2" y="29"/>
                  </a:cubicBezTo>
                  <a:cubicBezTo>
                    <a:pt x="2" y="33"/>
                    <a:pt x="1" y="35"/>
                    <a:pt x="1" y="39"/>
                  </a:cubicBezTo>
                  <a:cubicBezTo>
                    <a:pt x="2" y="43"/>
                    <a:pt x="6" y="44"/>
                    <a:pt x="9" y="42"/>
                  </a:cubicBezTo>
                  <a:cubicBezTo>
                    <a:pt x="16" y="39"/>
                    <a:pt x="14" y="29"/>
                    <a:pt x="13" y="23"/>
                  </a:cubicBezTo>
                  <a:cubicBezTo>
                    <a:pt x="12" y="16"/>
                    <a:pt x="13" y="7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ïŝľiḋè"/>
            <p:cNvSpPr/>
            <p:nvPr/>
          </p:nvSpPr>
          <p:spPr bwMode="auto">
            <a:xfrm>
              <a:off x="5352654" y="3483030"/>
              <a:ext cx="98239" cy="304876"/>
            </a:xfrm>
            <a:custGeom>
              <a:avLst/>
              <a:gdLst>
                <a:gd name="T0" fmla="*/ 11 w 14"/>
                <a:gd name="T1" fmla="*/ 10 h 43"/>
                <a:gd name="T2" fmla="*/ 9 w 14"/>
                <a:gd name="T3" fmla="*/ 2 h 43"/>
                <a:gd name="T4" fmla="*/ 4 w 14"/>
                <a:gd name="T5" fmla="*/ 2 h 43"/>
                <a:gd name="T6" fmla="*/ 2 w 14"/>
                <a:gd name="T7" fmla="*/ 10 h 43"/>
                <a:gd name="T8" fmla="*/ 1 w 14"/>
                <a:gd name="T9" fmla="*/ 19 h 43"/>
                <a:gd name="T10" fmla="*/ 3 w 14"/>
                <a:gd name="T11" fmla="*/ 37 h 43"/>
                <a:gd name="T12" fmla="*/ 14 w 14"/>
                <a:gd name="T13" fmla="*/ 35 h 43"/>
                <a:gd name="T14" fmla="*/ 12 w 14"/>
                <a:gd name="T15" fmla="*/ 19 h 43"/>
                <a:gd name="T16" fmla="*/ 11 w 14"/>
                <a:gd name="T17" fmla="*/ 1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43">
                  <a:moveTo>
                    <a:pt x="11" y="10"/>
                  </a:moveTo>
                  <a:cubicBezTo>
                    <a:pt x="11" y="7"/>
                    <a:pt x="11" y="4"/>
                    <a:pt x="9" y="2"/>
                  </a:cubicBezTo>
                  <a:cubicBezTo>
                    <a:pt x="8" y="0"/>
                    <a:pt x="5" y="0"/>
                    <a:pt x="4" y="2"/>
                  </a:cubicBezTo>
                  <a:cubicBezTo>
                    <a:pt x="2" y="4"/>
                    <a:pt x="2" y="7"/>
                    <a:pt x="2" y="10"/>
                  </a:cubicBezTo>
                  <a:cubicBezTo>
                    <a:pt x="1" y="13"/>
                    <a:pt x="1" y="16"/>
                    <a:pt x="1" y="19"/>
                  </a:cubicBezTo>
                  <a:cubicBezTo>
                    <a:pt x="1" y="24"/>
                    <a:pt x="0" y="32"/>
                    <a:pt x="3" y="37"/>
                  </a:cubicBezTo>
                  <a:cubicBezTo>
                    <a:pt x="5" y="43"/>
                    <a:pt x="13" y="42"/>
                    <a:pt x="14" y="35"/>
                  </a:cubicBezTo>
                  <a:cubicBezTo>
                    <a:pt x="14" y="30"/>
                    <a:pt x="13" y="24"/>
                    <a:pt x="12" y="19"/>
                  </a:cubicBezTo>
                  <a:cubicBezTo>
                    <a:pt x="12" y="16"/>
                    <a:pt x="12" y="13"/>
                    <a:pt x="11" y="1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î$ḻïḍe"/>
            <p:cNvSpPr/>
            <p:nvPr/>
          </p:nvSpPr>
          <p:spPr bwMode="auto">
            <a:xfrm>
              <a:off x="6162267" y="3513518"/>
              <a:ext cx="633465" cy="633465"/>
            </a:xfrm>
            <a:custGeom>
              <a:avLst/>
              <a:gdLst>
                <a:gd name="T0" fmla="*/ 86 w 90"/>
                <a:gd name="T1" fmla="*/ 47 h 90"/>
                <a:gd name="T2" fmla="*/ 72 w 90"/>
                <a:gd name="T3" fmla="*/ 9 h 90"/>
                <a:gd name="T4" fmla="*/ 50 w 90"/>
                <a:gd name="T5" fmla="*/ 1 h 90"/>
                <a:gd name="T6" fmla="*/ 27 w 90"/>
                <a:gd name="T7" fmla="*/ 6 h 90"/>
                <a:gd name="T8" fmla="*/ 26 w 90"/>
                <a:gd name="T9" fmla="*/ 6 h 90"/>
                <a:gd name="T10" fmla="*/ 21 w 90"/>
                <a:gd name="T11" fmla="*/ 8 h 90"/>
                <a:gd name="T12" fmla="*/ 6 w 90"/>
                <a:gd name="T13" fmla="*/ 26 h 90"/>
                <a:gd name="T14" fmla="*/ 17 w 90"/>
                <a:gd name="T15" fmla="*/ 70 h 90"/>
                <a:gd name="T16" fmla="*/ 86 w 90"/>
                <a:gd name="T17" fmla="*/ 47 h 90"/>
                <a:gd name="T18" fmla="*/ 17 w 90"/>
                <a:gd name="T19" fmla="*/ 34 h 90"/>
                <a:gd name="T20" fmla="*/ 17 w 90"/>
                <a:gd name="T21" fmla="*/ 34 h 90"/>
                <a:gd name="T22" fmla="*/ 26 w 90"/>
                <a:gd name="T23" fmla="*/ 18 h 90"/>
                <a:gd name="T24" fmla="*/ 32 w 90"/>
                <a:gd name="T25" fmla="*/ 14 h 90"/>
                <a:gd name="T26" fmla="*/ 39 w 90"/>
                <a:gd name="T27" fmla="*/ 14 h 90"/>
                <a:gd name="T28" fmla="*/ 52 w 90"/>
                <a:gd name="T29" fmla="*/ 15 h 90"/>
                <a:gd name="T30" fmla="*/ 69 w 90"/>
                <a:gd name="T31" fmla="*/ 24 h 90"/>
                <a:gd name="T32" fmla="*/ 73 w 90"/>
                <a:gd name="T33" fmla="*/ 32 h 90"/>
                <a:gd name="T34" fmla="*/ 73 w 90"/>
                <a:gd name="T35" fmla="*/ 35 h 90"/>
                <a:gd name="T36" fmla="*/ 64 w 90"/>
                <a:gd name="T37" fmla="*/ 36 h 90"/>
                <a:gd name="T38" fmla="*/ 50 w 90"/>
                <a:gd name="T39" fmla="*/ 40 h 90"/>
                <a:gd name="T40" fmla="*/ 53 w 90"/>
                <a:gd name="T41" fmla="*/ 45 h 90"/>
                <a:gd name="T42" fmla="*/ 65 w 90"/>
                <a:gd name="T43" fmla="*/ 46 h 90"/>
                <a:gd name="T44" fmla="*/ 71 w 90"/>
                <a:gd name="T45" fmla="*/ 47 h 90"/>
                <a:gd name="T46" fmla="*/ 66 w 90"/>
                <a:gd name="T47" fmla="*/ 54 h 90"/>
                <a:gd name="T48" fmla="*/ 35 w 90"/>
                <a:gd name="T49" fmla="*/ 65 h 90"/>
                <a:gd name="T50" fmla="*/ 17 w 90"/>
                <a:gd name="T51" fmla="*/ 3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0" h="90">
                  <a:moveTo>
                    <a:pt x="86" y="47"/>
                  </a:moveTo>
                  <a:cubicBezTo>
                    <a:pt x="90" y="33"/>
                    <a:pt x="84" y="17"/>
                    <a:pt x="72" y="9"/>
                  </a:cubicBezTo>
                  <a:cubicBezTo>
                    <a:pt x="66" y="4"/>
                    <a:pt x="58" y="2"/>
                    <a:pt x="50" y="1"/>
                  </a:cubicBezTo>
                  <a:cubicBezTo>
                    <a:pt x="42" y="0"/>
                    <a:pt x="32" y="0"/>
                    <a:pt x="27" y="6"/>
                  </a:cubicBezTo>
                  <a:cubicBezTo>
                    <a:pt x="27" y="6"/>
                    <a:pt x="26" y="6"/>
                    <a:pt x="26" y="6"/>
                  </a:cubicBezTo>
                  <a:cubicBezTo>
                    <a:pt x="25" y="6"/>
                    <a:pt x="23" y="7"/>
                    <a:pt x="21" y="8"/>
                  </a:cubicBezTo>
                  <a:cubicBezTo>
                    <a:pt x="14" y="11"/>
                    <a:pt x="9" y="18"/>
                    <a:pt x="6" y="26"/>
                  </a:cubicBezTo>
                  <a:cubicBezTo>
                    <a:pt x="0" y="40"/>
                    <a:pt x="5" y="59"/>
                    <a:pt x="17" y="70"/>
                  </a:cubicBezTo>
                  <a:cubicBezTo>
                    <a:pt x="39" y="90"/>
                    <a:pt x="77" y="74"/>
                    <a:pt x="86" y="47"/>
                  </a:cubicBezTo>
                  <a:close/>
                  <a:moveTo>
                    <a:pt x="17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18" y="28"/>
                    <a:pt x="20" y="22"/>
                    <a:pt x="26" y="18"/>
                  </a:cubicBezTo>
                  <a:cubicBezTo>
                    <a:pt x="28" y="17"/>
                    <a:pt x="30" y="15"/>
                    <a:pt x="32" y="14"/>
                  </a:cubicBezTo>
                  <a:cubicBezTo>
                    <a:pt x="34" y="15"/>
                    <a:pt x="37" y="15"/>
                    <a:pt x="39" y="14"/>
                  </a:cubicBezTo>
                  <a:cubicBezTo>
                    <a:pt x="43" y="14"/>
                    <a:pt x="48" y="14"/>
                    <a:pt x="52" y="15"/>
                  </a:cubicBezTo>
                  <a:cubicBezTo>
                    <a:pt x="58" y="15"/>
                    <a:pt x="65" y="19"/>
                    <a:pt x="69" y="24"/>
                  </a:cubicBezTo>
                  <a:cubicBezTo>
                    <a:pt x="71" y="27"/>
                    <a:pt x="72" y="29"/>
                    <a:pt x="73" y="32"/>
                  </a:cubicBezTo>
                  <a:cubicBezTo>
                    <a:pt x="73" y="34"/>
                    <a:pt x="73" y="34"/>
                    <a:pt x="73" y="35"/>
                  </a:cubicBezTo>
                  <a:cubicBezTo>
                    <a:pt x="70" y="35"/>
                    <a:pt x="67" y="35"/>
                    <a:pt x="64" y="36"/>
                  </a:cubicBezTo>
                  <a:cubicBezTo>
                    <a:pt x="59" y="37"/>
                    <a:pt x="54" y="36"/>
                    <a:pt x="50" y="40"/>
                  </a:cubicBezTo>
                  <a:cubicBezTo>
                    <a:pt x="48" y="42"/>
                    <a:pt x="50" y="46"/>
                    <a:pt x="53" y="45"/>
                  </a:cubicBezTo>
                  <a:cubicBezTo>
                    <a:pt x="57" y="44"/>
                    <a:pt x="61" y="46"/>
                    <a:pt x="65" y="46"/>
                  </a:cubicBezTo>
                  <a:cubicBezTo>
                    <a:pt x="67" y="47"/>
                    <a:pt x="69" y="46"/>
                    <a:pt x="71" y="47"/>
                  </a:cubicBezTo>
                  <a:cubicBezTo>
                    <a:pt x="70" y="49"/>
                    <a:pt x="68" y="52"/>
                    <a:pt x="66" y="54"/>
                  </a:cubicBezTo>
                  <a:cubicBezTo>
                    <a:pt x="58" y="62"/>
                    <a:pt x="46" y="67"/>
                    <a:pt x="35" y="65"/>
                  </a:cubicBezTo>
                  <a:cubicBezTo>
                    <a:pt x="22" y="62"/>
                    <a:pt x="15" y="47"/>
                    <a:pt x="17" y="3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iŝḷïdé"/>
            <p:cNvSpPr/>
            <p:nvPr/>
          </p:nvSpPr>
          <p:spPr bwMode="auto">
            <a:xfrm>
              <a:off x="6372293" y="4130045"/>
              <a:ext cx="626690" cy="880752"/>
            </a:xfrm>
            <a:custGeom>
              <a:avLst/>
              <a:gdLst>
                <a:gd name="T0" fmla="*/ 87 w 89"/>
                <a:gd name="T1" fmla="*/ 62 h 125"/>
                <a:gd name="T2" fmla="*/ 88 w 89"/>
                <a:gd name="T3" fmla="*/ 31 h 125"/>
                <a:gd name="T4" fmla="*/ 84 w 89"/>
                <a:gd name="T5" fmla="*/ 14 h 125"/>
                <a:gd name="T6" fmla="*/ 74 w 89"/>
                <a:gd name="T7" fmla="*/ 5 h 125"/>
                <a:gd name="T8" fmla="*/ 47 w 89"/>
                <a:gd name="T9" fmla="*/ 1 h 125"/>
                <a:gd name="T10" fmla="*/ 13 w 89"/>
                <a:gd name="T11" fmla="*/ 2 h 125"/>
                <a:gd name="T12" fmla="*/ 2 w 89"/>
                <a:gd name="T13" fmla="*/ 7 h 125"/>
                <a:gd name="T14" fmla="*/ 4 w 89"/>
                <a:gd name="T15" fmla="*/ 19 h 125"/>
                <a:gd name="T16" fmla="*/ 3 w 89"/>
                <a:gd name="T17" fmla="*/ 30 h 125"/>
                <a:gd name="T18" fmla="*/ 3 w 89"/>
                <a:gd name="T19" fmla="*/ 45 h 125"/>
                <a:gd name="T20" fmla="*/ 4 w 89"/>
                <a:gd name="T21" fmla="*/ 75 h 125"/>
                <a:gd name="T22" fmla="*/ 3 w 89"/>
                <a:gd name="T23" fmla="*/ 103 h 125"/>
                <a:gd name="T24" fmla="*/ 11 w 89"/>
                <a:gd name="T25" fmla="*/ 118 h 125"/>
                <a:gd name="T26" fmla="*/ 41 w 89"/>
                <a:gd name="T27" fmla="*/ 124 h 125"/>
                <a:gd name="T28" fmla="*/ 57 w 89"/>
                <a:gd name="T29" fmla="*/ 123 h 125"/>
                <a:gd name="T30" fmla="*/ 69 w 89"/>
                <a:gd name="T31" fmla="*/ 123 h 125"/>
                <a:gd name="T32" fmla="*/ 81 w 89"/>
                <a:gd name="T33" fmla="*/ 121 h 125"/>
                <a:gd name="T34" fmla="*/ 83 w 89"/>
                <a:gd name="T35" fmla="*/ 120 h 125"/>
                <a:gd name="T36" fmla="*/ 88 w 89"/>
                <a:gd name="T37" fmla="*/ 109 h 125"/>
                <a:gd name="T38" fmla="*/ 88 w 89"/>
                <a:gd name="T39" fmla="*/ 93 h 125"/>
                <a:gd name="T40" fmla="*/ 87 w 89"/>
                <a:gd name="T41" fmla="*/ 62 h 125"/>
                <a:gd name="T42" fmla="*/ 79 w 89"/>
                <a:gd name="T43" fmla="*/ 114 h 125"/>
                <a:gd name="T44" fmla="*/ 79 w 89"/>
                <a:gd name="T45" fmla="*/ 114 h 125"/>
                <a:gd name="T46" fmla="*/ 71 w 89"/>
                <a:gd name="T47" fmla="*/ 113 h 125"/>
                <a:gd name="T48" fmla="*/ 58 w 89"/>
                <a:gd name="T49" fmla="*/ 114 h 125"/>
                <a:gd name="T50" fmla="*/ 44 w 89"/>
                <a:gd name="T51" fmla="*/ 115 h 125"/>
                <a:gd name="T52" fmla="*/ 17 w 89"/>
                <a:gd name="T53" fmla="*/ 112 h 125"/>
                <a:gd name="T54" fmla="*/ 12 w 89"/>
                <a:gd name="T55" fmla="*/ 99 h 125"/>
                <a:gd name="T56" fmla="*/ 13 w 89"/>
                <a:gd name="T57" fmla="*/ 72 h 125"/>
                <a:gd name="T58" fmla="*/ 11 w 89"/>
                <a:gd name="T59" fmla="*/ 45 h 125"/>
                <a:gd name="T60" fmla="*/ 9 w 89"/>
                <a:gd name="T61" fmla="*/ 16 h 125"/>
                <a:gd name="T62" fmla="*/ 11 w 89"/>
                <a:gd name="T63" fmla="*/ 12 h 125"/>
                <a:gd name="T64" fmla="*/ 21 w 89"/>
                <a:gd name="T65" fmla="*/ 10 h 125"/>
                <a:gd name="T66" fmla="*/ 49 w 89"/>
                <a:gd name="T67" fmla="*/ 10 h 125"/>
                <a:gd name="T68" fmla="*/ 69 w 89"/>
                <a:gd name="T69" fmla="*/ 12 h 125"/>
                <a:gd name="T70" fmla="*/ 76 w 89"/>
                <a:gd name="T71" fmla="*/ 15 h 125"/>
                <a:gd name="T72" fmla="*/ 79 w 89"/>
                <a:gd name="T73" fmla="*/ 19 h 125"/>
                <a:gd name="T74" fmla="*/ 79 w 89"/>
                <a:gd name="T75" fmla="*/ 24 h 125"/>
                <a:gd name="T76" fmla="*/ 78 w 89"/>
                <a:gd name="T77" fmla="*/ 35 h 125"/>
                <a:gd name="T78" fmla="*/ 78 w 89"/>
                <a:gd name="T79" fmla="*/ 64 h 125"/>
                <a:gd name="T80" fmla="*/ 79 w 89"/>
                <a:gd name="T81" fmla="*/ 91 h 125"/>
                <a:gd name="T82" fmla="*/ 79 w 89"/>
                <a:gd name="T83" fmla="*/ 105 h 125"/>
                <a:gd name="T84" fmla="*/ 79 w 89"/>
                <a:gd name="T85" fmla="*/ 11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9" h="125">
                  <a:moveTo>
                    <a:pt x="87" y="62"/>
                  </a:moveTo>
                  <a:cubicBezTo>
                    <a:pt x="87" y="52"/>
                    <a:pt x="88" y="42"/>
                    <a:pt x="88" y="31"/>
                  </a:cubicBezTo>
                  <a:cubicBezTo>
                    <a:pt x="87" y="26"/>
                    <a:pt x="89" y="17"/>
                    <a:pt x="84" y="14"/>
                  </a:cubicBezTo>
                  <a:cubicBezTo>
                    <a:pt x="83" y="10"/>
                    <a:pt x="78" y="7"/>
                    <a:pt x="74" y="5"/>
                  </a:cubicBezTo>
                  <a:cubicBezTo>
                    <a:pt x="66" y="2"/>
                    <a:pt x="56" y="2"/>
                    <a:pt x="47" y="1"/>
                  </a:cubicBezTo>
                  <a:cubicBezTo>
                    <a:pt x="36" y="0"/>
                    <a:pt x="24" y="0"/>
                    <a:pt x="13" y="2"/>
                  </a:cubicBezTo>
                  <a:cubicBezTo>
                    <a:pt x="9" y="2"/>
                    <a:pt x="5" y="4"/>
                    <a:pt x="2" y="7"/>
                  </a:cubicBezTo>
                  <a:cubicBezTo>
                    <a:pt x="0" y="11"/>
                    <a:pt x="1" y="16"/>
                    <a:pt x="4" y="19"/>
                  </a:cubicBezTo>
                  <a:cubicBezTo>
                    <a:pt x="4" y="23"/>
                    <a:pt x="3" y="26"/>
                    <a:pt x="3" y="30"/>
                  </a:cubicBezTo>
                  <a:cubicBezTo>
                    <a:pt x="3" y="35"/>
                    <a:pt x="3" y="40"/>
                    <a:pt x="3" y="45"/>
                  </a:cubicBezTo>
                  <a:cubicBezTo>
                    <a:pt x="3" y="55"/>
                    <a:pt x="4" y="65"/>
                    <a:pt x="4" y="75"/>
                  </a:cubicBezTo>
                  <a:cubicBezTo>
                    <a:pt x="3" y="84"/>
                    <a:pt x="2" y="94"/>
                    <a:pt x="3" y="103"/>
                  </a:cubicBezTo>
                  <a:cubicBezTo>
                    <a:pt x="4" y="109"/>
                    <a:pt x="6" y="114"/>
                    <a:pt x="11" y="118"/>
                  </a:cubicBezTo>
                  <a:cubicBezTo>
                    <a:pt x="19" y="125"/>
                    <a:pt x="31" y="125"/>
                    <a:pt x="41" y="124"/>
                  </a:cubicBezTo>
                  <a:cubicBezTo>
                    <a:pt x="47" y="124"/>
                    <a:pt x="52" y="123"/>
                    <a:pt x="57" y="123"/>
                  </a:cubicBezTo>
                  <a:cubicBezTo>
                    <a:pt x="61" y="123"/>
                    <a:pt x="65" y="123"/>
                    <a:pt x="69" y="123"/>
                  </a:cubicBezTo>
                  <a:cubicBezTo>
                    <a:pt x="74" y="123"/>
                    <a:pt x="78" y="123"/>
                    <a:pt x="81" y="121"/>
                  </a:cubicBezTo>
                  <a:cubicBezTo>
                    <a:pt x="82" y="121"/>
                    <a:pt x="83" y="121"/>
                    <a:pt x="83" y="120"/>
                  </a:cubicBezTo>
                  <a:cubicBezTo>
                    <a:pt x="87" y="117"/>
                    <a:pt x="87" y="113"/>
                    <a:pt x="88" y="109"/>
                  </a:cubicBezTo>
                  <a:cubicBezTo>
                    <a:pt x="88" y="104"/>
                    <a:pt x="88" y="98"/>
                    <a:pt x="88" y="93"/>
                  </a:cubicBezTo>
                  <a:cubicBezTo>
                    <a:pt x="88" y="83"/>
                    <a:pt x="87" y="73"/>
                    <a:pt x="87" y="62"/>
                  </a:cubicBezTo>
                  <a:close/>
                  <a:moveTo>
                    <a:pt x="79" y="114"/>
                  </a:moveTo>
                  <a:cubicBezTo>
                    <a:pt x="79" y="114"/>
                    <a:pt x="79" y="114"/>
                    <a:pt x="79" y="114"/>
                  </a:cubicBezTo>
                  <a:cubicBezTo>
                    <a:pt x="76" y="113"/>
                    <a:pt x="74" y="113"/>
                    <a:pt x="71" y="113"/>
                  </a:cubicBezTo>
                  <a:cubicBezTo>
                    <a:pt x="66" y="113"/>
                    <a:pt x="62" y="114"/>
                    <a:pt x="58" y="114"/>
                  </a:cubicBezTo>
                  <a:cubicBezTo>
                    <a:pt x="53" y="114"/>
                    <a:pt x="48" y="114"/>
                    <a:pt x="44" y="115"/>
                  </a:cubicBezTo>
                  <a:cubicBezTo>
                    <a:pt x="36" y="115"/>
                    <a:pt x="24" y="117"/>
                    <a:pt x="17" y="112"/>
                  </a:cubicBezTo>
                  <a:cubicBezTo>
                    <a:pt x="13" y="109"/>
                    <a:pt x="13" y="104"/>
                    <a:pt x="12" y="99"/>
                  </a:cubicBezTo>
                  <a:cubicBezTo>
                    <a:pt x="12" y="90"/>
                    <a:pt x="12" y="81"/>
                    <a:pt x="13" y="72"/>
                  </a:cubicBezTo>
                  <a:cubicBezTo>
                    <a:pt x="13" y="63"/>
                    <a:pt x="12" y="54"/>
                    <a:pt x="11" y="45"/>
                  </a:cubicBezTo>
                  <a:cubicBezTo>
                    <a:pt x="11" y="35"/>
                    <a:pt x="9" y="25"/>
                    <a:pt x="9" y="16"/>
                  </a:cubicBezTo>
                  <a:cubicBezTo>
                    <a:pt x="10" y="14"/>
                    <a:pt x="10" y="13"/>
                    <a:pt x="11" y="12"/>
                  </a:cubicBezTo>
                  <a:cubicBezTo>
                    <a:pt x="14" y="10"/>
                    <a:pt x="18" y="10"/>
                    <a:pt x="21" y="10"/>
                  </a:cubicBezTo>
                  <a:cubicBezTo>
                    <a:pt x="30" y="9"/>
                    <a:pt x="39" y="9"/>
                    <a:pt x="49" y="10"/>
                  </a:cubicBezTo>
                  <a:cubicBezTo>
                    <a:pt x="55" y="10"/>
                    <a:pt x="62" y="10"/>
                    <a:pt x="69" y="12"/>
                  </a:cubicBezTo>
                  <a:cubicBezTo>
                    <a:pt x="71" y="12"/>
                    <a:pt x="74" y="13"/>
                    <a:pt x="76" y="15"/>
                  </a:cubicBezTo>
                  <a:cubicBezTo>
                    <a:pt x="77" y="16"/>
                    <a:pt x="78" y="18"/>
                    <a:pt x="79" y="19"/>
                  </a:cubicBezTo>
                  <a:cubicBezTo>
                    <a:pt x="79" y="21"/>
                    <a:pt x="79" y="23"/>
                    <a:pt x="79" y="24"/>
                  </a:cubicBezTo>
                  <a:cubicBezTo>
                    <a:pt x="78" y="28"/>
                    <a:pt x="78" y="32"/>
                    <a:pt x="78" y="35"/>
                  </a:cubicBezTo>
                  <a:cubicBezTo>
                    <a:pt x="78" y="45"/>
                    <a:pt x="78" y="54"/>
                    <a:pt x="78" y="64"/>
                  </a:cubicBezTo>
                  <a:cubicBezTo>
                    <a:pt x="78" y="73"/>
                    <a:pt x="78" y="82"/>
                    <a:pt x="79" y="91"/>
                  </a:cubicBezTo>
                  <a:cubicBezTo>
                    <a:pt x="79" y="95"/>
                    <a:pt x="79" y="100"/>
                    <a:pt x="79" y="105"/>
                  </a:cubicBezTo>
                  <a:cubicBezTo>
                    <a:pt x="79" y="108"/>
                    <a:pt x="79" y="111"/>
                    <a:pt x="79" y="11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íṡḷîdè"/>
            <p:cNvSpPr/>
            <p:nvPr/>
          </p:nvSpPr>
          <p:spPr bwMode="auto">
            <a:xfrm>
              <a:off x="6507793" y="4357007"/>
              <a:ext cx="91464" cy="9146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ïsļiḋé"/>
            <p:cNvSpPr/>
            <p:nvPr/>
          </p:nvSpPr>
          <p:spPr bwMode="auto">
            <a:xfrm>
              <a:off x="5938692" y="5417298"/>
              <a:ext cx="250676" cy="226964"/>
            </a:xfrm>
            <a:custGeom>
              <a:avLst/>
              <a:gdLst>
                <a:gd name="T0" fmla="*/ 26 w 36"/>
                <a:gd name="T1" fmla="*/ 3 h 32"/>
                <a:gd name="T2" fmla="*/ 17 w 36"/>
                <a:gd name="T3" fmla="*/ 3 h 32"/>
                <a:gd name="T4" fmla="*/ 15 w 36"/>
                <a:gd name="T5" fmla="*/ 2 h 32"/>
                <a:gd name="T6" fmla="*/ 3 w 36"/>
                <a:gd name="T7" fmla="*/ 19 h 32"/>
                <a:gd name="T8" fmla="*/ 28 w 36"/>
                <a:gd name="T9" fmla="*/ 27 h 32"/>
                <a:gd name="T10" fmla="*/ 36 w 36"/>
                <a:gd name="T11" fmla="*/ 15 h 32"/>
                <a:gd name="T12" fmla="*/ 26 w 36"/>
                <a:gd name="T1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2">
                  <a:moveTo>
                    <a:pt x="26" y="3"/>
                  </a:moveTo>
                  <a:cubicBezTo>
                    <a:pt x="23" y="2"/>
                    <a:pt x="20" y="2"/>
                    <a:pt x="17" y="3"/>
                  </a:cubicBezTo>
                  <a:cubicBezTo>
                    <a:pt x="16" y="3"/>
                    <a:pt x="16" y="2"/>
                    <a:pt x="15" y="2"/>
                  </a:cubicBezTo>
                  <a:cubicBezTo>
                    <a:pt x="6" y="0"/>
                    <a:pt x="0" y="12"/>
                    <a:pt x="3" y="19"/>
                  </a:cubicBezTo>
                  <a:cubicBezTo>
                    <a:pt x="6" y="29"/>
                    <a:pt x="20" y="32"/>
                    <a:pt x="28" y="27"/>
                  </a:cubicBezTo>
                  <a:cubicBezTo>
                    <a:pt x="33" y="24"/>
                    <a:pt x="36" y="20"/>
                    <a:pt x="36" y="15"/>
                  </a:cubicBezTo>
                  <a:cubicBezTo>
                    <a:pt x="36" y="9"/>
                    <a:pt x="31" y="5"/>
                    <a:pt x="26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ïṥḻîḑé"/>
            <p:cNvSpPr/>
            <p:nvPr/>
          </p:nvSpPr>
          <p:spPr bwMode="auto">
            <a:xfrm>
              <a:off x="4563364" y="5430848"/>
              <a:ext cx="226964" cy="220189"/>
            </a:xfrm>
            <a:custGeom>
              <a:avLst/>
              <a:gdLst>
                <a:gd name="T0" fmla="*/ 24 w 32"/>
                <a:gd name="T1" fmla="*/ 4 h 31"/>
                <a:gd name="T2" fmla="*/ 5 w 32"/>
                <a:gd name="T3" fmla="*/ 5 h 31"/>
                <a:gd name="T4" fmla="*/ 3 w 32"/>
                <a:gd name="T5" fmla="*/ 7 h 31"/>
                <a:gd name="T6" fmla="*/ 0 w 32"/>
                <a:gd name="T7" fmla="*/ 16 h 31"/>
                <a:gd name="T8" fmla="*/ 9 w 32"/>
                <a:gd name="T9" fmla="*/ 28 h 31"/>
                <a:gd name="T10" fmla="*/ 28 w 32"/>
                <a:gd name="T11" fmla="*/ 25 h 31"/>
                <a:gd name="T12" fmla="*/ 31 w 32"/>
                <a:gd name="T13" fmla="*/ 13 h 31"/>
                <a:gd name="T14" fmla="*/ 24 w 32"/>
                <a:gd name="T1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1">
                  <a:moveTo>
                    <a:pt x="24" y="4"/>
                  </a:moveTo>
                  <a:cubicBezTo>
                    <a:pt x="19" y="1"/>
                    <a:pt x="11" y="0"/>
                    <a:pt x="5" y="5"/>
                  </a:cubicBezTo>
                  <a:cubicBezTo>
                    <a:pt x="4" y="5"/>
                    <a:pt x="4" y="6"/>
                    <a:pt x="3" y="7"/>
                  </a:cubicBezTo>
                  <a:cubicBezTo>
                    <a:pt x="1" y="10"/>
                    <a:pt x="0" y="13"/>
                    <a:pt x="0" y="16"/>
                  </a:cubicBezTo>
                  <a:cubicBezTo>
                    <a:pt x="0" y="22"/>
                    <a:pt x="4" y="26"/>
                    <a:pt x="9" y="28"/>
                  </a:cubicBezTo>
                  <a:cubicBezTo>
                    <a:pt x="15" y="31"/>
                    <a:pt x="23" y="29"/>
                    <a:pt x="28" y="25"/>
                  </a:cubicBezTo>
                  <a:cubicBezTo>
                    <a:pt x="31" y="22"/>
                    <a:pt x="32" y="17"/>
                    <a:pt x="31" y="13"/>
                  </a:cubicBezTo>
                  <a:cubicBezTo>
                    <a:pt x="31" y="9"/>
                    <a:pt x="28" y="7"/>
                    <a:pt x="24" y="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i$ḷide"/>
            <p:cNvSpPr/>
            <p:nvPr/>
          </p:nvSpPr>
          <p:spPr bwMode="auto">
            <a:xfrm>
              <a:off x="5261190" y="5403747"/>
              <a:ext cx="216801" cy="226964"/>
            </a:xfrm>
            <a:custGeom>
              <a:avLst/>
              <a:gdLst>
                <a:gd name="T0" fmla="*/ 3 w 31"/>
                <a:gd name="T1" fmla="*/ 12 h 32"/>
                <a:gd name="T2" fmla="*/ 3 w 31"/>
                <a:gd name="T3" fmla="*/ 15 h 32"/>
                <a:gd name="T4" fmla="*/ 11 w 31"/>
                <a:gd name="T5" fmla="*/ 30 h 32"/>
                <a:gd name="T6" fmla="*/ 27 w 31"/>
                <a:gd name="T7" fmla="*/ 26 h 32"/>
                <a:gd name="T8" fmla="*/ 28 w 31"/>
                <a:gd name="T9" fmla="*/ 11 h 32"/>
                <a:gd name="T10" fmla="*/ 3 w 31"/>
                <a:gd name="T11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2">
                  <a:moveTo>
                    <a:pt x="3" y="12"/>
                  </a:moveTo>
                  <a:cubicBezTo>
                    <a:pt x="3" y="13"/>
                    <a:pt x="3" y="14"/>
                    <a:pt x="3" y="15"/>
                  </a:cubicBezTo>
                  <a:cubicBezTo>
                    <a:pt x="0" y="22"/>
                    <a:pt x="5" y="27"/>
                    <a:pt x="11" y="30"/>
                  </a:cubicBezTo>
                  <a:cubicBezTo>
                    <a:pt x="16" y="32"/>
                    <a:pt x="23" y="31"/>
                    <a:pt x="27" y="26"/>
                  </a:cubicBezTo>
                  <a:cubicBezTo>
                    <a:pt x="31" y="22"/>
                    <a:pt x="31" y="16"/>
                    <a:pt x="28" y="11"/>
                  </a:cubicBezTo>
                  <a:cubicBezTo>
                    <a:pt x="24" y="2"/>
                    <a:pt x="5" y="0"/>
                    <a:pt x="3" y="1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îṧḷiďê"/>
            <p:cNvSpPr/>
            <p:nvPr/>
          </p:nvSpPr>
          <p:spPr bwMode="auto">
            <a:xfrm>
              <a:off x="7388545" y="5369872"/>
              <a:ext cx="254064" cy="243901"/>
            </a:xfrm>
            <a:custGeom>
              <a:avLst/>
              <a:gdLst>
                <a:gd name="T0" fmla="*/ 18 w 36"/>
                <a:gd name="T1" fmla="*/ 34 h 35"/>
                <a:gd name="T2" fmla="*/ 31 w 36"/>
                <a:gd name="T3" fmla="*/ 26 h 35"/>
                <a:gd name="T4" fmla="*/ 21 w 36"/>
                <a:gd name="T5" fmla="*/ 2 h 35"/>
                <a:gd name="T6" fmla="*/ 6 w 36"/>
                <a:gd name="T7" fmla="*/ 7 h 35"/>
                <a:gd name="T8" fmla="*/ 3 w 36"/>
                <a:gd name="T9" fmla="*/ 11 h 35"/>
                <a:gd name="T10" fmla="*/ 4 w 36"/>
                <a:gd name="T11" fmla="*/ 26 h 35"/>
                <a:gd name="T12" fmla="*/ 18 w 36"/>
                <a:gd name="T13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5">
                  <a:moveTo>
                    <a:pt x="18" y="34"/>
                  </a:moveTo>
                  <a:cubicBezTo>
                    <a:pt x="24" y="35"/>
                    <a:pt x="29" y="31"/>
                    <a:pt x="31" y="26"/>
                  </a:cubicBezTo>
                  <a:cubicBezTo>
                    <a:pt x="36" y="17"/>
                    <a:pt x="30" y="5"/>
                    <a:pt x="21" y="2"/>
                  </a:cubicBezTo>
                  <a:cubicBezTo>
                    <a:pt x="15" y="0"/>
                    <a:pt x="9" y="2"/>
                    <a:pt x="6" y="7"/>
                  </a:cubicBezTo>
                  <a:cubicBezTo>
                    <a:pt x="5" y="8"/>
                    <a:pt x="4" y="9"/>
                    <a:pt x="3" y="11"/>
                  </a:cubicBezTo>
                  <a:cubicBezTo>
                    <a:pt x="0" y="16"/>
                    <a:pt x="1" y="22"/>
                    <a:pt x="4" y="26"/>
                  </a:cubicBezTo>
                  <a:cubicBezTo>
                    <a:pt x="8" y="31"/>
                    <a:pt x="12" y="34"/>
                    <a:pt x="18" y="3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iṣ1îdé"/>
            <p:cNvSpPr/>
            <p:nvPr/>
          </p:nvSpPr>
          <p:spPr bwMode="auto">
            <a:xfrm>
              <a:off x="6717819" y="5383422"/>
              <a:ext cx="247289" cy="230351"/>
            </a:xfrm>
            <a:custGeom>
              <a:avLst/>
              <a:gdLst>
                <a:gd name="T0" fmla="*/ 30 w 35"/>
                <a:gd name="T1" fmla="*/ 22 h 33"/>
                <a:gd name="T2" fmla="*/ 31 w 35"/>
                <a:gd name="T3" fmla="*/ 6 h 33"/>
                <a:gd name="T4" fmla="*/ 16 w 35"/>
                <a:gd name="T5" fmla="*/ 1 h 33"/>
                <a:gd name="T6" fmla="*/ 4 w 35"/>
                <a:gd name="T7" fmla="*/ 9 h 33"/>
                <a:gd name="T8" fmla="*/ 3 w 35"/>
                <a:gd name="T9" fmla="*/ 10 h 33"/>
                <a:gd name="T10" fmla="*/ 4 w 35"/>
                <a:gd name="T11" fmla="*/ 26 h 33"/>
                <a:gd name="T12" fmla="*/ 30 w 35"/>
                <a:gd name="T13" fmla="*/ 22 h 33"/>
                <a:gd name="T14" fmla="*/ 20 w 35"/>
                <a:gd name="T15" fmla="*/ 13 h 33"/>
                <a:gd name="T16" fmla="*/ 20 w 35"/>
                <a:gd name="T17" fmla="*/ 13 h 33"/>
                <a:gd name="T18" fmla="*/ 20 w 35"/>
                <a:gd name="T19" fmla="*/ 14 h 33"/>
                <a:gd name="T20" fmla="*/ 20 w 35"/>
                <a:gd name="T21" fmla="*/ 14 h 33"/>
                <a:gd name="T22" fmla="*/ 20 w 35"/>
                <a:gd name="T23" fmla="*/ 14 h 33"/>
                <a:gd name="T24" fmla="*/ 20 w 35"/>
                <a:gd name="T25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33">
                  <a:moveTo>
                    <a:pt x="30" y="22"/>
                  </a:moveTo>
                  <a:cubicBezTo>
                    <a:pt x="35" y="17"/>
                    <a:pt x="35" y="11"/>
                    <a:pt x="31" y="6"/>
                  </a:cubicBezTo>
                  <a:cubicBezTo>
                    <a:pt x="27" y="2"/>
                    <a:pt x="21" y="0"/>
                    <a:pt x="16" y="1"/>
                  </a:cubicBezTo>
                  <a:cubicBezTo>
                    <a:pt x="10" y="1"/>
                    <a:pt x="5" y="4"/>
                    <a:pt x="4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15"/>
                    <a:pt x="0" y="21"/>
                    <a:pt x="4" y="26"/>
                  </a:cubicBezTo>
                  <a:cubicBezTo>
                    <a:pt x="10" y="33"/>
                    <a:pt x="25" y="29"/>
                    <a:pt x="30" y="22"/>
                  </a:cubicBezTo>
                  <a:close/>
                  <a:moveTo>
                    <a:pt x="20" y="13"/>
                  </a:move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3"/>
                    <a:pt x="20" y="1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iśļiḍe"/>
            <p:cNvSpPr/>
            <p:nvPr/>
          </p:nvSpPr>
          <p:spPr bwMode="auto">
            <a:xfrm>
              <a:off x="3686000" y="1535214"/>
              <a:ext cx="4813650" cy="4298748"/>
            </a:xfrm>
            <a:custGeom>
              <a:avLst/>
              <a:gdLst>
                <a:gd name="T0" fmla="*/ 537 w 684"/>
                <a:gd name="T1" fmla="*/ 282 h 611"/>
                <a:gd name="T2" fmla="*/ 482 w 684"/>
                <a:gd name="T3" fmla="*/ 154 h 611"/>
                <a:gd name="T4" fmla="*/ 360 w 684"/>
                <a:gd name="T5" fmla="*/ 104 h 611"/>
                <a:gd name="T6" fmla="*/ 332 w 684"/>
                <a:gd name="T7" fmla="*/ 46 h 611"/>
                <a:gd name="T8" fmla="*/ 326 w 684"/>
                <a:gd name="T9" fmla="*/ 34 h 611"/>
                <a:gd name="T10" fmla="*/ 313 w 684"/>
                <a:gd name="T11" fmla="*/ 129 h 611"/>
                <a:gd name="T12" fmla="*/ 170 w 684"/>
                <a:gd name="T13" fmla="*/ 204 h 611"/>
                <a:gd name="T14" fmla="*/ 30 w 684"/>
                <a:gd name="T15" fmla="*/ 410 h 611"/>
                <a:gd name="T16" fmla="*/ 17 w 684"/>
                <a:gd name="T17" fmla="*/ 474 h 611"/>
                <a:gd name="T18" fmla="*/ 78 w 684"/>
                <a:gd name="T19" fmla="*/ 487 h 611"/>
                <a:gd name="T20" fmla="*/ 99 w 684"/>
                <a:gd name="T21" fmla="*/ 388 h 611"/>
                <a:gd name="T22" fmla="*/ 175 w 684"/>
                <a:gd name="T23" fmla="*/ 499 h 611"/>
                <a:gd name="T24" fmla="*/ 126 w 684"/>
                <a:gd name="T25" fmla="*/ 531 h 611"/>
                <a:gd name="T26" fmla="*/ 382 w 684"/>
                <a:gd name="T27" fmla="*/ 604 h 611"/>
                <a:gd name="T28" fmla="*/ 573 w 684"/>
                <a:gd name="T29" fmla="*/ 523 h 611"/>
                <a:gd name="T30" fmla="*/ 426 w 684"/>
                <a:gd name="T31" fmla="*/ 515 h 611"/>
                <a:gd name="T32" fmla="*/ 489 w 684"/>
                <a:gd name="T33" fmla="*/ 469 h 611"/>
                <a:gd name="T34" fmla="*/ 573 w 684"/>
                <a:gd name="T35" fmla="*/ 395 h 611"/>
                <a:gd name="T36" fmla="*/ 601 w 684"/>
                <a:gd name="T37" fmla="*/ 494 h 611"/>
                <a:gd name="T38" fmla="*/ 332 w 684"/>
                <a:gd name="T39" fmla="*/ 15 h 611"/>
                <a:gd name="T40" fmla="*/ 169 w 684"/>
                <a:gd name="T41" fmla="*/ 278 h 611"/>
                <a:gd name="T42" fmla="*/ 55 w 684"/>
                <a:gd name="T43" fmla="*/ 408 h 611"/>
                <a:gd name="T44" fmla="*/ 73 w 684"/>
                <a:gd name="T45" fmla="*/ 450 h 611"/>
                <a:gd name="T46" fmla="*/ 15 w 684"/>
                <a:gd name="T47" fmla="*/ 462 h 611"/>
                <a:gd name="T48" fmla="*/ 26 w 684"/>
                <a:gd name="T49" fmla="*/ 427 h 611"/>
                <a:gd name="T50" fmla="*/ 61 w 684"/>
                <a:gd name="T51" fmla="*/ 386 h 611"/>
                <a:gd name="T52" fmla="*/ 70 w 684"/>
                <a:gd name="T53" fmla="*/ 364 h 611"/>
                <a:gd name="T54" fmla="*/ 89 w 684"/>
                <a:gd name="T55" fmla="*/ 336 h 611"/>
                <a:gd name="T56" fmla="*/ 110 w 684"/>
                <a:gd name="T57" fmla="*/ 315 h 611"/>
                <a:gd name="T58" fmla="*/ 133 w 684"/>
                <a:gd name="T59" fmla="*/ 298 h 611"/>
                <a:gd name="T60" fmla="*/ 161 w 684"/>
                <a:gd name="T61" fmla="*/ 281 h 611"/>
                <a:gd name="T62" fmla="*/ 542 w 684"/>
                <a:gd name="T63" fmla="*/ 537 h 611"/>
                <a:gd name="T64" fmla="*/ 429 w 684"/>
                <a:gd name="T65" fmla="*/ 592 h 611"/>
                <a:gd name="T66" fmla="*/ 103 w 684"/>
                <a:gd name="T67" fmla="*/ 544 h 611"/>
                <a:gd name="T68" fmla="*/ 246 w 684"/>
                <a:gd name="T69" fmla="*/ 514 h 611"/>
                <a:gd name="T70" fmla="*/ 245 w 684"/>
                <a:gd name="T71" fmla="*/ 527 h 611"/>
                <a:gd name="T72" fmla="*/ 445 w 684"/>
                <a:gd name="T73" fmla="*/ 502 h 611"/>
                <a:gd name="T74" fmla="*/ 186 w 684"/>
                <a:gd name="T75" fmla="*/ 494 h 611"/>
                <a:gd name="T76" fmla="*/ 344 w 684"/>
                <a:gd name="T77" fmla="*/ 480 h 611"/>
                <a:gd name="T78" fmla="*/ 348 w 684"/>
                <a:gd name="T79" fmla="*/ 386 h 611"/>
                <a:gd name="T80" fmla="*/ 187 w 684"/>
                <a:gd name="T81" fmla="*/ 386 h 611"/>
                <a:gd name="T82" fmla="*/ 220 w 684"/>
                <a:gd name="T83" fmla="*/ 163 h 611"/>
                <a:gd name="T84" fmla="*/ 479 w 684"/>
                <a:gd name="T85" fmla="*/ 178 h 611"/>
                <a:gd name="T86" fmla="*/ 203 w 684"/>
                <a:gd name="T87" fmla="*/ 451 h 611"/>
                <a:gd name="T88" fmla="*/ 203 w 684"/>
                <a:gd name="T89" fmla="*/ 405 h 611"/>
                <a:gd name="T90" fmla="*/ 209 w 684"/>
                <a:gd name="T91" fmla="*/ 448 h 611"/>
                <a:gd name="T92" fmla="*/ 263 w 684"/>
                <a:gd name="T93" fmla="*/ 478 h 611"/>
                <a:gd name="T94" fmla="*/ 305 w 684"/>
                <a:gd name="T95" fmla="*/ 395 h 611"/>
                <a:gd name="T96" fmla="*/ 336 w 684"/>
                <a:gd name="T97" fmla="*/ 472 h 611"/>
                <a:gd name="T98" fmla="*/ 606 w 684"/>
                <a:gd name="T99" fmla="*/ 422 h 611"/>
                <a:gd name="T100" fmla="*/ 490 w 684"/>
                <a:gd name="T101" fmla="*/ 277 h 611"/>
                <a:gd name="T102" fmla="*/ 507 w 684"/>
                <a:gd name="T103" fmla="*/ 291 h 611"/>
                <a:gd name="T104" fmla="*/ 515 w 684"/>
                <a:gd name="T105" fmla="*/ 320 h 611"/>
                <a:gd name="T106" fmla="*/ 533 w 684"/>
                <a:gd name="T107" fmla="*/ 335 h 611"/>
                <a:gd name="T108" fmla="*/ 566 w 684"/>
                <a:gd name="T109" fmla="*/ 365 h 611"/>
                <a:gd name="T110" fmla="*/ 564 w 684"/>
                <a:gd name="T111" fmla="*/ 334 h 611"/>
                <a:gd name="T112" fmla="*/ 597 w 684"/>
                <a:gd name="T113" fmla="*/ 387 h 611"/>
                <a:gd name="T114" fmla="*/ 617 w 684"/>
                <a:gd name="T115" fmla="*/ 392 h 611"/>
                <a:gd name="T116" fmla="*/ 614 w 684"/>
                <a:gd name="T117" fmla="*/ 477 h 611"/>
                <a:gd name="T118" fmla="*/ 598 w 684"/>
                <a:gd name="T119" fmla="*/ 480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84" h="611">
                  <a:moveTo>
                    <a:pt x="682" y="458"/>
                  </a:moveTo>
                  <a:cubicBezTo>
                    <a:pt x="682" y="453"/>
                    <a:pt x="681" y="450"/>
                    <a:pt x="679" y="446"/>
                  </a:cubicBezTo>
                  <a:cubicBezTo>
                    <a:pt x="677" y="438"/>
                    <a:pt x="672" y="431"/>
                    <a:pt x="666" y="425"/>
                  </a:cubicBezTo>
                  <a:cubicBezTo>
                    <a:pt x="659" y="417"/>
                    <a:pt x="649" y="411"/>
                    <a:pt x="639" y="410"/>
                  </a:cubicBezTo>
                  <a:cubicBezTo>
                    <a:pt x="638" y="406"/>
                    <a:pt x="637" y="403"/>
                    <a:pt x="636" y="401"/>
                  </a:cubicBezTo>
                  <a:cubicBezTo>
                    <a:pt x="634" y="396"/>
                    <a:pt x="632" y="391"/>
                    <a:pt x="630" y="386"/>
                  </a:cubicBezTo>
                  <a:cubicBezTo>
                    <a:pt x="625" y="377"/>
                    <a:pt x="621" y="368"/>
                    <a:pt x="615" y="359"/>
                  </a:cubicBezTo>
                  <a:cubicBezTo>
                    <a:pt x="610" y="351"/>
                    <a:pt x="604" y="343"/>
                    <a:pt x="598" y="335"/>
                  </a:cubicBezTo>
                  <a:cubicBezTo>
                    <a:pt x="592" y="328"/>
                    <a:pt x="587" y="320"/>
                    <a:pt x="580" y="313"/>
                  </a:cubicBezTo>
                  <a:cubicBezTo>
                    <a:pt x="568" y="300"/>
                    <a:pt x="552" y="290"/>
                    <a:pt x="537" y="282"/>
                  </a:cubicBezTo>
                  <a:cubicBezTo>
                    <a:pt x="529" y="277"/>
                    <a:pt x="520" y="273"/>
                    <a:pt x="512" y="270"/>
                  </a:cubicBezTo>
                  <a:cubicBezTo>
                    <a:pt x="507" y="269"/>
                    <a:pt x="503" y="267"/>
                    <a:pt x="499" y="267"/>
                  </a:cubicBezTo>
                  <a:cubicBezTo>
                    <a:pt x="496" y="266"/>
                    <a:pt x="493" y="266"/>
                    <a:pt x="490" y="266"/>
                  </a:cubicBezTo>
                  <a:cubicBezTo>
                    <a:pt x="490" y="257"/>
                    <a:pt x="491" y="248"/>
                    <a:pt x="491" y="240"/>
                  </a:cubicBezTo>
                  <a:cubicBezTo>
                    <a:pt x="491" y="226"/>
                    <a:pt x="491" y="213"/>
                    <a:pt x="490" y="200"/>
                  </a:cubicBezTo>
                  <a:cubicBezTo>
                    <a:pt x="490" y="193"/>
                    <a:pt x="490" y="187"/>
                    <a:pt x="489" y="180"/>
                  </a:cubicBezTo>
                  <a:cubicBezTo>
                    <a:pt x="489" y="179"/>
                    <a:pt x="489" y="177"/>
                    <a:pt x="489" y="175"/>
                  </a:cubicBezTo>
                  <a:cubicBezTo>
                    <a:pt x="489" y="174"/>
                    <a:pt x="490" y="172"/>
                    <a:pt x="490" y="171"/>
                  </a:cubicBezTo>
                  <a:cubicBezTo>
                    <a:pt x="491" y="169"/>
                    <a:pt x="490" y="166"/>
                    <a:pt x="490" y="164"/>
                  </a:cubicBezTo>
                  <a:cubicBezTo>
                    <a:pt x="489" y="160"/>
                    <a:pt x="486" y="156"/>
                    <a:pt x="482" y="154"/>
                  </a:cubicBezTo>
                  <a:cubicBezTo>
                    <a:pt x="479" y="152"/>
                    <a:pt x="476" y="151"/>
                    <a:pt x="472" y="151"/>
                  </a:cubicBezTo>
                  <a:cubicBezTo>
                    <a:pt x="467" y="149"/>
                    <a:pt x="462" y="148"/>
                    <a:pt x="457" y="147"/>
                  </a:cubicBezTo>
                  <a:cubicBezTo>
                    <a:pt x="436" y="143"/>
                    <a:pt x="414" y="143"/>
                    <a:pt x="393" y="142"/>
                  </a:cubicBezTo>
                  <a:cubicBezTo>
                    <a:pt x="378" y="142"/>
                    <a:pt x="362" y="142"/>
                    <a:pt x="347" y="142"/>
                  </a:cubicBezTo>
                  <a:cubicBezTo>
                    <a:pt x="347" y="142"/>
                    <a:pt x="346" y="141"/>
                    <a:pt x="346" y="141"/>
                  </a:cubicBezTo>
                  <a:cubicBezTo>
                    <a:pt x="341" y="137"/>
                    <a:pt x="336" y="133"/>
                    <a:pt x="332" y="128"/>
                  </a:cubicBezTo>
                  <a:cubicBezTo>
                    <a:pt x="330" y="126"/>
                    <a:pt x="328" y="124"/>
                    <a:pt x="326" y="123"/>
                  </a:cubicBezTo>
                  <a:cubicBezTo>
                    <a:pt x="330" y="121"/>
                    <a:pt x="334" y="120"/>
                    <a:pt x="337" y="118"/>
                  </a:cubicBezTo>
                  <a:cubicBezTo>
                    <a:pt x="341" y="116"/>
                    <a:pt x="344" y="113"/>
                    <a:pt x="348" y="111"/>
                  </a:cubicBezTo>
                  <a:cubicBezTo>
                    <a:pt x="351" y="108"/>
                    <a:pt x="356" y="106"/>
                    <a:pt x="360" y="104"/>
                  </a:cubicBezTo>
                  <a:cubicBezTo>
                    <a:pt x="364" y="101"/>
                    <a:pt x="365" y="94"/>
                    <a:pt x="360" y="92"/>
                  </a:cubicBezTo>
                  <a:cubicBezTo>
                    <a:pt x="354" y="89"/>
                    <a:pt x="347" y="88"/>
                    <a:pt x="341" y="86"/>
                  </a:cubicBezTo>
                  <a:cubicBezTo>
                    <a:pt x="337" y="84"/>
                    <a:pt x="334" y="83"/>
                    <a:pt x="331" y="81"/>
                  </a:cubicBezTo>
                  <a:cubicBezTo>
                    <a:pt x="332" y="81"/>
                    <a:pt x="333" y="80"/>
                    <a:pt x="334" y="79"/>
                  </a:cubicBezTo>
                  <a:cubicBezTo>
                    <a:pt x="338" y="77"/>
                    <a:pt x="342" y="74"/>
                    <a:pt x="347" y="72"/>
                  </a:cubicBezTo>
                  <a:cubicBezTo>
                    <a:pt x="351" y="70"/>
                    <a:pt x="355" y="67"/>
                    <a:pt x="355" y="61"/>
                  </a:cubicBezTo>
                  <a:cubicBezTo>
                    <a:pt x="355" y="55"/>
                    <a:pt x="350" y="53"/>
                    <a:pt x="345" y="51"/>
                  </a:cubicBezTo>
                  <a:cubicBezTo>
                    <a:pt x="343" y="51"/>
                    <a:pt x="340" y="50"/>
                    <a:pt x="338" y="49"/>
                  </a:cubicBezTo>
                  <a:cubicBezTo>
                    <a:pt x="336" y="48"/>
                    <a:pt x="335" y="48"/>
                    <a:pt x="334" y="47"/>
                  </a:cubicBezTo>
                  <a:cubicBezTo>
                    <a:pt x="333" y="47"/>
                    <a:pt x="333" y="46"/>
                    <a:pt x="332" y="46"/>
                  </a:cubicBezTo>
                  <a:cubicBezTo>
                    <a:pt x="332" y="46"/>
                    <a:pt x="332" y="46"/>
                    <a:pt x="333" y="45"/>
                  </a:cubicBezTo>
                  <a:cubicBezTo>
                    <a:pt x="334" y="44"/>
                    <a:pt x="335" y="44"/>
                    <a:pt x="337" y="43"/>
                  </a:cubicBezTo>
                  <a:cubicBezTo>
                    <a:pt x="342" y="45"/>
                    <a:pt x="347" y="46"/>
                    <a:pt x="353" y="45"/>
                  </a:cubicBezTo>
                  <a:cubicBezTo>
                    <a:pt x="367" y="43"/>
                    <a:pt x="376" y="27"/>
                    <a:pt x="370" y="14"/>
                  </a:cubicBezTo>
                  <a:cubicBezTo>
                    <a:pt x="367" y="7"/>
                    <a:pt x="360" y="4"/>
                    <a:pt x="353" y="2"/>
                  </a:cubicBezTo>
                  <a:cubicBezTo>
                    <a:pt x="348" y="1"/>
                    <a:pt x="341" y="0"/>
                    <a:pt x="336" y="2"/>
                  </a:cubicBezTo>
                  <a:cubicBezTo>
                    <a:pt x="332" y="1"/>
                    <a:pt x="329" y="2"/>
                    <a:pt x="326" y="5"/>
                  </a:cubicBezTo>
                  <a:cubicBezTo>
                    <a:pt x="321" y="11"/>
                    <a:pt x="321" y="18"/>
                    <a:pt x="322" y="24"/>
                  </a:cubicBezTo>
                  <a:cubicBezTo>
                    <a:pt x="322" y="28"/>
                    <a:pt x="324" y="31"/>
                    <a:pt x="326" y="34"/>
                  </a:cubicBezTo>
                  <a:cubicBezTo>
                    <a:pt x="326" y="34"/>
                    <a:pt x="326" y="34"/>
                    <a:pt x="326" y="34"/>
                  </a:cubicBezTo>
                  <a:cubicBezTo>
                    <a:pt x="322" y="36"/>
                    <a:pt x="318" y="39"/>
                    <a:pt x="317" y="44"/>
                  </a:cubicBezTo>
                  <a:cubicBezTo>
                    <a:pt x="313" y="53"/>
                    <a:pt x="325" y="58"/>
                    <a:pt x="331" y="61"/>
                  </a:cubicBezTo>
                  <a:cubicBezTo>
                    <a:pt x="333" y="61"/>
                    <a:pt x="335" y="62"/>
                    <a:pt x="336" y="63"/>
                  </a:cubicBezTo>
                  <a:cubicBezTo>
                    <a:pt x="328" y="67"/>
                    <a:pt x="320" y="71"/>
                    <a:pt x="313" y="76"/>
                  </a:cubicBezTo>
                  <a:cubicBezTo>
                    <a:pt x="309" y="78"/>
                    <a:pt x="308" y="85"/>
                    <a:pt x="313" y="88"/>
                  </a:cubicBezTo>
                  <a:cubicBezTo>
                    <a:pt x="320" y="91"/>
                    <a:pt x="327" y="94"/>
                    <a:pt x="334" y="97"/>
                  </a:cubicBezTo>
                  <a:cubicBezTo>
                    <a:pt x="336" y="98"/>
                    <a:pt x="338" y="99"/>
                    <a:pt x="340" y="100"/>
                  </a:cubicBezTo>
                  <a:cubicBezTo>
                    <a:pt x="336" y="102"/>
                    <a:pt x="333" y="105"/>
                    <a:pt x="330" y="107"/>
                  </a:cubicBezTo>
                  <a:cubicBezTo>
                    <a:pt x="323" y="110"/>
                    <a:pt x="315" y="112"/>
                    <a:pt x="310" y="118"/>
                  </a:cubicBezTo>
                  <a:cubicBezTo>
                    <a:pt x="306" y="122"/>
                    <a:pt x="308" y="127"/>
                    <a:pt x="313" y="129"/>
                  </a:cubicBezTo>
                  <a:cubicBezTo>
                    <a:pt x="317" y="131"/>
                    <a:pt x="321" y="136"/>
                    <a:pt x="325" y="139"/>
                  </a:cubicBezTo>
                  <a:cubicBezTo>
                    <a:pt x="326" y="140"/>
                    <a:pt x="327" y="141"/>
                    <a:pt x="329" y="142"/>
                  </a:cubicBezTo>
                  <a:cubicBezTo>
                    <a:pt x="328" y="142"/>
                    <a:pt x="327" y="142"/>
                    <a:pt x="327" y="142"/>
                  </a:cubicBezTo>
                  <a:cubicBezTo>
                    <a:pt x="305" y="143"/>
                    <a:pt x="283" y="142"/>
                    <a:pt x="262" y="144"/>
                  </a:cubicBezTo>
                  <a:cubicBezTo>
                    <a:pt x="250" y="145"/>
                    <a:pt x="239" y="148"/>
                    <a:pt x="228" y="149"/>
                  </a:cubicBezTo>
                  <a:cubicBezTo>
                    <a:pt x="217" y="150"/>
                    <a:pt x="206" y="149"/>
                    <a:pt x="195" y="150"/>
                  </a:cubicBezTo>
                  <a:cubicBezTo>
                    <a:pt x="186" y="150"/>
                    <a:pt x="177" y="153"/>
                    <a:pt x="173" y="162"/>
                  </a:cubicBezTo>
                  <a:cubicBezTo>
                    <a:pt x="170" y="168"/>
                    <a:pt x="168" y="177"/>
                    <a:pt x="171" y="184"/>
                  </a:cubicBezTo>
                  <a:cubicBezTo>
                    <a:pt x="171" y="185"/>
                    <a:pt x="171" y="185"/>
                    <a:pt x="171" y="186"/>
                  </a:cubicBezTo>
                  <a:cubicBezTo>
                    <a:pt x="170" y="192"/>
                    <a:pt x="170" y="198"/>
                    <a:pt x="170" y="204"/>
                  </a:cubicBezTo>
                  <a:cubicBezTo>
                    <a:pt x="170" y="215"/>
                    <a:pt x="170" y="226"/>
                    <a:pt x="170" y="237"/>
                  </a:cubicBezTo>
                  <a:cubicBezTo>
                    <a:pt x="169" y="247"/>
                    <a:pt x="169" y="257"/>
                    <a:pt x="169" y="267"/>
                  </a:cubicBezTo>
                  <a:cubicBezTo>
                    <a:pt x="163" y="267"/>
                    <a:pt x="157" y="269"/>
                    <a:pt x="152" y="271"/>
                  </a:cubicBezTo>
                  <a:cubicBezTo>
                    <a:pt x="143" y="274"/>
                    <a:pt x="135" y="279"/>
                    <a:pt x="128" y="284"/>
                  </a:cubicBezTo>
                  <a:cubicBezTo>
                    <a:pt x="114" y="293"/>
                    <a:pt x="100" y="304"/>
                    <a:pt x="89" y="316"/>
                  </a:cubicBezTo>
                  <a:cubicBezTo>
                    <a:pt x="77" y="328"/>
                    <a:pt x="67" y="342"/>
                    <a:pt x="59" y="357"/>
                  </a:cubicBezTo>
                  <a:cubicBezTo>
                    <a:pt x="55" y="364"/>
                    <a:pt x="51" y="372"/>
                    <a:pt x="49" y="380"/>
                  </a:cubicBezTo>
                  <a:cubicBezTo>
                    <a:pt x="47" y="385"/>
                    <a:pt x="46" y="390"/>
                    <a:pt x="45" y="395"/>
                  </a:cubicBezTo>
                  <a:cubicBezTo>
                    <a:pt x="44" y="399"/>
                    <a:pt x="43" y="403"/>
                    <a:pt x="43" y="407"/>
                  </a:cubicBezTo>
                  <a:cubicBezTo>
                    <a:pt x="39" y="408"/>
                    <a:pt x="34" y="409"/>
                    <a:pt x="30" y="410"/>
                  </a:cubicBezTo>
                  <a:cubicBezTo>
                    <a:pt x="28" y="410"/>
                    <a:pt x="26" y="410"/>
                    <a:pt x="24" y="411"/>
                  </a:cubicBezTo>
                  <a:cubicBezTo>
                    <a:pt x="21" y="414"/>
                    <a:pt x="17" y="417"/>
                    <a:pt x="14" y="421"/>
                  </a:cubicBezTo>
                  <a:cubicBezTo>
                    <a:pt x="12" y="426"/>
                    <a:pt x="10" y="430"/>
                    <a:pt x="8" y="435"/>
                  </a:cubicBezTo>
                  <a:cubicBezTo>
                    <a:pt x="7" y="436"/>
                    <a:pt x="7" y="437"/>
                    <a:pt x="7" y="438"/>
                  </a:cubicBezTo>
                  <a:cubicBezTo>
                    <a:pt x="6" y="439"/>
                    <a:pt x="6" y="440"/>
                    <a:pt x="6" y="440"/>
                  </a:cubicBezTo>
                  <a:cubicBezTo>
                    <a:pt x="6" y="441"/>
                    <a:pt x="5" y="441"/>
                    <a:pt x="5" y="442"/>
                  </a:cubicBezTo>
                  <a:cubicBezTo>
                    <a:pt x="3" y="448"/>
                    <a:pt x="0" y="455"/>
                    <a:pt x="1" y="462"/>
                  </a:cubicBezTo>
                  <a:cubicBezTo>
                    <a:pt x="1" y="468"/>
                    <a:pt x="7" y="476"/>
                    <a:pt x="14" y="474"/>
                  </a:cubicBezTo>
                  <a:cubicBezTo>
                    <a:pt x="14" y="475"/>
                    <a:pt x="15" y="475"/>
                    <a:pt x="16" y="475"/>
                  </a:cubicBezTo>
                  <a:cubicBezTo>
                    <a:pt x="17" y="475"/>
                    <a:pt x="18" y="475"/>
                    <a:pt x="17" y="474"/>
                  </a:cubicBezTo>
                  <a:cubicBezTo>
                    <a:pt x="18" y="474"/>
                    <a:pt x="19" y="474"/>
                    <a:pt x="20" y="474"/>
                  </a:cubicBezTo>
                  <a:cubicBezTo>
                    <a:pt x="23" y="474"/>
                    <a:pt x="25" y="473"/>
                    <a:pt x="28" y="471"/>
                  </a:cubicBezTo>
                  <a:cubicBezTo>
                    <a:pt x="33" y="467"/>
                    <a:pt x="34" y="459"/>
                    <a:pt x="37" y="453"/>
                  </a:cubicBezTo>
                  <a:cubicBezTo>
                    <a:pt x="40" y="449"/>
                    <a:pt x="43" y="444"/>
                    <a:pt x="48" y="442"/>
                  </a:cubicBezTo>
                  <a:cubicBezTo>
                    <a:pt x="53" y="441"/>
                    <a:pt x="59" y="444"/>
                    <a:pt x="60" y="449"/>
                  </a:cubicBezTo>
                  <a:cubicBezTo>
                    <a:pt x="61" y="452"/>
                    <a:pt x="57" y="458"/>
                    <a:pt x="55" y="461"/>
                  </a:cubicBezTo>
                  <a:cubicBezTo>
                    <a:pt x="52" y="466"/>
                    <a:pt x="49" y="471"/>
                    <a:pt x="50" y="478"/>
                  </a:cubicBezTo>
                  <a:cubicBezTo>
                    <a:pt x="52" y="482"/>
                    <a:pt x="56" y="485"/>
                    <a:pt x="61" y="487"/>
                  </a:cubicBezTo>
                  <a:cubicBezTo>
                    <a:pt x="65" y="488"/>
                    <a:pt x="71" y="490"/>
                    <a:pt x="75" y="489"/>
                  </a:cubicBezTo>
                  <a:cubicBezTo>
                    <a:pt x="76" y="488"/>
                    <a:pt x="77" y="488"/>
                    <a:pt x="78" y="487"/>
                  </a:cubicBezTo>
                  <a:cubicBezTo>
                    <a:pt x="81" y="486"/>
                    <a:pt x="84" y="483"/>
                    <a:pt x="85" y="480"/>
                  </a:cubicBezTo>
                  <a:cubicBezTo>
                    <a:pt x="88" y="476"/>
                    <a:pt x="90" y="470"/>
                    <a:pt x="91" y="465"/>
                  </a:cubicBezTo>
                  <a:cubicBezTo>
                    <a:pt x="94" y="453"/>
                    <a:pt x="92" y="440"/>
                    <a:pt x="86" y="429"/>
                  </a:cubicBezTo>
                  <a:cubicBezTo>
                    <a:pt x="87" y="428"/>
                    <a:pt x="88" y="426"/>
                    <a:pt x="89" y="425"/>
                  </a:cubicBezTo>
                  <a:cubicBezTo>
                    <a:pt x="89" y="425"/>
                    <a:pt x="89" y="425"/>
                    <a:pt x="89" y="425"/>
                  </a:cubicBezTo>
                  <a:cubicBezTo>
                    <a:pt x="91" y="415"/>
                    <a:pt x="92" y="404"/>
                    <a:pt x="96" y="394"/>
                  </a:cubicBezTo>
                  <a:cubicBezTo>
                    <a:pt x="97" y="395"/>
                    <a:pt x="99" y="395"/>
                    <a:pt x="100" y="395"/>
                  </a:cubicBezTo>
                  <a:cubicBezTo>
                    <a:pt x="101" y="394"/>
                    <a:pt x="102" y="392"/>
                    <a:pt x="101" y="391"/>
                  </a:cubicBezTo>
                  <a:cubicBezTo>
                    <a:pt x="100" y="390"/>
                    <a:pt x="99" y="390"/>
                    <a:pt x="98" y="389"/>
                  </a:cubicBezTo>
                  <a:cubicBezTo>
                    <a:pt x="98" y="389"/>
                    <a:pt x="98" y="388"/>
                    <a:pt x="99" y="388"/>
                  </a:cubicBezTo>
                  <a:cubicBezTo>
                    <a:pt x="104" y="377"/>
                    <a:pt x="111" y="367"/>
                    <a:pt x="119" y="358"/>
                  </a:cubicBezTo>
                  <a:cubicBezTo>
                    <a:pt x="127" y="349"/>
                    <a:pt x="137" y="342"/>
                    <a:pt x="147" y="335"/>
                  </a:cubicBezTo>
                  <a:cubicBezTo>
                    <a:pt x="153" y="331"/>
                    <a:pt x="159" y="328"/>
                    <a:pt x="166" y="325"/>
                  </a:cubicBezTo>
                  <a:cubicBezTo>
                    <a:pt x="167" y="324"/>
                    <a:pt x="169" y="324"/>
                    <a:pt x="170" y="323"/>
                  </a:cubicBezTo>
                  <a:cubicBezTo>
                    <a:pt x="171" y="339"/>
                    <a:pt x="172" y="355"/>
                    <a:pt x="173" y="371"/>
                  </a:cubicBezTo>
                  <a:cubicBezTo>
                    <a:pt x="173" y="382"/>
                    <a:pt x="173" y="393"/>
                    <a:pt x="173" y="403"/>
                  </a:cubicBezTo>
                  <a:cubicBezTo>
                    <a:pt x="173" y="414"/>
                    <a:pt x="174" y="425"/>
                    <a:pt x="174" y="436"/>
                  </a:cubicBezTo>
                  <a:cubicBezTo>
                    <a:pt x="175" y="454"/>
                    <a:pt x="174" y="472"/>
                    <a:pt x="172" y="490"/>
                  </a:cubicBezTo>
                  <a:cubicBezTo>
                    <a:pt x="172" y="492"/>
                    <a:pt x="173" y="494"/>
                    <a:pt x="174" y="495"/>
                  </a:cubicBezTo>
                  <a:cubicBezTo>
                    <a:pt x="174" y="496"/>
                    <a:pt x="174" y="498"/>
                    <a:pt x="175" y="499"/>
                  </a:cubicBezTo>
                  <a:cubicBezTo>
                    <a:pt x="177" y="506"/>
                    <a:pt x="185" y="514"/>
                    <a:pt x="193" y="514"/>
                  </a:cubicBezTo>
                  <a:cubicBezTo>
                    <a:pt x="194" y="514"/>
                    <a:pt x="196" y="513"/>
                    <a:pt x="197" y="512"/>
                  </a:cubicBezTo>
                  <a:cubicBezTo>
                    <a:pt x="206" y="515"/>
                    <a:pt x="217" y="513"/>
                    <a:pt x="225" y="514"/>
                  </a:cubicBezTo>
                  <a:cubicBezTo>
                    <a:pt x="229" y="514"/>
                    <a:pt x="232" y="514"/>
                    <a:pt x="235" y="514"/>
                  </a:cubicBezTo>
                  <a:cubicBezTo>
                    <a:pt x="235" y="516"/>
                    <a:pt x="235" y="518"/>
                    <a:pt x="235" y="520"/>
                  </a:cubicBezTo>
                  <a:cubicBezTo>
                    <a:pt x="234" y="522"/>
                    <a:pt x="233" y="526"/>
                    <a:pt x="233" y="529"/>
                  </a:cubicBezTo>
                  <a:cubicBezTo>
                    <a:pt x="222" y="530"/>
                    <a:pt x="211" y="531"/>
                    <a:pt x="200" y="531"/>
                  </a:cubicBezTo>
                  <a:cubicBezTo>
                    <a:pt x="184" y="531"/>
                    <a:pt x="167" y="532"/>
                    <a:pt x="151" y="532"/>
                  </a:cubicBezTo>
                  <a:cubicBezTo>
                    <a:pt x="143" y="532"/>
                    <a:pt x="135" y="531"/>
                    <a:pt x="127" y="531"/>
                  </a:cubicBezTo>
                  <a:cubicBezTo>
                    <a:pt x="127" y="531"/>
                    <a:pt x="126" y="531"/>
                    <a:pt x="126" y="531"/>
                  </a:cubicBezTo>
                  <a:cubicBezTo>
                    <a:pt x="124" y="530"/>
                    <a:pt x="123" y="530"/>
                    <a:pt x="122" y="530"/>
                  </a:cubicBezTo>
                  <a:cubicBezTo>
                    <a:pt x="112" y="528"/>
                    <a:pt x="102" y="529"/>
                    <a:pt x="93" y="534"/>
                  </a:cubicBezTo>
                  <a:cubicBezTo>
                    <a:pt x="77" y="541"/>
                    <a:pt x="69" y="562"/>
                    <a:pt x="73" y="578"/>
                  </a:cubicBezTo>
                  <a:cubicBezTo>
                    <a:pt x="77" y="595"/>
                    <a:pt x="93" y="604"/>
                    <a:pt x="108" y="607"/>
                  </a:cubicBezTo>
                  <a:cubicBezTo>
                    <a:pt x="118" y="609"/>
                    <a:pt x="128" y="610"/>
                    <a:pt x="138" y="610"/>
                  </a:cubicBezTo>
                  <a:cubicBezTo>
                    <a:pt x="145" y="611"/>
                    <a:pt x="153" y="611"/>
                    <a:pt x="160" y="611"/>
                  </a:cubicBezTo>
                  <a:cubicBezTo>
                    <a:pt x="171" y="610"/>
                    <a:pt x="182" y="609"/>
                    <a:pt x="193" y="609"/>
                  </a:cubicBezTo>
                  <a:cubicBezTo>
                    <a:pt x="215" y="608"/>
                    <a:pt x="236" y="610"/>
                    <a:pt x="257" y="611"/>
                  </a:cubicBezTo>
                  <a:cubicBezTo>
                    <a:pt x="279" y="611"/>
                    <a:pt x="301" y="611"/>
                    <a:pt x="323" y="609"/>
                  </a:cubicBezTo>
                  <a:cubicBezTo>
                    <a:pt x="343" y="608"/>
                    <a:pt x="363" y="606"/>
                    <a:pt x="382" y="604"/>
                  </a:cubicBezTo>
                  <a:cubicBezTo>
                    <a:pt x="392" y="603"/>
                    <a:pt x="402" y="603"/>
                    <a:pt x="411" y="604"/>
                  </a:cubicBezTo>
                  <a:cubicBezTo>
                    <a:pt x="422" y="604"/>
                    <a:pt x="432" y="605"/>
                    <a:pt x="442" y="605"/>
                  </a:cubicBezTo>
                  <a:cubicBezTo>
                    <a:pt x="462" y="606"/>
                    <a:pt x="482" y="605"/>
                    <a:pt x="502" y="604"/>
                  </a:cubicBezTo>
                  <a:cubicBezTo>
                    <a:pt x="512" y="603"/>
                    <a:pt x="522" y="603"/>
                    <a:pt x="531" y="603"/>
                  </a:cubicBezTo>
                  <a:cubicBezTo>
                    <a:pt x="535" y="603"/>
                    <a:pt x="539" y="603"/>
                    <a:pt x="542" y="602"/>
                  </a:cubicBezTo>
                  <a:cubicBezTo>
                    <a:pt x="549" y="604"/>
                    <a:pt x="556" y="603"/>
                    <a:pt x="563" y="603"/>
                  </a:cubicBezTo>
                  <a:cubicBezTo>
                    <a:pt x="571" y="602"/>
                    <a:pt x="579" y="601"/>
                    <a:pt x="586" y="597"/>
                  </a:cubicBezTo>
                  <a:cubicBezTo>
                    <a:pt x="598" y="592"/>
                    <a:pt x="604" y="580"/>
                    <a:pt x="605" y="567"/>
                  </a:cubicBezTo>
                  <a:cubicBezTo>
                    <a:pt x="606" y="555"/>
                    <a:pt x="601" y="542"/>
                    <a:pt x="592" y="533"/>
                  </a:cubicBezTo>
                  <a:cubicBezTo>
                    <a:pt x="586" y="528"/>
                    <a:pt x="580" y="525"/>
                    <a:pt x="573" y="523"/>
                  </a:cubicBezTo>
                  <a:cubicBezTo>
                    <a:pt x="570" y="522"/>
                    <a:pt x="566" y="522"/>
                    <a:pt x="563" y="521"/>
                  </a:cubicBezTo>
                  <a:cubicBezTo>
                    <a:pt x="559" y="521"/>
                    <a:pt x="555" y="521"/>
                    <a:pt x="552" y="523"/>
                  </a:cubicBezTo>
                  <a:cubicBezTo>
                    <a:pt x="552" y="523"/>
                    <a:pt x="552" y="523"/>
                    <a:pt x="552" y="523"/>
                  </a:cubicBezTo>
                  <a:cubicBezTo>
                    <a:pt x="547" y="524"/>
                    <a:pt x="541" y="525"/>
                    <a:pt x="536" y="525"/>
                  </a:cubicBezTo>
                  <a:cubicBezTo>
                    <a:pt x="525" y="527"/>
                    <a:pt x="514" y="527"/>
                    <a:pt x="503" y="527"/>
                  </a:cubicBezTo>
                  <a:cubicBezTo>
                    <a:pt x="481" y="526"/>
                    <a:pt x="458" y="527"/>
                    <a:pt x="436" y="527"/>
                  </a:cubicBezTo>
                  <a:cubicBezTo>
                    <a:pt x="431" y="527"/>
                    <a:pt x="426" y="527"/>
                    <a:pt x="420" y="527"/>
                  </a:cubicBezTo>
                  <a:cubicBezTo>
                    <a:pt x="420" y="525"/>
                    <a:pt x="420" y="523"/>
                    <a:pt x="419" y="522"/>
                  </a:cubicBezTo>
                  <a:cubicBezTo>
                    <a:pt x="419" y="520"/>
                    <a:pt x="419" y="517"/>
                    <a:pt x="418" y="515"/>
                  </a:cubicBezTo>
                  <a:cubicBezTo>
                    <a:pt x="421" y="515"/>
                    <a:pt x="423" y="515"/>
                    <a:pt x="426" y="515"/>
                  </a:cubicBezTo>
                  <a:cubicBezTo>
                    <a:pt x="432" y="514"/>
                    <a:pt x="438" y="514"/>
                    <a:pt x="444" y="514"/>
                  </a:cubicBezTo>
                  <a:cubicBezTo>
                    <a:pt x="450" y="514"/>
                    <a:pt x="456" y="514"/>
                    <a:pt x="462" y="514"/>
                  </a:cubicBezTo>
                  <a:cubicBezTo>
                    <a:pt x="468" y="513"/>
                    <a:pt x="474" y="512"/>
                    <a:pt x="479" y="508"/>
                  </a:cubicBezTo>
                  <a:cubicBezTo>
                    <a:pt x="481" y="507"/>
                    <a:pt x="483" y="505"/>
                    <a:pt x="485" y="504"/>
                  </a:cubicBezTo>
                  <a:cubicBezTo>
                    <a:pt x="485" y="503"/>
                    <a:pt x="485" y="503"/>
                    <a:pt x="486" y="502"/>
                  </a:cubicBezTo>
                  <a:cubicBezTo>
                    <a:pt x="486" y="502"/>
                    <a:pt x="486" y="501"/>
                    <a:pt x="487" y="500"/>
                  </a:cubicBezTo>
                  <a:cubicBezTo>
                    <a:pt x="487" y="499"/>
                    <a:pt x="488" y="498"/>
                    <a:pt x="488" y="496"/>
                  </a:cubicBezTo>
                  <a:cubicBezTo>
                    <a:pt x="488" y="495"/>
                    <a:pt x="487" y="494"/>
                    <a:pt x="487" y="493"/>
                  </a:cubicBezTo>
                  <a:cubicBezTo>
                    <a:pt x="487" y="490"/>
                    <a:pt x="487" y="488"/>
                    <a:pt x="487" y="485"/>
                  </a:cubicBezTo>
                  <a:cubicBezTo>
                    <a:pt x="488" y="480"/>
                    <a:pt x="489" y="474"/>
                    <a:pt x="489" y="469"/>
                  </a:cubicBezTo>
                  <a:cubicBezTo>
                    <a:pt x="490" y="458"/>
                    <a:pt x="490" y="447"/>
                    <a:pt x="491" y="436"/>
                  </a:cubicBezTo>
                  <a:cubicBezTo>
                    <a:pt x="491" y="425"/>
                    <a:pt x="492" y="414"/>
                    <a:pt x="492" y="403"/>
                  </a:cubicBezTo>
                  <a:cubicBezTo>
                    <a:pt x="493" y="391"/>
                    <a:pt x="492" y="380"/>
                    <a:pt x="493" y="369"/>
                  </a:cubicBezTo>
                  <a:cubicBezTo>
                    <a:pt x="494" y="358"/>
                    <a:pt x="493" y="347"/>
                    <a:pt x="493" y="336"/>
                  </a:cubicBezTo>
                  <a:cubicBezTo>
                    <a:pt x="493" y="331"/>
                    <a:pt x="493" y="325"/>
                    <a:pt x="493" y="320"/>
                  </a:cubicBezTo>
                  <a:cubicBezTo>
                    <a:pt x="494" y="320"/>
                    <a:pt x="495" y="321"/>
                    <a:pt x="496" y="321"/>
                  </a:cubicBezTo>
                  <a:cubicBezTo>
                    <a:pt x="502" y="325"/>
                    <a:pt x="507" y="329"/>
                    <a:pt x="512" y="333"/>
                  </a:cubicBezTo>
                  <a:cubicBezTo>
                    <a:pt x="517" y="338"/>
                    <a:pt x="522" y="342"/>
                    <a:pt x="527" y="347"/>
                  </a:cubicBezTo>
                  <a:cubicBezTo>
                    <a:pt x="532" y="352"/>
                    <a:pt x="538" y="357"/>
                    <a:pt x="544" y="362"/>
                  </a:cubicBezTo>
                  <a:cubicBezTo>
                    <a:pt x="555" y="372"/>
                    <a:pt x="565" y="383"/>
                    <a:pt x="573" y="395"/>
                  </a:cubicBezTo>
                  <a:cubicBezTo>
                    <a:pt x="577" y="402"/>
                    <a:pt x="581" y="408"/>
                    <a:pt x="586" y="414"/>
                  </a:cubicBezTo>
                  <a:cubicBezTo>
                    <a:pt x="588" y="417"/>
                    <a:pt x="590" y="420"/>
                    <a:pt x="591" y="423"/>
                  </a:cubicBezTo>
                  <a:cubicBezTo>
                    <a:pt x="593" y="427"/>
                    <a:pt x="594" y="431"/>
                    <a:pt x="596" y="434"/>
                  </a:cubicBezTo>
                  <a:cubicBezTo>
                    <a:pt x="596" y="434"/>
                    <a:pt x="596" y="434"/>
                    <a:pt x="596" y="434"/>
                  </a:cubicBezTo>
                  <a:cubicBezTo>
                    <a:pt x="595" y="436"/>
                    <a:pt x="593" y="439"/>
                    <a:pt x="592" y="441"/>
                  </a:cubicBezTo>
                  <a:cubicBezTo>
                    <a:pt x="589" y="449"/>
                    <a:pt x="587" y="457"/>
                    <a:pt x="586" y="465"/>
                  </a:cubicBezTo>
                  <a:cubicBezTo>
                    <a:pt x="586" y="469"/>
                    <a:pt x="586" y="474"/>
                    <a:pt x="587" y="478"/>
                  </a:cubicBezTo>
                  <a:cubicBezTo>
                    <a:pt x="587" y="480"/>
                    <a:pt x="588" y="483"/>
                    <a:pt x="589" y="485"/>
                  </a:cubicBezTo>
                  <a:cubicBezTo>
                    <a:pt x="588" y="489"/>
                    <a:pt x="589" y="493"/>
                    <a:pt x="593" y="494"/>
                  </a:cubicBezTo>
                  <a:cubicBezTo>
                    <a:pt x="596" y="494"/>
                    <a:pt x="599" y="494"/>
                    <a:pt x="601" y="494"/>
                  </a:cubicBezTo>
                  <a:cubicBezTo>
                    <a:pt x="604" y="494"/>
                    <a:pt x="607" y="494"/>
                    <a:pt x="610" y="494"/>
                  </a:cubicBezTo>
                  <a:cubicBezTo>
                    <a:pt x="616" y="494"/>
                    <a:pt x="622" y="492"/>
                    <a:pt x="626" y="487"/>
                  </a:cubicBezTo>
                  <a:cubicBezTo>
                    <a:pt x="630" y="480"/>
                    <a:pt x="627" y="474"/>
                    <a:pt x="626" y="467"/>
                  </a:cubicBezTo>
                  <a:cubicBezTo>
                    <a:pt x="625" y="461"/>
                    <a:pt x="625" y="455"/>
                    <a:pt x="629" y="451"/>
                  </a:cubicBezTo>
                  <a:cubicBezTo>
                    <a:pt x="638" y="442"/>
                    <a:pt x="652" y="455"/>
                    <a:pt x="656" y="463"/>
                  </a:cubicBezTo>
                  <a:cubicBezTo>
                    <a:pt x="659" y="468"/>
                    <a:pt x="663" y="477"/>
                    <a:pt x="670" y="477"/>
                  </a:cubicBezTo>
                  <a:cubicBezTo>
                    <a:pt x="673" y="477"/>
                    <a:pt x="676" y="475"/>
                    <a:pt x="677" y="473"/>
                  </a:cubicBezTo>
                  <a:cubicBezTo>
                    <a:pt x="678" y="472"/>
                    <a:pt x="679" y="472"/>
                    <a:pt x="680" y="471"/>
                  </a:cubicBezTo>
                  <a:cubicBezTo>
                    <a:pt x="684" y="467"/>
                    <a:pt x="683" y="462"/>
                    <a:pt x="682" y="458"/>
                  </a:cubicBezTo>
                  <a:close/>
                  <a:moveTo>
                    <a:pt x="332" y="15"/>
                  </a:moveTo>
                  <a:cubicBezTo>
                    <a:pt x="332" y="15"/>
                    <a:pt x="332" y="15"/>
                    <a:pt x="332" y="15"/>
                  </a:cubicBezTo>
                  <a:cubicBezTo>
                    <a:pt x="332" y="15"/>
                    <a:pt x="333" y="14"/>
                    <a:pt x="333" y="14"/>
                  </a:cubicBezTo>
                  <a:cubicBezTo>
                    <a:pt x="337" y="15"/>
                    <a:pt x="341" y="14"/>
                    <a:pt x="345" y="14"/>
                  </a:cubicBezTo>
                  <a:cubicBezTo>
                    <a:pt x="349" y="15"/>
                    <a:pt x="354" y="16"/>
                    <a:pt x="357" y="18"/>
                  </a:cubicBezTo>
                  <a:cubicBezTo>
                    <a:pt x="362" y="23"/>
                    <a:pt x="358" y="30"/>
                    <a:pt x="352" y="32"/>
                  </a:cubicBezTo>
                  <a:cubicBezTo>
                    <a:pt x="349" y="34"/>
                    <a:pt x="345" y="34"/>
                    <a:pt x="341" y="32"/>
                  </a:cubicBezTo>
                  <a:cubicBezTo>
                    <a:pt x="340" y="30"/>
                    <a:pt x="339" y="29"/>
                    <a:pt x="337" y="29"/>
                  </a:cubicBezTo>
                  <a:cubicBezTo>
                    <a:pt x="336" y="28"/>
                    <a:pt x="335" y="27"/>
                    <a:pt x="335" y="26"/>
                  </a:cubicBezTo>
                  <a:cubicBezTo>
                    <a:pt x="333" y="23"/>
                    <a:pt x="332" y="19"/>
                    <a:pt x="332" y="15"/>
                  </a:cubicBezTo>
                  <a:close/>
                  <a:moveTo>
                    <a:pt x="169" y="278"/>
                  </a:moveTo>
                  <a:cubicBezTo>
                    <a:pt x="169" y="278"/>
                    <a:pt x="169" y="278"/>
                    <a:pt x="169" y="278"/>
                  </a:cubicBezTo>
                  <a:cubicBezTo>
                    <a:pt x="169" y="280"/>
                    <a:pt x="169" y="282"/>
                    <a:pt x="169" y="284"/>
                  </a:cubicBezTo>
                  <a:cubicBezTo>
                    <a:pt x="168" y="282"/>
                    <a:pt x="168" y="281"/>
                    <a:pt x="167" y="279"/>
                  </a:cubicBezTo>
                  <a:cubicBezTo>
                    <a:pt x="168" y="279"/>
                    <a:pt x="168" y="279"/>
                    <a:pt x="169" y="278"/>
                  </a:cubicBezTo>
                  <a:close/>
                  <a:moveTo>
                    <a:pt x="58" y="397"/>
                  </a:moveTo>
                  <a:cubicBezTo>
                    <a:pt x="58" y="397"/>
                    <a:pt x="58" y="397"/>
                    <a:pt x="58" y="397"/>
                  </a:cubicBezTo>
                  <a:cubicBezTo>
                    <a:pt x="62" y="398"/>
                    <a:pt x="67" y="400"/>
                    <a:pt x="71" y="402"/>
                  </a:cubicBezTo>
                  <a:cubicBezTo>
                    <a:pt x="73" y="404"/>
                    <a:pt x="76" y="405"/>
                    <a:pt x="79" y="406"/>
                  </a:cubicBezTo>
                  <a:cubicBezTo>
                    <a:pt x="78" y="410"/>
                    <a:pt x="77" y="413"/>
                    <a:pt x="76" y="417"/>
                  </a:cubicBezTo>
                  <a:cubicBezTo>
                    <a:pt x="70" y="412"/>
                    <a:pt x="63" y="409"/>
                    <a:pt x="55" y="408"/>
                  </a:cubicBezTo>
                  <a:cubicBezTo>
                    <a:pt x="56" y="404"/>
                    <a:pt x="57" y="401"/>
                    <a:pt x="58" y="397"/>
                  </a:cubicBezTo>
                  <a:close/>
                  <a:moveTo>
                    <a:pt x="78" y="458"/>
                  </a:moveTo>
                  <a:cubicBezTo>
                    <a:pt x="78" y="458"/>
                    <a:pt x="78" y="458"/>
                    <a:pt x="78" y="458"/>
                  </a:cubicBezTo>
                  <a:cubicBezTo>
                    <a:pt x="78" y="462"/>
                    <a:pt x="77" y="466"/>
                    <a:pt x="75" y="470"/>
                  </a:cubicBezTo>
                  <a:cubicBezTo>
                    <a:pt x="74" y="472"/>
                    <a:pt x="73" y="474"/>
                    <a:pt x="72" y="475"/>
                  </a:cubicBezTo>
                  <a:cubicBezTo>
                    <a:pt x="70" y="475"/>
                    <a:pt x="67" y="475"/>
                    <a:pt x="64" y="474"/>
                  </a:cubicBezTo>
                  <a:cubicBezTo>
                    <a:pt x="64" y="474"/>
                    <a:pt x="64" y="474"/>
                    <a:pt x="63" y="473"/>
                  </a:cubicBezTo>
                  <a:cubicBezTo>
                    <a:pt x="63" y="473"/>
                    <a:pt x="63" y="473"/>
                    <a:pt x="64" y="473"/>
                  </a:cubicBezTo>
                  <a:cubicBezTo>
                    <a:pt x="64" y="471"/>
                    <a:pt x="65" y="470"/>
                    <a:pt x="66" y="468"/>
                  </a:cubicBezTo>
                  <a:cubicBezTo>
                    <a:pt x="69" y="463"/>
                    <a:pt x="72" y="457"/>
                    <a:pt x="73" y="450"/>
                  </a:cubicBezTo>
                  <a:cubicBezTo>
                    <a:pt x="74" y="443"/>
                    <a:pt x="68" y="437"/>
                    <a:pt x="62" y="433"/>
                  </a:cubicBezTo>
                  <a:cubicBezTo>
                    <a:pt x="56" y="429"/>
                    <a:pt x="48" y="428"/>
                    <a:pt x="42" y="431"/>
                  </a:cubicBezTo>
                  <a:cubicBezTo>
                    <a:pt x="35" y="434"/>
                    <a:pt x="31" y="440"/>
                    <a:pt x="27" y="446"/>
                  </a:cubicBezTo>
                  <a:cubicBezTo>
                    <a:pt x="25" y="449"/>
                    <a:pt x="24" y="453"/>
                    <a:pt x="23" y="456"/>
                  </a:cubicBezTo>
                  <a:cubicBezTo>
                    <a:pt x="22" y="458"/>
                    <a:pt x="21" y="460"/>
                    <a:pt x="21" y="461"/>
                  </a:cubicBezTo>
                  <a:cubicBezTo>
                    <a:pt x="21" y="462"/>
                    <a:pt x="19" y="464"/>
                    <a:pt x="20" y="463"/>
                  </a:cubicBezTo>
                  <a:cubicBezTo>
                    <a:pt x="19" y="464"/>
                    <a:pt x="18" y="464"/>
                    <a:pt x="17" y="464"/>
                  </a:cubicBezTo>
                  <a:cubicBezTo>
                    <a:pt x="16" y="464"/>
                    <a:pt x="16" y="463"/>
                    <a:pt x="15" y="463"/>
                  </a:cubicBezTo>
                  <a:cubicBezTo>
                    <a:pt x="15" y="463"/>
                    <a:pt x="15" y="463"/>
                    <a:pt x="15" y="463"/>
                  </a:cubicBezTo>
                  <a:cubicBezTo>
                    <a:pt x="15" y="463"/>
                    <a:pt x="15" y="463"/>
                    <a:pt x="15" y="462"/>
                  </a:cubicBezTo>
                  <a:cubicBezTo>
                    <a:pt x="15" y="462"/>
                    <a:pt x="14" y="462"/>
                    <a:pt x="14" y="462"/>
                  </a:cubicBezTo>
                  <a:cubicBezTo>
                    <a:pt x="14" y="462"/>
                    <a:pt x="14" y="462"/>
                    <a:pt x="14" y="462"/>
                  </a:cubicBezTo>
                  <a:cubicBezTo>
                    <a:pt x="14" y="462"/>
                    <a:pt x="14" y="461"/>
                    <a:pt x="14" y="460"/>
                  </a:cubicBezTo>
                  <a:cubicBezTo>
                    <a:pt x="14" y="460"/>
                    <a:pt x="14" y="459"/>
                    <a:pt x="14" y="458"/>
                  </a:cubicBezTo>
                  <a:cubicBezTo>
                    <a:pt x="14" y="458"/>
                    <a:pt x="14" y="458"/>
                    <a:pt x="14" y="458"/>
                  </a:cubicBezTo>
                  <a:cubicBezTo>
                    <a:pt x="14" y="458"/>
                    <a:pt x="14" y="457"/>
                    <a:pt x="14" y="456"/>
                  </a:cubicBezTo>
                  <a:cubicBezTo>
                    <a:pt x="15" y="455"/>
                    <a:pt x="15" y="454"/>
                    <a:pt x="16" y="452"/>
                  </a:cubicBezTo>
                  <a:cubicBezTo>
                    <a:pt x="16" y="450"/>
                    <a:pt x="17" y="447"/>
                    <a:pt x="18" y="445"/>
                  </a:cubicBezTo>
                  <a:cubicBezTo>
                    <a:pt x="20" y="440"/>
                    <a:pt x="21" y="435"/>
                    <a:pt x="24" y="430"/>
                  </a:cubicBezTo>
                  <a:cubicBezTo>
                    <a:pt x="24" y="429"/>
                    <a:pt x="25" y="428"/>
                    <a:pt x="26" y="427"/>
                  </a:cubicBezTo>
                  <a:cubicBezTo>
                    <a:pt x="26" y="427"/>
                    <a:pt x="26" y="427"/>
                    <a:pt x="26" y="426"/>
                  </a:cubicBezTo>
                  <a:cubicBezTo>
                    <a:pt x="28" y="425"/>
                    <a:pt x="31" y="423"/>
                    <a:pt x="33" y="421"/>
                  </a:cubicBezTo>
                  <a:cubicBezTo>
                    <a:pt x="36" y="420"/>
                    <a:pt x="39" y="420"/>
                    <a:pt x="42" y="420"/>
                  </a:cubicBezTo>
                  <a:cubicBezTo>
                    <a:pt x="48" y="419"/>
                    <a:pt x="55" y="420"/>
                    <a:pt x="61" y="423"/>
                  </a:cubicBezTo>
                  <a:cubicBezTo>
                    <a:pt x="74" y="429"/>
                    <a:pt x="80" y="443"/>
                    <a:pt x="78" y="458"/>
                  </a:cubicBezTo>
                  <a:close/>
                  <a:moveTo>
                    <a:pt x="80" y="401"/>
                  </a:moveTo>
                  <a:cubicBezTo>
                    <a:pt x="80" y="401"/>
                    <a:pt x="80" y="401"/>
                    <a:pt x="80" y="401"/>
                  </a:cubicBezTo>
                  <a:cubicBezTo>
                    <a:pt x="78" y="399"/>
                    <a:pt x="75" y="398"/>
                    <a:pt x="72" y="397"/>
                  </a:cubicBezTo>
                  <a:cubicBezTo>
                    <a:pt x="68" y="395"/>
                    <a:pt x="64" y="393"/>
                    <a:pt x="59" y="392"/>
                  </a:cubicBezTo>
                  <a:cubicBezTo>
                    <a:pt x="60" y="390"/>
                    <a:pt x="60" y="388"/>
                    <a:pt x="61" y="386"/>
                  </a:cubicBezTo>
                  <a:cubicBezTo>
                    <a:pt x="62" y="383"/>
                    <a:pt x="63" y="380"/>
                    <a:pt x="64" y="377"/>
                  </a:cubicBezTo>
                  <a:cubicBezTo>
                    <a:pt x="69" y="380"/>
                    <a:pt x="75" y="383"/>
                    <a:pt x="80" y="387"/>
                  </a:cubicBezTo>
                  <a:cubicBezTo>
                    <a:pt x="81" y="387"/>
                    <a:pt x="82" y="388"/>
                    <a:pt x="84" y="389"/>
                  </a:cubicBezTo>
                  <a:cubicBezTo>
                    <a:pt x="82" y="393"/>
                    <a:pt x="81" y="397"/>
                    <a:pt x="80" y="401"/>
                  </a:cubicBezTo>
                  <a:close/>
                  <a:moveTo>
                    <a:pt x="87" y="381"/>
                  </a:moveTo>
                  <a:cubicBezTo>
                    <a:pt x="87" y="381"/>
                    <a:pt x="87" y="381"/>
                    <a:pt x="87" y="381"/>
                  </a:cubicBezTo>
                  <a:cubicBezTo>
                    <a:pt x="86" y="382"/>
                    <a:pt x="86" y="383"/>
                    <a:pt x="86" y="384"/>
                  </a:cubicBezTo>
                  <a:cubicBezTo>
                    <a:pt x="84" y="383"/>
                    <a:pt x="83" y="382"/>
                    <a:pt x="82" y="381"/>
                  </a:cubicBezTo>
                  <a:cubicBezTo>
                    <a:pt x="77" y="378"/>
                    <a:pt x="71" y="375"/>
                    <a:pt x="66" y="373"/>
                  </a:cubicBezTo>
                  <a:cubicBezTo>
                    <a:pt x="67" y="370"/>
                    <a:pt x="69" y="367"/>
                    <a:pt x="70" y="364"/>
                  </a:cubicBezTo>
                  <a:cubicBezTo>
                    <a:pt x="72" y="360"/>
                    <a:pt x="75" y="356"/>
                    <a:pt x="77" y="352"/>
                  </a:cubicBezTo>
                  <a:cubicBezTo>
                    <a:pt x="82" y="355"/>
                    <a:pt x="87" y="358"/>
                    <a:pt x="91" y="361"/>
                  </a:cubicBezTo>
                  <a:cubicBezTo>
                    <a:pt x="93" y="362"/>
                    <a:pt x="95" y="363"/>
                    <a:pt x="97" y="364"/>
                  </a:cubicBezTo>
                  <a:cubicBezTo>
                    <a:pt x="93" y="369"/>
                    <a:pt x="90" y="375"/>
                    <a:pt x="87" y="381"/>
                  </a:cubicBezTo>
                  <a:close/>
                  <a:moveTo>
                    <a:pt x="109" y="349"/>
                  </a:moveTo>
                  <a:cubicBezTo>
                    <a:pt x="109" y="349"/>
                    <a:pt x="109" y="349"/>
                    <a:pt x="109" y="349"/>
                  </a:cubicBezTo>
                  <a:cubicBezTo>
                    <a:pt x="106" y="353"/>
                    <a:pt x="103" y="356"/>
                    <a:pt x="100" y="360"/>
                  </a:cubicBezTo>
                  <a:cubicBezTo>
                    <a:pt x="98" y="359"/>
                    <a:pt x="95" y="357"/>
                    <a:pt x="93" y="356"/>
                  </a:cubicBezTo>
                  <a:cubicBezTo>
                    <a:pt x="89" y="353"/>
                    <a:pt x="84" y="350"/>
                    <a:pt x="80" y="348"/>
                  </a:cubicBezTo>
                  <a:cubicBezTo>
                    <a:pt x="83" y="344"/>
                    <a:pt x="86" y="340"/>
                    <a:pt x="89" y="336"/>
                  </a:cubicBezTo>
                  <a:cubicBezTo>
                    <a:pt x="89" y="336"/>
                    <a:pt x="89" y="336"/>
                    <a:pt x="90" y="337"/>
                  </a:cubicBezTo>
                  <a:cubicBezTo>
                    <a:pt x="95" y="339"/>
                    <a:pt x="101" y="341"/>
                    <a:pt x="106" y="344"/>
                  </a:cubicBezTo>
                  <a:cubicBezTo>
                    <a:pt x="108" y="345"/>
                    <a:pt x="109" y="346"/>
                    <a:pt x="111" y="347"/>
                  </a:cubicBezTo>
                  <a:cubicBezTo>
                    <a:pt x="110" y="348"/>
                    <a:pt x="110" y="349"/>
                    <a:pt x="109" y="349"/>
                  </a:cubicBezTo>
                  <a:close/>
                  <a:moveTo>
                    <a:pt x="115" y="343"/>
                  </a:moveTo>
                  <a:cubicBezTo>
                    <a:pt x="115" y="343"/>
                    <a:pt x="115" y="343"/>
                    <a:pt x="115" y="343"/>
                  </a:cubicBezTo>
                  <a:cubicBezTo>
                    <a:pt x="113" y="341"/>
                    <a:pt x="111" y="340"/>
                    <a:pt x="109" y="339"/>
                  </a:cubicBezTo>
                  <a:cubicBezTo>
                    <a:pt x="103" y="337"/>
                    <a:pt x="98" y="334"/>
                    <a:pt x="92" y="332"/>
                  </a:cubicBezTo>
                  <a:cubicBezTo>
                    <a:pt x="94" y="330"/>
                    <a:pt x="96" y="328"/>
                    <a:pt x="98" y="326"/>
                  </a:cubicBezTo>
                  <a:cubicBezTo>
                    <a:pt x="102" y="322"/>
                    <a:pt x="106" y="318"/>
                    <a:pt x="110" y="315"/>
                  </a:cubicBezTo>
                  <a:cubicBezTo>
                    <a:pt x="113" y="319"/>
                    <a:pt x="118" y="323"/>
                    <a:pt x="122" y="326"/>
                  </a:cubicBezTo>
                  <a:cubicBezTo>
                    <a:pt x="124" y="328"/>
                    <a:pt x="127" y="329"/>
                    <a:pt x="129" y="331"/>
                  </a:cubicBezTo>
                  <a:cubicBezTo>
                    <a:pt x="124" y="335"/>
                    <a:pt x="120" y="339"/>
                    <a:pt x="115" y="343"/>
                  </a:cubicBezTo>
                  <a:close/>
                  <a:moveTo>
                    <a:pt x="139" y="324"/>
                  </a:moveTo>
                  <a:cubicBezTo>
                    <a:pt x="139" y="324"/>
                    <a:pt x="139" y="324"/>
                    <a:pt x="139" y="324"/>
                  </a:cubicBezTo>
                  <a:cubicBezTo>
                    <a:pt x="137" y="325"/>
                    <a:pt x="135" y="326"/>
                    <a:pt x="134" y="328"/>
                  </a:cubicBezTo>
                  <a:cubicBezTo>
                    <a:pt x="132" y="326"/>
                    <a:pt x="130" y="325"/>
                    <a:pt x="128" y="324"/>
                  </a:cubicBezTo>
                  <a:cubicBezTo>
                    <a:pt x="123" y="320"/>
                    <a:pt x="118" y="316"/>
                    <a:pt x="113" y="311"/>
                  </a:cubicBezTo>
                  <a:cubicBezTo>
                    <a:pt x="119" y="306"/>
                    <a:pt x="125" y="302"/>
                    <a:pt x="132" y="297"/>
                  </a:cubicBezTo>
                  <a:cubicBezTo>
                    <a:pt x="132" y="297"/>
                    <a:pt x="132" y="297"/>
                    <a:pt x="133" y="298"/>
                  </a:cubicBezTo>
                  <a:cubicBezTo>
                    <a:pt x="140" y="300"/>
                    <a:pt x="144" y="306"/>
                    <a:pt x="148" y="312"/>
                  </a:cubicBezTo>
                  <a:cubicBezTo>
                    <a:pt x="150" y="313"/>
                    <a:pt x="151" y="315"/>
                    <a:pt x="152" y="317"/>
                  </a:cubicBezTo>
                  <a:cubicBezTo>
                    <a:pt x="148" y="319"/>
                    <a:pt x="143" y="321"/>
                    <a:pt x="139" y="324"/>
                  </a:cubicBezTo>
                  <a:close/>
                  <a:moveTo>
                    <a:pt x="159" y="314"/>
                  </a:moveTo>
                  <a:cubicBezTo>
                    <a:pt x="159" y="314"/>
                    <a:pt x="159" y="314"/>
                    <a:pt x="159" y="314"/>
                  </a:cubicBezTo>
                  <a:cubicBezTo>
                    <a:pt x="158" y="314"/>
                    <a:pt x="158" y="315"/>
                    <a:pt x="157" y="315"/>
                  </a:cubicBezTo>
                  <a:cubicBezTo>
                    <a:pt x="155" y="312"/>
                    <a:pt x="153" y="309"/>
                    <a:pt x="151" y="307"/>
                  </a:cubicBezTo>
                  <a:cubicBezTo>
                    <a:pt x="147" y="302"/>
                    <a:pt x="142" y="296"/>
                    <a:pt x="136" y="294"/>
                  </a:cubicBezTo>
                  <a:cubicBezTo>
                    <a:pt x="142" y="290"/>
                    <a:pt x="149" y="286"/>
                    <a:pt x="155" y="283"/>
                  </a:cubicBezTo>
                  <a:cubicBezTo>
                    <a:pt x="157" y="282"/>
                    <a:pt x="159" y="282"/>
                    <a:pt x="161" y="281"/>
                  </a:cubicBezTo>
                  <a:cubicBezTo>
                    <a:pt x="163" y="285"/>
                    <a:pt x="165" y="289"/>
                    <a:pt x="167" y="293"/>
                  </a:cubicBezTo>
                  <a:cubicBezTo>
                    <a:pt x="168" y="295"/>
                    <a:pt x="169" y="296"/>
                    <a:pt x="169" y="297"/>
                  </a:cubicBezTo>
                  <a:cubicBezTo>
                    <a:pt x="169" y="300"/>
                    <a:pt x="169" y="302"/>
                    <a:pt x="169" y="304"/>
                  </a:cubicBezTo>
                  <a:cubicBezTo>
                    <a:pt x="170" y="306"/>
                    <a:pt x="170" y="308"/>
                    <a:pt x="170" y="310"/>
                  </a:cubicBezTo>
                  <a:cubicBezTo>
                    <a:pt x="166" y="311"/>
                    <a:pt x="162" y="313"/>
                    <a:pt x="159" y="314"/>
                  </a:cubicBezTo>
                  <a:close/>
                  <a:moveTo>
                    <a:pt x="468" y="540"/>
                  </a:moveTo>
                  <a:cubicBezTo>
                    <a:pt x="468" y="540"/>
                    <a:pt x="468" y="540"/>
                    <a:pt x="468" y="540"/>
                  </a:cubicBezTo>
                  <a:cubicBezTo>
                    <a:pt x="476" y="540"/>
                    <a:pt x="484" y="540"/>
                    <a:pt x="492" y="540"/>
                  </a:cubicBezTo>
                  <a:cubicBezTo>
                    <a:pt x="501" y="540"/>
                    <a:pt x="509" y="540"/>
                    <a:pt x="517" y="540"/>
                  </a:cubicBezTo>
                  <a:cubicBezTo>
                    <a:pt x="526" y="539"/>
                    <a:pt x="534" y="538"/>
                    <a:pt x="542" y="537"/>
                  </a:cubicBezTo>
                  <a:cubicBezTo>
                    <a:pt x="550" y="535"/>
                    <a:pt x="557" y="534"/>
                    <a:pt x="565" y="534"/>
                  </a:cubicBezTo>
                  <a:cubicBezTo>
                    <a:pt x="566" y="534"/>
                    <a:pt x="567" y="535"/>
                    <a:pt x="568" y="535"/>
                  </a:cubicBezTo>
                  <a:cubicBezTo>
                    <a:pt x="572" y="537"/>
                    <a:pt x="577" y="539"/>
                    <a:pt x="581" y="542"/>
                  </a:cubicBezTo>
                  <a:cubicBezTo>
                    <a:pt x="589" y="549"/>
                    <a:pt x="592" y="558"/>
                    <a:pt x="592" y="567"/>
                  </a:cubicBezTo>
                  <a:cubicBezTo>
                    <a:pt x="591" y="575"/>
                    <a:pt x="586" y="583"/>
                    <a:pt x="578" y="587"/>
                  </a:cubicBezTo>
                  <a:cubicBezTo>
                    <a:pt x="573" y="589"/>
                    <a:pt x="565" y="589"/>
                    <a:pt x="559" y="589"/>
                  </a:cubicBezTo>
                  <a:cubicBezTo>
                    <a:pt x="554" y="590"/>
                    <a:pt x="549" y="590"/>
                    <a:pt x="544" y="592"/>
                  </a:cubicBezTo>
                  <a:cubicBezTo>
                    <a:pt x="539" y="591"/>
                    <a:pt x="534" y="591"/>
                    <a:pt x="529" y="591"/>
                  </a:cubicBezTo>
                  <a:cubicBezTo>
                    <a:pt x="518" y="591"/>
                    <a:pt x="507" y="591"/>
                    <a:pt x="496" y="591"/>
                  </a:cubicBezTo>
                  <a:cubicBezTo>
                    <a:pt x="473" y="592"/>
                    <a:pt x="451" y="593"/>
                    <a:pt x="429" y="592"/>
                  </a:cubicBezTo>
                  <a:cubicBezTo>
                    <a:pt x="418" y="591"/>
                    <a:pt x="407" y="590"/>
                    <a:pt x="396" y="590"/>
                  </a:cubicBezTo>
                  <a:cubicBezTo>
                    <a:pt x="384" y="590"/>
                    <a:pt x="373" y="592"/>
                    <a:pt x="362" y="593"/>
                  </a:cubicBezTo>
                  <a:cubicBezTo>
                    <a:pt x="340" y="595"/>
                    <a:pt x="317" y="597"/>
                    <a:pt x="295" y="598"/>
                  </a:cubicBezTo>
                  <a:cubicBezTo>
                    <a:pt x="275" y="598"/>
                    <a:pt x="255" y="598"/>
                    <a:pt x="236" y="597"/>
                  </a:cubicBezTo>
                  <a:cubicBezTo>
                    <a:pt x="226" y="597"/>
                    <a:pt x="216" y="596"/>
                    <a:pt x="206" y="596"/>
                  </a:cubicBezTo>
                  <a:cubicBezTo>
                    <a:pt x="196" y="596"/>
                    <a:pt x="186" y="597"/>
                    <a:pt x="176" y="598"/>
                  </a:cubicBezTo>
                  <a:cubicBezTo>
                    <a:pt x="172" y="598"/>
                    <a:pt x="167" y="599"/>
                    <a:pt x="163" y="599"/>
                  </a:cubicBezTo>
                  <a:cubicBezTo>
                    <a:pt x="148" y="596"/>
                    <a:pt x="133" y="597"/>
                    <a:pt x="118" y="595"/>
                  </a:cubicBezTo>
                  <a:cubicBezTo>
                    <a:pt x="106" y="593"/>
                    <a:pt x="91" y="589"/>
                    <a:pt x="86" y="577"/>
                  </a:cubicBezTo>
                  <a:cubicBezTo>
                    <a:pt x="82" y="564"/>
                    <a:pt x="90" y="548"/>
                    <a:pt x="103" y="544"/>
                  </a:cubicBezTo>
                  <a:cubicBezTo>
                    <a:pt x="110" y="542"/>
                    <a:pt x="118" y="543"/>
                    <a:pt x="126" y="543"/>
                  </a:cubicBezTo>
                  <a:cubicBezTo>
                    <a:pt x="132" y="543"/>
                    <a:pt x="140" y="544"/>
                    <a:pt x="146" y="542"/>
                  </a:cubicBezTo>
                  <a:cubicBezTo>
                    <a:pt x="153" y="543"/>
                    <a:pt x="160" y="543"/>
                    <a:pt x="168" y="543"/>
                  </a:cubicBezTo>
                  <a:cubicBezTo>
                    <a:pt x="179" y="543"/>
                    <a:pt x="189" y="543"/>
                    <a:pt x="200" y="543"/>
                  </a:cubicBezTo>
                  <a:cubicBezTo>
                    <a:pt x="211" y="543"/>
                    <a:pt x="222" y="542"/>
                    <a:pt x="233" y="541"/>
                  </a:cubicBezTo>
                  <a:cubicBezTo>
                    <a:pt x="256" y="539"/>
                    <a:pt x="278" y="540"/>
                    <a:pt x="301" y="540"/>
                  </a:cubicBezTo>
                  <a:cubicBezTo>
                    <a:pt x="323" y="540"/>
                    <a:pt x="345" y="541"/>
                    <a:pt x="368" y="540"/>
                  </a:cubicBezTo>
                  <a:cubicBezTo>
                    <a:pt x="384" y="540"/>
                    <a:pt x="401" y="540"/>
                    <a:pt x="417" y="540"/>
                  </a:cubicBezTo>
                  <a:cubicBezTo>
                    <a:pt x="434" y="540"/>
                    <a:pt x="451" y="540"/>
                    <a:pt x="468" y="540"/>
                  </a:cubicBezTo>
                  <a:close/>
                  <a:moveTo>
                    <a:pt x="246" y="514"/>
                  </a:moveTo>
                  <a:cubicBezTo>
                    <a:pt x="246" y="514"/>
                    <a:pt x="246" y="514"/>
                    <a:pt x="246" y="514"/>
                  </a:cubicBezTo>
                  <a:cubicBezTo>
                    <a:pt x="261" y="514"/>
                    <a:pt x="277" y="513"/>
                    <a:pt x="292" y="513"/>
                  </a:cubicBezTo>
                  <a:cubicBezTo>
                    <a:pt x="331" y="514"/>
                    <a:pt x="369" y="517"/>
                    <a:pt x="407" y="515"/>
                  </a:cubicBezTo>
                  <a:cubicBezTo>
                    <a:pt x="407" y="518"/>
                    <a:pt x="408" y="520"/>
                    <a:pt x="408" y="523"/>
                  </a:cubicBezTo>
                  <a:cubicBezTo>
                    <a:pt x="408" y="524"/>
                    <a:pt x="408" y="525"/>
                    <a:pt x="408" y="527"/>
                  </a:cubicBezTo>
                  <a:cubicBezTo>
                    <a:pt x="395" y="527"/>
                    <a:pt x="382" y="527"/>
                    <a:pt x="369" y="527"/>
                  </a:cubicBezTo>
                  <a:cubicBezTo>
                    <a:pt x="347" y="528"/>
                    <a:pt x="325" y="527"/>
                    <a:pt x="302" y="527"/>
                  </a:cubicBezTo>
                  <a:cubicBezTo>
                    <a:pt x="285" y="527"/>
                    <a:pt x="268" y="527"/>
                    <a:pt x="251" y="528"/>
                  </a:cubicBezTo>
                  <a:cubicBezTo>
                    <a:pt x="249" y="528"/>
                    <a:pt x="247" y="528"/>
                    <a:pt x="245" y="528"/>
                  </a:cubicBezTo>
                  <a:cubicBezTo>
                    <a:pt x="245" y="528"/>
                    <a:pt x="245" y="527"/>
                    <a:pt x="245" y="527"/>
                  </a:cubicBezTo>
                  <a:cubicBezTo>
                    <a:pt x="245" y="525"/>
                    <a:pt x="246" y="522"/>
                    <a:pt x="246" y="519"/>
                  </a:cubicBezTo>
                  <a:cubicBezTo>
                    <a:pt x="246" y="517"/>
                    <a:pt x="246" y="516"/>
                    <a:pt x="246" y="514"/>
                  </a:cubicBezTo>
                  <a:close/>
                  <a:moveTo>
                    <a:pt x="479" y="390"/>
                  </a:moveTo>
                  <a:cubicBezTo>
                    <a:pt x="479" y="390"/>
                    <a:pt x="479" y="390"/>
                    <a:pt x="479" y="390"/>
                  </a:cubicBezTo>
                  <a:cubicBezTo>
                    <a:pt x="479" y="402"/>
                    <a:pt x="479" y="413"/>
                    <a:pt x="479" y="424"/>
                  </a:cubicBezTo>
                  <a:cubicBezTo>
                    <a:pt x="478" y="437"/>
                    <a:pt x="478" y="451"/>
                    <a:pt x="477" y="464"/>
                  </a:cubicBezTo>
                  <a:cubicBezTo>
                    <a:pt x="476" y="474"/>
                    <a:pt x="475" y="485"/>
                    <a:pt x="477" y="495"/>
                  </a:cubicBezTo>
                  <a:cubicBezTo>
                    <a:pt x="475" y="496"/>
                    <a:pt x="474" y="497"/>
                    <a:pt x="473" y="498"/>
                  </a:cubicBezTo>
                  <a:cubicBezTo>
                    <a:pt x="469" y="501"/>
                    <a:pt x="465" y="501"/>
                    <a:pt x="460" y="502"/>
                  </a:cubicBezTo>
                  <a:cubicBezTo>
                    <a:pt x="455" y="502"/>
                    <a:pt x="450" y="502"/>
                    <a:pt x="445" y="502"/>
                  </a:cubicBezTo>
                  <a:cubicBezTo>
                    <a:pt x="440" y="502"/>
                    <a:pt x="434" y="502"/>
                    <a:pt x="429" y="502"/>
                  </a:cubicBezTo>
                  <a:cubicBezTo>
                    <a:pt x="407" y="504"/>
                    <a:pt x="384" y="504"/>
                    <a:pt x="362" y="503"/>
                  </a:cubicBezTo>
                  <a:cubicBezTo>
                    <a:pt x="340" y="503"/>
                    <a:pt x="317" y="502"/>
                    <a:pt x="295" y="501"/>
                  </a:cubicBezTo>
                  <a:cubicBezTo>
                    <a:pt x="273" y="501"/>
                    <a:pt x="250" y="502"/>
                    <a:pt x="228" y="502"/>
                  </a:cubicBezTo>
                  <a:cubicBezTo>
                    <a:pt x="221" y="502"/>
                    <a:pt x="215" y="503"/>
                    <a:pt x="208" y="503"/>
                  </a:cubicBezTo>
                  <a:cubicBezTo>
                    <a:pt x="205" y="503"/>
                    <a:pt x="201" y="503"/>
                    <a:pt x="198" y="503"/>
                  </a:cubicBezTo>
                  <a:cubicBezTo>
                    <a:pt x="197" y="503"/>
                    <a:pt x="197" y="502"/>
                    <a:pt x="196" y="502"/>
                  </a:cubicBezTo>
                  <a:cubicBezTo>
                    <a:pt x="194" y="501"/>
                    <a:pt x="191" y="500"/>
                    <a:pt x="189" y="498"/>
                  </a:cubicBezTo>
                  <a:cubicBezTo>
                    <a:pt x="188" y="498"/>
                    <a:pt x="188" y="497"/>
                    <a:pt x="188" y="497"/>
                  </a:cubicBezTo>
                  <a:cubicBezTo>
                    <a:pt x="187" y="495"/>
                    <a:pt x="187" y="495"/>
                    <a:pt x="186" y="494"/>
                  </a:cubicBezTo>
                  <a:cubicBezTo>
                    <a:pt x="186" y="492"/>
                    <a:pt x="185" y="490"/>
                    <a:pt x="185" y="487"/>
                  </a:cubicBezTo>
                  <a:cubicBezTo>
                    <a:pt x="185" y="487"/>
                    <a:pt x="185" y="486"/>
                    <a:pt x="185" y="486"/>
                  </a:cubicBezTo>
                  <a:cubicBezTo>
                    <a:pt x="189" y="486"/>
                    <a:pt x="193" y="486"/>
                    <a:pt x="196" y="487"/>
                  </a:cubicBezTo>
                  <a:cubicBezTo>
                    <a:pt x="204" y="487"/>
                    <a:pt x="211" y="487"/>
                    <a:pt x="219" y="487"/>
                  </a:cubicBezTo>
                  <a:cubicBezTo>
                    <a:pt x="233" y="487"/>
                    <a:pt x="248" y="488"/>
                    <a:pt x="262" y="488"/>
                  </a:cubicBezTo>
                  <a:cubicBezTo>
                    <a:pt x="277" y="487"/>
                    <a:pt x="291" y="485"/>
                    <a:pt x="306" y="483"/>
                  </a:cubicBezTo>
                  <a:cubicBezTo>
                    <a:pt x="313" y="482"/>
                    <a:pt x="321" y="481"/>
                    <a:pt x="328" y="481"/>
                  </a:cubicBezTo>
                  <a:cubicBezTo>
                    <a:pt x="332" y="481"/>
                    <a:pt x="335" y="481"/>
                    <a:pt x="339" y="481"/>
                  </a:cubicBezTo>
                  <a:cubicBezTo>
                    <a:pt x="340" y="480"/>
                    <a:pt x="342" y="480"/>
                    <a:pt x="343" y="480"/>
                  </a:cubicBezTo>
                  <a:cubicBezTo>
                    <a:pt x="343" y="480"/>
                    <a:pt x="343" y="480"/>
                    <a:pt x="344" y="480"/>
                  </a:cubicBezTo>
                  <a:cubicBezTo>
                    <a:pt x="345" y="482"/>
                    <a:pt x="349" y="482"/>
                    <a:pt x="351" y="479"/>
                  </a:cubicBezTo>
                  <a:cubicBezTo>
                    <a:pt x="355" y="474"/>
                    <a:pt x="353" y="465"/>
                    <a:pt x="353" y="459"/>
                  </a:cubicBezTo>
                  <a:cubicBezTo>
                    <a:pt x="353" y="451"/>
                    <a:pt x="354" y="443"/>
                    <a:pt x="354" y="436"/>
                  </a:cubicBezTo>
                  <a:cubicBezTo>
                    <a:pt x="354" y="427"/>
                    <a:pt x="353" y="419"/>
                    <a:pt x="352" y="410"/>
                  </a:cubicBezTo>
                  <a:cubicBezTo>
                    <a:pt x="351" y="406"/>
                    <a:pt x="351" y="402"/>
                    <a:pt x="350" y="398"/>
                  </a:cubicBezTo>
                  <a:cubicBezTo>
                    <a:pt x="350" y="395"/>
                    <a:pt x="350" y="391"/>
                    <a:pt x="348" y="387"/>
                  </a:cubicBezTo>
                  <a:cubicBezTo>
                    <a:pt x="348" y="387"/>
                    <a:pt x="348" y="387"/>
                    <a:pt x="348" y="386"/>
                  </a:cubicBezTo>
                  <a:cubicBezTo>
                    <a:pt x="348" y="386"/>
                    <a:pt x="348" y="386"/>
                    <a:pt x="348" y="386"/>
                  </a:cubicBezTo>
                  <a:cubicBezTo>
                    <a:pt x="348" y="386"/>
                    <a:pt x="348" y="386"/>
                    <a:pt x="348" y="386"/>
                  </a:cubicBezTo>
                  <a:cubicBezTo>
                    <a:pt x="348" y="386"/>
                    <a:pt x="348" y="386"/>
                    <a:pt x="348" y="386"/>
                  </a:cubicBezTo>
                  <a:cubicBezTo>
                    <a:pt x="347" y="386"/>
                    <a:pt x="347" y="386"/>
                    <a:pt x="347" y="385"/>
                  </a:cubicBezTo>
                  <a:cubicBezTo>
                    <a:pt x="346" y="385"/>
                    <a:pt x="345" y="384"/>
                    <a:pt x="343" y="385"/>
                  </a:cubicBezTo>
                  <a:cubicBezTo>
                    <a:pt x="336" y="386"/>
                    <a:pt x="330" y="386"/>
                    <a:pt x="323" y="386"/>
                  </a:cubicBezTo>
                  <a:cubicBezTo>
                    <a:pt x="316" y="386"/>
                    <a:pt x="308" y="386"/>
                    <a:pt x="301" y="386"/>
                  </a:cubicBezTo>
                  <a:cubicBezTo>
                    <a:pt x="294" y="386"/>
                    <a:pt x="287" y="386"/>
                    <a:pt x="280" y="386"/>
                  </a:cubicBezTo>
                  <a:cubicBezTo>
                    <a:pt x="273" y="385"/>
                    <a:pt x="266" y="385"/>
                    <a:pt x="259" y="387"/>
                  </a:cubicBezTo>
                  <a:cubicBezTo>
                    <a:pt x="247" y="389"/>
                    <a:pt x="233" y="389"/>
                    <a:pt x="220" y="388"/>
                  </a:cubicBezTo>
                  <a:cubicBezTo>
                    <a:pt x="214" y="387"/>
                    <a:pt x="207" y="385"/>
                    <a:pt x="200" y="385"/>
                  </a:cubicBezTo>
                  <a:cubicBezTo>
                    <a:pt x="197" y="385"/>
                    <a:pt x="193" y="385"/>
                    <a:pt x="190" y="385"/>
                  </a:cubicBezTo>
                  <a:cubicBezTo>
                    <a:pt x="189" y="385"/>
                    <a:pt x="188" y="385"/>
                    <a:pt x="187" y="386"/>
                  </a:cubicBezTo>
                  <a:cubicBezTo>
                    <a:pt x="187" y="379"/>
                    <a:pt x="187" y="372"/>
                    <a:pt x="186" y="365"/>
                  </a:cubicBezTo>
                  <a:cubicBezTo>
                    <a:pt x="186" y="343"/>
                    <a:pt x="183" y="321"/>
                    <a:pt x="183" y="299"/>
                  </a:cubicBezTo>
                  <a:cubicBezTo>
                    <a:pt x="182" y="276"/>
                    <a:pt x="182" y="254"/>
                    <a:pt x="182" y="232"/>
                  </a:cubicBezTo>
                  <a:cubicBezTo>
                    <a:pt x="182" y="221"/>
                    <a:pt x="183" y="211"/>
                    <a:pt x="182" y="201"/>
                  </a:cubicBezTo>
                  <a:cubicBezTo>
                    <a:pt x="182" y="196"/>
                    <a:pt x="182" y="191"/>
                    <a:pt x="182" y="186"/>
                  </a:cubicBezTo>
                  <a:cubicBezTo>
                    <a:pt x="182" y="183"/>
                    <a:pt x="182" y="180"/>
                    <a:pt x="181" y="176"/>
                  </a:cubicBezTo>
                  <a:cubicBezTo>
                    <a:pt x="182" y="173"/>
                    <a:pt x="183" y="170"/>
                    <a:pt x="184" y="168"/>
                  </a:cubicBezTo>
                  <a:cubicBezTo>
                    <a:pt x="186" y="166"/>
                    <a:pt x="188" y="165"/>
                    <a:pt x="190" y="164"/>
                  </a:cubicBezTo>
                  <a:cubicBezTo>
                    <a:pt x="195" y="163"/>
                    <a:pt x="200" y="163"/>
                    <a:pt x="205" y="163"/>
                  </a:cubicBezTo>
                  <a:cubicBezTo>
                    <a:pt x="210" y="163"/>
                    <a:pt x="215" y="163"/>
                    <a:pt x="220" y="163"/>
                  </a:cubicBezTo>
                  <a:cubicBezTo>
                    <a:pt x="226" y="163"/>
                    <a:pt x="232" y="162"/>
                    <a:pt x="238" y="161"/>
                  </a:cubicBezTo>
                  <a:cubicBezTo>
                    <a:pt x="248" y="160"/>
                    <a:pt x="259" y="158"/>
                    <a:pt x="270" y="157"/>
                  </a:cubicBezTo>
                  <a:cubicBezTo>
                    <a:pt x="280" y="156"/>
                    <a:pt x="291" y="156"/>
                    <a:pt x="302" y="156"/>
                  </a:cubicBezTo>
                  <a:cubicBezTo>
                    <a:pt x="313" y="156"/>
                    <a:pt x="324" y="156"/>
                    <a:pt x="335" y="156"/>
                  </a:cubicBezTo>
                  <a:cubicBezTo>
                    <a:pt x="357" y="155"/>
                    <a:pt x="378" y="156"/>
                    <a:pt x="400" y="156"/>
                  </a:cubicBezTo>
                  <a:cubicBezTo>
                    <a:pt x="418" y="157"/>
                    <a:pt x="435" y="157"/>
                    <a:pt x="452" y="160"/>
                  </a:cubicBezTo>
                  <a:cubicBezTo>
                    <a:pt x="460" y="161"/>
                    <a:pt x="467" y="163"/>
                    <a:pt x="474" y="165"/>
                  </a:cubicBezTo>
                  <a:cubicBezTo>
                    <a:pt x="475" y="165"/>
                    <a:pt x="476" y="166"/>
                    <a:pt x="477" y="166"/>
                  </a:cubicBezTo>
                  <a:cubicBezTo>
                    <a:pt x="478" y="167"/>
                    <a:pt x="479" y="167"/>
                    <a:pt x="479" y="167"/>
                  </a:cubicBezTo>
                  <a:cubicBezTo>
                    <a:pt x="479" y="171"/>
                    <a:pt x="479" y="174"/>
                    <a:pt x="479" y="178"/>
                  </a:cubicBezTo>
                  <a:cubicBezTo>
                    <a:pt x="478" y="183"/>
                    <a:pt x="478" y="189"/>
                    <a:pt x="478" y="195"/>
                  </a:cubicBezTo>
                  <a:cubicBezTo>
                    <a:pt x="478" y="206"/>
                    <a:pt x="478" y="217"/>
                    <a:pt x="478" y="228"/>
                  </a:cubicBezTo>
                  <a:cubicBezTo>
                    <a:pt x="478" y="250"/>
                    <a:pt x="476" y="271"/>
                    <a:pt x="478" y="293"/>
                  </a:cubicBezTo>
                  <a:cubicBezTo>
                    <a:pt x="478" y="298"/>
                    <a:pt x="479" y="304"/>
                    <a:pt x="479" y="309"/>
                  </a:cubicBezTo>
                  <a:cubicBezTo>
                    <a:pt x="479" y="309"/>
                    <a:pt x="479" y="309"/>
                    <a:pt x="479" y="309"/>
                  </a:cubicBezTo>
                  <a:cubicBezTo>
                    <a:pt x="478" y="311"/>
                    <a:pt x="478" y="313"/>
                    <a:pt x="479" y="314"/>
                  </a:cubicBezTo>
                  <a:cubicBezTo>
                    <a:pt x="480" y="318"/>
                    <a:pt x="480" y="321"/>
                    <a:pt x="480" y="325"/>
                  </a:cubicBezTo>
                  <a:cubicBezTo>
                    <a:pt x="480" y="336"/>
                    <a:pt x="480" y="346"/>
                    <a:pt x="480" y="357"/>
                  </a:cubicBezTo>
                  <a:cubicBezTo>
                    <a:pt x="480" y="368"/>
                    <a:pt x="479" y="379"/>
                    <a:pt x="479" y="390"/>
                  </a:cubicBezTo>
                  <a:close/>
                  <a:moveTo>
                    <a:pt x="203" y="451"/>
                  </a:moveTo>
                  <a:cubicBezTo>
                    <a:pt x="203" y="451"/>
                    <a:pt x="203" y="451"/>
                    <a:pt x="203" y="451"/>
                  </a:cubicBezTo>
                  <a:cubicBezTo>
                    <a:pt x="204" y="458"/>
                    <a:pt x="204" y="465"/>
                    <a:pt x="204" y="473"/>
                  </a:cubicBezTo>
                  <a:cubicBezTo>
                    <a:pt x="203" y="474"/>
                    <a:pt x="203" y="476"/>
                    <a:pt x="203" y="478"/>
                  </a:cubicBezTo>
                  <a:cubicBezTo>
                    <a:pt x="201" y="478"/>
                    <a:pt x="199" y="478"/>
                    <a:pt x="198" y="478"/>
                  </a:cubicBezTo>
                  <a:cubicBezTo>
                    <a:pt x="194" y="477"/>
                    <a:pt x="190" y="477"/>
                    <a:pt x="187" y="477"/>
                  </a:cubicBezTo>
                  <a:cubicBezTo>
                    <a:pt x="189" y="462"/>
                    <a:pt x="189" y="446"/>
                    <a:pt x="188" y="431"/>
                  </a:cubicBezTo>
                  <a:cubicBezTo>
                    <a:pt x="187" y="418"/>
                    <a:pt x="187" y="405"/>
                    <a:pt x="187" y="392"/>
                  </a:cubicBezTo>
                  <a:cubicBezTo>
                    <a:pt x="190" y="392"/>
                    <a:pt x="193" y="392"/>
                    <a:pt x="196" y="392"/>
                  </a:cubicBezTo>
                  <a:cubicBezTo>
                    <a:pt x="198" y="392"/>
                    <a:pt x="200" y="392"/>
                    <a:pt x="202" y="392"/>
                  </a:cubicBezTo>
                  <a:cubicBezTo>
                    <a:pt x="202" y="396"/>
                    <a:pt x="202" y="401"/>
                    <a:pt x="203" y="405"/>
                  </a:cubicBezTo>
                  <a:cubicBezTo>
                    <a:pt x="203" y="410"/>
                    <a:pt x="203" y="415"/>
                    <a:pt x="203" y="420"/>
                  </a:cubicBezTo>
                  <a:cubicBezTo>
                    <a:pt x="203" y="430"/>
                    <a:pt x="203" y="440"/>
                    <a:pt x="203" y="451"/>
                  </a:cubicBezTo>
                  <a:close/>
                  <a:moveTo>
                    <a:pt x="252" y="412"/>
                  </a:moveTo>
                  <a:cubicBezTo>
                    <a:pt x="252" y="412"/>
                    <a:pt x="252" y="412"/>
                    <a:pt x="252" y="412"/>
                  </a:cubicBezTo>
                  <a:cubicBezTo>
                    <a:pt x="252" y="420"/>
                    <a:pt x="253" y="428"/>
                    <a:pt x="254" y="436"/>
                  </a:cubicBezTo>
                  <a:cubicBezTo>
                    <a:pt x="255" y="450"/>
                    <a:pt x="255" y="464"/>
                    <a:pt x="256" y="478"/>
                  </a:cubicBezTo>
                  <a:cubicBezTo>
                    <a:pt x="244" y="478"/>
                    <a:pt x="233" y="478"/>
                    <a:pt x="221" y="478"/>
                  </a:cubicBezTo>
                  <a:cubicBezTo>
                    <a:pt x="217" y="478"/>
                    <a:pt x="213" y="478"/>
                    <a:pt x="209" y="478"/>
                  </a:cubicBezTo>
                  <a:cubicBezTo>
                    <a:pt x="210" y="475"/>
                    <a:pt x="210" y="473"/>
                    <a:pt x="210" y="471"/>
                  </a:cubicBezTo>
                  <a:cubicBezTo>
                    <a:pt x="211" y="463"/>
                    <a:pt x="210" y="456"/>
                    <a:pt x="209" y="448"/>
                  </a:cubicBezTo>
                  <a:cubicBezTo>
                    <a:pt x="209" y="439"/>
                    <a:pt x="209" y="429"/>
                    <a:pt x="209" y="420"/>
                  </a:cubicBezTo>
                  <a:cubicBezTo>
                    <a:pt x="208" y="415"/>
                    <a:pt x="208" y="410"/>
                    <a:pt x="208" y="406"/>
                  </a:cubicBezTo>
                  <a:cubicBezTo>
                    <a:pt x="207" y="401"/>
                    <a:pt x="206" y="397"/>
                    <a:pt x="205" y="393"/>
                  </a:cubicBezTo>
                  <a:cubicBezTo>
                    <a:pt x="209" y="393"/>
                    <a:pt x="213" y="394"/>
                    <a:pt x="217" y="395"/>
                  </a:cubicBezTo>
                  <a:cubicBezTo>
                    <a:pt x="228" y="397"/>
                    <a:pt x="241" y="397"/>
                    <a:pt x="253" y="396"/>
                  </a:cubicBezTo>
                  <a:cubicBezTo>
                    <a:pt x="252" y="402"/>
                    <a:pt x="252" y="407"/>
                    <a:pt x="252" y="412"/>
                  </a:cubicBezTo>
                  <a:close/>
                  <a:moveTo>
                    <a:pt x="296" y="474"/>
                  </a:moveTo>
                  <a:cubicBezTo>
                    <a:pt x="296" y="474"/>
                    <a:pt x="296" y="474"/>
                    <a:pt x="296" y="474"/>
                  </a:cubicBezTo>
                  <a:cubicBezTo>
                    <a:pt x="286" y="476"/>
                    <a:pt x="276" y="477"/>
                    <a:pt x="266" y="478"/>
                  </a:cubicBezTo>
                  <a:cubicBezTo>
                    <a:pt x="265" y="478"/>
                    <a:pt x="264" y="478"/>
                    <a:pt x="263" y="478"/>
                  </a:cubicBezTo>
                  <a:cubicBezTo>
                    <a:pt x="263" y="464"/>
                    <a:pt x="263" y="451"/>
                    <a:pt x="262" y="437"/>
                  </a:cubicBezTo>
                  <a:cubicBezTo>
                    <a:pt x="260" y="423"/>
                    <a:pt x="259" y="409"/>
                    <a:pt x="258" y="396"/>
                  </a:cubicBezTo>
                  <a:cubicBezTo>
                    <a:pt x="258" y="396"/>
                    <a:pt x="258" y="396"/>
                    <a:pt x="258" y="396"/>
                  </a:cubicBezTo>
                  <a:cubicBezTo>
                    <a:pt x="261" y="395"/>
                    <a:pt x="264" y="394"/>
                    <a:pt x="268" y="394"/>
                  </a:cubicBezTo>
                  <a:cubicBezTo>
                    <a:pt x="271" y="394"/>
                    <a:pt x="275" y="394"/>
                    <a:pt x="278" y="395"/>
                  </a:cubicBezTo>
                  <a:cubicBezTo>
                    <a:pt x="286" y="395"/>
                    <a:pt x="293" y="395"/>
                    <a:pt x="300" y="395"/>
                  </a:cubicBezTo>
                  <a:cubicBezTo>
                    <a:pt x="299" y="400"/>
                    <a:pt x="299" y="405"/>
                    <a:pt x="299" y="411"/>
                  </a:cubicBezTo>
                  <a:cubicBezTo>
                    <a:pt x="299" y="418"/>
                    <a:pt x="298" y="426"/>
                    <a:pt x="298" y="434"/>
                  </a:cubicBezTo>
                  <a:cubicBezTo>
                    <a:pt x="298" y="447"/>
                    <a:pt x="296" y="461"/>
                    <a:pt x="296" y="474"/>
                  </a:cubicBezTo>
                  <a:close/>
                  <a:moveTo>
                    <a:pt x="305" y="395"/>
                  </a:moveTo>
                  <a:cubicBezTo>
                    <a:pt x="305" y="395"/>
                    <a:pt x="305" y="395"/>
                    <a:pt x="305" y="395"/>
                  </a:cubicBezTo>
                  <a:cubicBezTo>
                    <a:pt x="311" y="395"/>
                    <a:pt x="317" y="395"/>
                    <a:pt x="323" y="395"/>
                  </a:cubicBezTo>
                  <a:cubicBezTo>
                    <a:pt x="329" y="395"/>
                    <a:pt x="335" y="395"/>
                    <a:pt x="342" y="394"/>
                  </a:cubicBezTo>
                  <a:cubicBezTo>
                    <a:pt x="342" y="396"/>
                    <a:pt x="342" y="397"/>
                    <a:pt x="342" y="398"/>
                  </a:cubicBezTo>
                  <a:cubicBezTo>
                    <a:pt x="342" y="402"/>
                    <a:pt x="343" y="406"/>
                    <a:pt x="343" y="410"/>
                  </a:cubicBezTo>
                  <a:cubicBezTo>
                    <a:pt x="343" y="418"/>
                    <a:pt x="344" y="426"/>
                    <a:pt x="344" y="434"/>
                  </a:cubicBezTo>
                  <a:cubicBezTo>
                    <a:pt x="344" y="442"/>
                    <a:pt x="343" y="449"/>
                    <a:pt x="343" y="457"/>
                  </a:cubicBezTo>
                  <a:cubicBezTo>
                    <a:pt x="343" y="460"/>
                    <a:pt x="343" y="463"/>
                    <a:pt x="344" y="466"/>
                  </a:cubicBezTo>
                  <a:cubicBezTo>
                    <a:pt x="344" y="468"/>
                    <a:pt x="344" y="470"/>
                    <a:pt x="343" y="471"/>
                  </a:cubicBezTo>
                  <a:cubicBezTo>
                    <a:pt x="341" y="471"/>
                    <a:pt x="338" y="472"/>
                    <a:pt x="336" y="472"/>
                  </a:cubicBezTo>
                  <a:cubicBezTo>
                    <a:pt x="328" y="472"/>
                    <a:pt x="320" y="472"/>
                    <a:pt x="313" y="473"/>
                  </a:cubicBezTo>
                  <a:cubicBezTo>
                    <a:pt x="309" y="473"/>
                    <a:pt x="306" y="473"/>
                    <a:pt x="303" y="474"/>
                  </a:cubicBezTo>
                  <a:cubicBezTo>
                    <a:pt x="303" y="468"/>
                    <a:pt x="303" y="462"/>
                    <a:pt x="303" y="456"/>
                  </a:cubicBezTo>
                  <a:cubicBezTo>
                    <a:pt x="303" y="449"/>
                    <a:pt x="304" y="441"/>
                    <a:pt x="304" y="434"/>
                  </a:cubicBezTo>
                  <a:cubicBezTo>
                    <a:pt x="305" y="426"/>
                    <a:pt x="305" y="419"/>
                    <a:pt x="305" y="412"/>
                  </a:cubicBezTo>
                  <a:cubicBezTo>
                    <a:pt x="305" y="406"/>
                    <a:pt x="306" y="400"/>
                    <a:pt x="305" y="395"/>
                  </a:cubicBezTo>
                  <a:close/>
                  <a:moveTo>
                    <a:pt x="623" y="404"/>
                  </a:moveTo>
                  <a:cubicBezTo>
                    <a:pt x="623" y="404"/>
                    <a:pt x="623" y="404"/>
                    <a:pt x="623" y="404"/>
                  </a:cubicBezTo>
                  <a:cubicBezTo>
                    <a:pt x="624" y="406"/>
                    <a:pt x="625" y="408"/>
                    <a:pt x="625" y="410"/>
                  </a:cubicBezTo>
                  <a:cubicBezTo>
                    <a:pt x="618" y="411"/>
                    <a:pt x="611" y="416"/>
                    <a:pt x="606" y="422"/>
                  </a:cubicBezTo>
                  <a:cubicBezTo>
                    <a:pt x="604" y="419"/>
                    <a:pt x="603" y="416"/>
                    <a:pt x="601" y="413"/>
                  </a:cubicBezTo>
                  <a:cubicBezTo>
                    <a:pt x="603" y="411"/>
                    <a:pt x="605" y="409"/>
                    <a:pt x="607" y="407"/>
                  </a:cubicBezTo>
                  <a:cubicBezTo>
                    <a:pt x="610" y="405"/>
                    <a:pt x="612" y="403"/>
                    <a:pt x="615" y="402"/>
                  </a:cubicBezTo>
                  <a:cubicBezTo>
                    <a:pt x="616" y="401"/>
                    <a:pt x="619" y="400"/>
                    <a:pt x="620" y="398"/>
                  </a:cubicBezTo>
                  <a:cubicBezTo>
                    <a:pt x="621" y="400"/>
                    <a:pt x="622" y="402"/>
                    <a:pt x="623" y="404"/>
                  </a:cubicBezTo>
                  <a:close/>
                  <a:moveTo>
                    <a:pt x="495" y="302"/>
                  </a:moveTo>
                  <a:cubicBezTo>
                    <a:pt x="495" y="302"/>
                    <a:pt x="495" y="302"/>
                    <a:pt x="495" y="302"/>
                  </a:cubicBezTo>
                  <a:cubicBezTo>
                    <a:pt x="495" y="303"/>
                    <a:pt x="493" y="305"/>
                    <a:pt x="492" y="307"/>
                  </a:cubicBezTo>
                  <a:cubicBezTo>
                    <a:pt x="492" y="307"/>
                    <a:pt x="492" y="306"/>
                    <a:pt x="492" y="305"/>
                  </a:cubicBezTo>
                  <a:cubicBezTo>
                    <a:pt x="491" y="295"/>
                    <a:pt x="490" y="286"/>
                    <a:pt x="490" y="277"/>
                  </a:cubicBezTo>
                  <a:cubicBezTo>
                    <a:pt x="492" y="277"/>
                    <a:pt x="494" y="277"/>
                    <a:pt x="495" y="278"/>
                  </a:cubicBezTo>
                  <a:cubicBezTo>
                    <a:pt x="499" y="279"/>
                    <a:pt x="503" y="280"/>
                    <a:pt x="507" y="282"/>
                  </a:cubicBezTo>
                  <a:cubicBezTo>
                    <a:pt x="507" y="282"/>
                    <a:pt x="508" y="282"/>
                    <a:pt x="508" y="282"/>
                  </a:cubicBezTo>
                  <a:cubicBezTo>
                    <a:pt x="503" y="284"/>
                    <a:pt x="501" y="289"/>
                    <a:pt x="499" y="293"/>
                  </a:cubicBezTo>
                  <a:cubicBezTo>
                    <a:pt x="498" y="296"/>
                    <a:pt x="497" y="299"/>
                    <a:pt x="495" y="302"/>
                  </a:cubicBezTo>
                  <a:close/>
                  <a:moveTo>
                    <a:pt x="510" y="317"/>
                  </a:moveTo>
                  <a:cubicBezTo>
                    <a:pt x="510" y="317"/>
                    <a:pt x="510" y="317"/>
                    <a:pt x="510" y="317"/>
                  </a:cubicBezTo>
                  <a:cubicBezTo>
                    <a:pt x="506" y="314"/>
                    <a:pt x="502" y="312"/>
                    <a:pt x="497" y="310"/>
                  </a:cubicBezTo>
                  <a:cubicBezTo>
                    <a:pt x="500" y="307"/>
                    <a:pt x="502" y="302"/>
                    <a:pt x="504" y="299"/>
                  </a:cubicBezTo>
                  <a:cubicBezTo>
                    <a:pt x="505" y="297"/>
                    <a:pt x="506" y="294"/>
                    <a:pt x="507" y="291"/>
                  </a:cubicBezTo>
                  <a:cubicBezTo>
                    <a:pt x="509" y="289"/>
                    <a:pt x="511" y="286"/>
                    <a:pt x="512" y="284"/>
                  </a:cubicBezTo>
                  <a:cubicBezTo>
                    <a:pt x="512" y="284"/>
                    <a:pt x="512" y="284"/>
                    <a:pt x="512" y="283"/>
                  </a:cubicBezTo>
                  <a:cubicBezTo>
                    <a:pt x="517" y="286"/>
                    <a:pt x="523" y="289"/>
                    <a:pt x="528" y="292"/>
                  </a:cubicBezTo>
                  <a:cubicBezTo>
                    <a:pt x="527" y="292"/>
                    <a:pt x="526" y="293"/>
                    <a:pt x="526" y="294"/>
                  </a:cubicBezTo>
                  <a:cubicBezTo>
                    <a:pt x="524" y="297"/>
                    <a:pt x="522" y="300"/>
                    <a:pt x="520" y="303"/>
                  </a:cubicBezTo>
                  <a:cubicBezTo>
                    <a:pt x="517" y="308"/>
                    <a:pt x="514" y="313"/>
                    <a:pt x="510" y="317"/>
                  </a:cubicBezTo>
                  <a:close/>
                  <a:moveTo>
                    <a:pt x="528" y="331"/>
                  </a:moveTo>
                  <a:cubicBezTo>
                    <a:pt x="528" y="331"/>
                    <a:pt x="528" y="331"/>
                    <a:pt x="528" y="331"/>
                  </a:cubicBezTo>
                  <a:cubicBezTo>
                    <a:pt x="525" y="328"/>
                    <a:pt x="522" y="326"/>
                    <a:pt x="519" y="323"/>
                  </a:cubicBezTo>
                  <a:cubicBezTo>
                    <a:pt x="518" y="322"/>
                    <a:pt x="516" y="321"/>
                    <a:pt x="515" y="320"/>
                  </a:cubicBezTo>
                  <a:cubicBezTo>
                    <a:pt x="518" y="316"/>
                    <a:pt x="521" y="312"/>
                    <a:pt x="524" y="308"/>
                  </a:cubicBezTo>
                  <a:cubicBezTo>
                    <a:pt x="526" y="305"/>
                    <a:pt x="528" y="302"/>
                    <a:pt x="530" y="299"/>
                  </a:cubicBezTo>
                  <a:cubicBezTo>
                    <a:pt x="531" y="297"/>
                    <a:pt x="532" y="296"/>
                    <a:pt x="533" y="294"/>
                  </a:cubicBezTo>
                  <a:cubicBezTo>
                    <a:pt x="539" y="298"/>
                    <a:pt x="545" y="302"/>
                    <a:pt x="550" y="305"/>
                  </a:cubicBezTo>
                  <a:cubicBezTo>
                    <a:pt x="550" y="306"/>
                    <a:pt x="549" y="307"/>
                    <a:pt x="549" y="307"/>
                  </a:cubicBezTo>
                  <a:cubicBezTo>
                    <a:pt x="546" y="310"/>
                    <a:pt x="544" y="313"/>
                    <a:pt x="542" y="316"/>
                  </a:cubicBezTo>
                  <a:cubicBezTo>
                    <a:pt x="539" y="321"/>
                    <a:pt x="535" y="328"/>
                    <a:pt x="528" y="331"/>
                  </a:cubicBezTo>
                  <a:cubicBezTo>
                    <a:pt x="528" y="331"/>
                    <a:pt x="528" y="331"/>
                    <a:pt x="528" y="331"/>
                  </a:cubicBezTo>
                  <a:close/>
                  <a:moveTo>
                    <a:pt x="533" y="335"/>
                  </a:moveTo>
                  <a:cubicBezTo>
                    <a:pt x="533" y="335"/>
                    <a:pt x="533" y="335"/>
                    <a:pt x="533" y="335"/>
                  </a:cubicBezTo>
                  <a:cubicBezTo>
                    <a:pt x="538" y="332"/>
                    <a:pt x="542" y="327"/>
                    <a:pt x="545" y="323"/>
                  </a:cubicBezTo>
                  <a:cubicBezTo>
                    <a:pt x="548" y="320"/>
                    <a:pt x="550" y="316"/>
                    <a:pt x="552" y="313"/>
                  </a:cubicBezTo>
                  <a:cubicBezTo>
                    <a:pt x="553" y="312"/>
                    <a:pt x="554" y="310"/>
                    <a:pt x="555" y="309"/>
                  </a:cubicBezTo>
                  <a:cubicBezTo>
                    <a:pt x="560" y="313"/>
                    <a:pt x="564" y="316"/>
                    <a:pt x="569" y="321"/>
                  </a:cubicBezTo>
                  <a:cubicBezTo>
                    <a:pt x="565" y="323"/>
                    <a:pt x="560" y="329"/>
                    <a:pt x="559" y="330"/>
                  </a:cubicBezTo>
                  <a:cubicBezTo>
                    <a:pt x="555" y="336"/>
                    <a:pt x="551" y="342"/>
                    <a:pt x="547" y="348"/>
                  </a:cubicBezTo>
                  <a:cubicBezTo>
                    <a:pt x="542" y="343"/>
                    <a:pt x="538" y="339"/>
                    <a:pt x="533" y="335"/>
                  </a:cubicBezTo>
                  <a:close/>
                  <a:moveTo>
                    <a:pt x="573" y="372"/>
                  </a:moveTo>
                  <a:cubicBezTo>
                    <a:pt x="573" y="372"/>
                    <a:pt x="573" y="372"/>
                    <a:pt x="573" y="372"/>
                  </a:cubicBezTo>
                  <a:cubicBezTo>
                    <a:pt x="570" y="370"/>
                    <a:pt x="568" y="367"/>
                    <a:pt x="566" y="365"/>
                  </a:cubicBezTo>
                  <a:cubicBezTo>
                    <a:pt x="568" y="363"/>
                    <a:pt x="571" y="360"/>
                    <a:pt x="574" y="357"/>
                  </a:cubicBezTo>
                  <a:cubicBezTo>
                    <a:pt x="576" y="355"/>
                    <a:pt x="578" y="352"/>
                    <a:pt x="581" y="350"/>
                  </a:cubicBezTo>
                  <a:cubicBezTo>
                    <a:pt x="583" y="347"/>
                    <a:pt x="585" y="346"/>
                    <a:pt x="585" y="342"/>
                  </a:cubicBezTo>
                  <a:cubicBezTo>
                    <a:pt x="585" y="342"/>
                    <a:pt x="584" y="341"/>
                    <a:pt x="584" y="341"/>
                  </a:cubicBezTo>
                  <a:cubicBezTo>
                    <a:pt x="581" y="341"/>
                    <a:pt x="579" y="343"/>
                    <a:pt x="577" y="344"/>
                  </a:cubicBezTo>
                  <a:cubicBezTo>
                    <a:pt x="575" y="347"/>
                    <a:pt x="572" y="350"/>
                    <a:pt x="570" y="352"/>
                  </a:cubicBezTo>
                  <a:cubicBezTo>
                    <a:pt x="567" y="355"/>
                    <a:pt x="565" y="358"/>
                    <a:pt x="562" y="361"/>
                  </a:cubicBezTo>
                  <a:cubicBezTo>
                    <a:pt x="559" y="358"/>
                    <a:pt x="556" y="356"/>
                    <a:pt x="553" y="353"/>
                  </a:cubicBezTo>
                  <a:cubicBezTo>
                    <a:pt x="553" y="352"/>
                    <a:pt x="552" y="352"/>
                    <a:pt x="552" y="351"/>
                  </a:cubicBezTo>
                  <a:cubicBezTo>
                    <a:pt x="555" y="345"/>
                    <a:pt x="559" y="339"/>
                    <a:pt x="564" y="334"/>
                  </a:cubicBezTo>
                  <a:cubicBezTo>
                    <a:pt x="566" y="331"/>
                    <a:pt x="569" y="328"/>
                    <a:pt x="571" y="326"/>
                  </a:cubicBezTo>
                  <a:cubicBezTo>
                    <a:pt x="572" y="326"/>
                    <a:pt x="572" y="326"/>
                    <a:pt x="573" y="325"/>
                  </a:cubicBezTo>
                  <a:cubicBezTo>
                    <a:pt x="578" y="331"/>
                    <a:pt x="582" y="337"/>
                    <a:pt x="587" y="343"/>
                  </a:cubicBezTo>
                  <a:cubicBezTo>
                    <a:pt x="590" y="348"/>
                    <a:pt x="594" y="352"/>
                    <a:pt x="597" y="357"/>
                  </a:cubicBezTo>
                  <a:cubicBezTo>
                    <a:pt x="597" y="357"/>
                    <a:pt x="597" y="357"/>
                    <a:pt x="597" y="357"/>
                  </a:cubicBezTo>
                  <a:cubicBezTo>
                    <a:pt x="592" y="356"/>
                    <a:pt x="586" y="361"/>
                    <a:pt x="583" y="364"/>
                  </a:cubicBezTo>
                  <a:cubicBezTo>
                    <a:pt x="579" y="366"/>
                    <a:pt x="576" y="369"/>
                    <a:pt x="573" y="372"/>
                  </a:cubicBezTo>
                  <a:close/>
                  <a:moveTo>
                    <a:pt x="589" y="395"/>
                  </a:moveTo>
                  <a:cubicBezTo>
                    <a:pt x="589" y="395"/>
                    <a:pt x="589" y="395"/>
                    <a:pt x="589" y="395"/>
                  </a:cubicBezTo>
                  <a:cubicBezTo>
                    <a:pt x="591" y="392"/>
                    <a:pt x="594" y="390"/>
                    <a:pt x="597" y="387"/>
                  </a:cubicBezTo>
                  <a:cubicBezTo>
                    <a:pt x="600" y="386"/>
                    <a:pt x="602" y="384"/>
                    <a:pt x="605" y="383"/>
                  </a:cubicBezTo>
                  <a:cubicBezTo>
                    <a:pt x="607" y="382"/>
                    <a:pt x="609" y="380"/>
                    <a:pt x="607" y="378"/>
                  </a:cubicBezTo>
                  <a:cubicBezTo>
                    <a:pt x="604" y="373"/>
                    <a:pt x="595" y="381"/>
                    <a:pt x="592" y="383"/>
                  </a:cubicBezTo>
                  <a:cubicBezTo>
                    <a:pt x="590" y="385"/>
                    <a:pt x="587" y="387"/>
                    <a:pt x="585" y="389"/>
                  </a:cubicBezTo>
                  <a:cubicBezTo>
                    <a:pt x="582" y="385"/>
                    <a:pt x="579" y="381"/>
                    <a:pt x="576" y="377"/>
                  </a:cubicBezTo>
                  <a:cubicBezTo>
                    <a:pt x="579" y="374"/>
                    <a:pt x="583" y="371"/>
                    <a:pt x="587" y="369"/>
                  </a:cubicBezTo>
                  <a:cubicBezTo>
                    <a:pt x="591" y="367"/>
                    <a:pt x="597" y="364"/>
                    <a:pt x="598" y="359"/>
                  </a:cubicBezTo>
                  <a:cubicBezTo>
                    <a:pt x="599" y="359"/>
                    <a:pt x="599" y="359"/>
                    <a:pt x="599" y="359"/>
                  </a:cubicBezTo>
                  <a:cubicBezTo>
                    <a:pt x="600" y="361"/>
                    <a:pt x="602" y="364"/>
                    <a:pt x="604" y="366"/>
                  </a:cubicBezTo>
                  <a:cubicBezTo>
                    <a:pt x="609" y="374"/>
                    <a:pt x="613" y="383"/>
                    <a:pt x="617" y="392"/>
                  </a:cubicBezTo>
                  <a:cubicBezTo>
                    <a:pt x="618" y="392"/>
                    <a:pt x="618" y="393"/>
                    <a:pt x="618" y="394"/>
                  </a:cubicBezTo>
                  <a:cubicBezTo>
                    <a:pt x="614" y="393"/>
                    <a:pt x="609" y="397"/>
                    <a:pt x="606" y="400"/>
                  </a:cubicBezTo>
                  <a:cubicBezTo>
                    <a:pt x="603" y="402"/>
                    <a:pt x="600" y="405"/>
                    <a:pt x="597" y="407"/>
                  </a:cubicBezTo>
                  <a:cubicBezTo>
                    <a:pt x="594" y="403"/>
                    <a:pt x="592" y="399"/>
                    <a:pt x="589" y="395"/>
                  </a:cubicBezTo>
                  <a:close/>
                  <a:moveTo>
                    <a:pt x="668" y="457"/>
                  </a:moveTo>
                  <a:cubicBezTo>
                    <a:pt x="668" y="457"/>
                    <a:pt x="668" y="457"/>
                    <a:pt x="668" y="457"/>
                  </a:cubicBezTo>
                  <a:cubicBezTo>
                    <a:pt x="666" y="454"/>
                    <a:pt x="665" y="451"/>
                    <a:pt x="662" y="448"/>
                  </a:cubicBezTo>
                  <a:cubicBezTo>
                    <a:pt x="653" y="437"/>
                    <a:pt x="637" y="430"/>
                    <a:pt x="624" y="438"/>
                  </a:cubicBezTo>
                  <a:cubicBezTo>
                    <a:pt x="618" y="441"/>
                    <a:pt x="614" y="448"/>
                    <a:pt x="613" y="454"/>
                  </a:cubicBezTo>
                  <a:cubicBezTo>
                    <a:pt x="611" y="462"/>
                    <a:pt x="613" y="470"/>
                    <a:pt x="614" y="477"/>
                  </a:cubicBezTo>
                  <a:cubicBezTo>
                    <a:pt x="615" y="478"/>
                    <a:pt x="615" y="478"/>
                    <a:pt x="615" y="478"/>
                  </a:cubicBezTo>
                  <a:cubicBezTo>
                    <a:pt x="615" y="481"/>
                    <a:pt x="615" y="479"/>
                    <a:pt x="615" y="479"/>
                  </a:cubicBezTo>
                  <a:cubicBezTo>
                    <a:pt x="615" y="479"/>
                    <a:pt x="614" y="479"/>
                    <a:pt x="614" y="479"/>
                  </a:cubicBezTo>
                  <a:cubicBezTo>
                    <a:pt x="614" y="479"/>
                    <a:pt x="614" y="479"/>
                    <a:pt x="614" y="479"/>
                  </a:cubicBezTo>
                  <a:cubicBezTo>
                    <a:pt x="614" y="479"/>
                    <a:pt x="614" y="479"/>
                    <a:pt x="614" y="479"/>
                  </a:cubicBezTo>
                  <a:cubicBezTo>
                    <a:pt x="614" y="479"/>
                    <a:pt x="614" y="479"/>
                    <a:pt x="614" y="479"/>
                  </a:cubicBezTo>
                  <a:cubicBezTo>
                    <a:pt x="614" y="479"/>
                    <a:pt x="614" y="479"/>
                    <a:pt x="614" y="480"/>
                  </a:cubicBezTo>
                  <a:cubicBezTo>
                    <a:pt x="613" y="480"/>
                    <a:pt x="612" y="480"/>
                    <a:pt x="612" y="480"/>
                  </a:cubicBezTo>
                  <a:cubicBezTo>
                    <a:pt x="611" y="480"/>
                    <a:pt x="610" y="480"/>
                    <a:pt x="609" y="480"/>
                  </a:cubicBezTo>
                  <a:cubicBezTo>
                    <a:pt x="605" y="481"/>
                    <a:pt x="601" y="480"/>
                    <a:pt x="598" y="480"/>
                  </a:cubicBezTo>
                  <a:cubicBezTo>
                    <a:pt x="598" y="479"/>
                    <a:pt x="598" y="478"/>
                    <a:pt x="598" y="477"/>
                  </a:cubicBezTo>
                  <a:cubicBezTo>
                    <a:pt x="598" y="474"/>
                    <a:pt x="598" y="471"/>
                    <a:pt x="598" y="467"/>
                  </a:cubicBezTo>
                  <a:cubicBezTo>
                    <a:pt x="599" y="461"/>
                    <a:pt x="601" y="455"/>
                    <a:pt x="603" y="449"/>
                  </a:cubicBezTo>
                  <a:cubicBezTo>
                    <a:pt x="608" y="438"/>
                    <a:pt x="617" y="426"/>
                    <a:pt x="629" y="423"/>
                  </a:cubicBezTo>
                  <a:cubicBezTo>
                    <a:pt x="639" y="421"/>
                    <a:pt x="650" y="427"/>
                    <a:pt x="657" y="434"/>
                  </a:cubicBezTo>
                  <a:cubicBezTo>
                    <a:pt x="661" y="439"/>
                    <a:pt x="665" y="444"/>
                    <a:pt x="667" y="450"/>
                  </a:cubicBezTo>
                  <a:cubicBezTo>
                    <a:pt x="668" y="453"/>
                    <a:pt x="668" y="456"/>
                    <a:pt x="669" y="459"/>
                  </a:cubicBezTo>
                  <a:cubicBezTo>
                    <a:pt x="669" y="458"/>
                    <a:pt x="668" y="457"/>
                    <a:pt x="668" y="457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ïṩḻíďê"/>
            <p:cNvSpPr/>
            <p:nvPr/>
          </p:nvSpPr>
          <p:spPr bwMode="auto">
            <a:xfrm>
              <a:off x="5325554" y="1633451"/>
              <a:ext cx="1371942" cy="1768279"/>
            </a:xfrm>
            <a:custGeom>
              <a:avLst/>
              <a:gdLst>
                <a:gd name="T0" fmla="*/ 59 w 195"/>
                <a:gd name="T1" fmla="*/ 249 h 251"/>
                <a:gd name="T2" fmla="*/ 59 w 195"/>
                <a:gd name="T3" fmla="*/ 249 h 251"/>
                <a:gd name="T4" fmla="*/ 14 w 195"/>
                <a:gd name="T5" fmla="*/ 231 h 251"/>
                <a:gd name="T6" fmla="*/ 5 w 195"/>
                <a:gd name="T7" fmla="*/ 199 h 251"/>
                <a:gd name="T8" fmla="*/ 29 w 195"/>
                <a:gd name="T9" fmla="*/ 178 h 251"/>
                <a:gd name="T10" fmla="*/ 29 w 195"/>
                <a:gd name="T11" fmla="*/ 174 h 251"/>
                <a:gd name="T12" fmla="*/ 109 w 195"/>
                <a:gd name="T13" fmla="*/ 152 h 251"/>
                <a:gd name="T14" fmla="*/ 163 w 195"/>
                <a:gd name="T15" fmla="*/ 164 h 251"/>
                <a:gd name="T16" fmla="*/ 181 w 195"/>
                <a:gd name="T17" fmla="*/ 177 h 251"/>
                <a:gd name="T18" fmla="*/ 189 w 195"/>
                <a:gd name="T19" fmla="*/ 186 h 251"/>
                <a:gd name="T20" fmla="*/ 194 w 195"/>
                <a:gd name="T21" fmla="*/ 194 h 251"/>
                <a:gd name="T22" fmla="*/ 192 w 195"/>
                <a:gd name="T23" fmla="*/ 212 h 251"/>
                <a:gd name="T24" fmla="*/ 172 w 195"/>
                <a:gd name="T25" fmla="*/ 233 h 251"/>
                <a:gd name="T26" fmla="*/ 122 w 195"/>
                <a:gd name="T27" fmla="*/ 250 h 251"/>
                <a:gd name="T28" fmla="*/ 59 w 195"/>
                <a:gd name="T29" fmla="*/ 249 h 251"/>
                <a:gd name="T30" fmla="*/ 99 w 195"/>
                <a:gd name="T31" fmla="*/ 1 h 251"/>
                <a:gd name="T32" fmla="*/ 99 w 195"/>
                <a:gd name="T33" fmla="*/ 1 h 251"/>
                <a:gd name="T34" fmla="*/ 100 w 195"/>
                <a:gd name="T35" fmla="*/ 0 h 251"/>
                <a:gd name="T36" fmla="*/ 112 w 195"/>
                <a:gd name="T37" fmla="*/ 0 h 251"/>
                <a:gd name="T38" fmla="*/ 124 w 195"/>
                <a:gd name="T39" fmla="*/ 4 h 251"/>
                <a:gd name="T40" fmla="*/ 119 w 195"/>
                <a:gd name="T41" fmla="*/ 18 h 251"/>
                <a:gd name="T42" fmla="*/ 108 w 195"/>
                <a:gd name="T43" fmla="*/ 18 h 251"/>
                <a:gd name="T44" fmla="*/ 104 w 195"/>
                <a:gd name="T45" fmla="*/ 15 h 251"/>
                <a:gd name="T46" fmla="*/ 102 w 195"/>
                <a:gd name="T47" fmla="*/ 12 h 251"/>
                <a:gd name="T48" fmla="*/ 99 w 195"/>
                <a:gd name="T49" fmla="*/ 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251">
                  <a:moveTo>
                    <a:pt x="59" y="249"/>
                  </a:moveTo>
                  <a:cubicBezTo>
                    <a:pt x="59" y="249"/>
                    <a:pt x="59" y="249"/>
                    <a:pt x="59" y="249"/>
                  </a:cubicBezTo>
                  <a:cubicBezTo>
                    <a:pt x="43" y="248"/>
                    <a:pt x="25" y="243"/>
                    <a:pt x="14" y="231"/>
                  </a:cubicBezTo>
                  <a:cubicBezTo>
                    <a:pt x="6" y="222"/>
                    <a:pt x="0" y="210"/>
                    <a:pt x="5" y="199"/>
                  </a:cubicBezTo>
                  <a:cubicBezTo>
                    <a:pt x="10" y="188"/>
                    <a:pt x="22" y="185"/>
                    <a:pt x="29" y="178"/>
                  </a:cubicBezTo>
                  <a:cubicBezTo>
                    <a:pt x="31" y="177"/>
                    <a:pt x="30" y="175"/>
                    <a:pt x="29" y="174"/>
                  </a:cubicBezTo>
                  <a:cubicBezTo>
                    <a:pt x="54" y="161"/>
                    <a:pt x="81" y="151"/>
                    <a:pt x="109" y="152"/>
                  </a:cubicBezTo>
                  <a:cubicBezTo>
                    <a:pt x="127" y="152"/>
                    <a:pt x="146" y="157"/>
                    <a:pt x="163" y="164"/>
                  </a:cubicBezTo>
                  <a:cubicBezTo>
                    <a:pt x="170" y="167"/>
                    <a:pt x="176" y="171"/>
                    <a:pt x="181" y="177"/>
                  </a:cubicBezTo>
                  <a:cubicBezTo>
                    <a:pt x="184" y="179"/>
                    <a:pt x="186" y="183"/>
                    <a:pt x="189" y="186"/>
                  </a:cubicBezTo>
                  <a:cubicBezTo>
                    <a:pt x="191" y="189"/>
                    <a:pt x="192" y="192"/>
                    <a:pt x="194" y="194"/>
                  </a:cubicBezTo>
                  <a:cubicBezTo>
                    <a:pt x="195" y="200"/>
                    <a:pt x="195" y="206"/>
                    <a:pt x="192" y="212"/>
                  </a:cubicBezTo>
                  <a:cubicBezTo>
                    <a:pt x="187" y="220"/>
                    <a:pt x="180" y="227"/>
                    <a:pt x="172" y="233"/>
                  </a:cubicBezTo>
                  <a:cubicBezTo>
                    <a:pt x="158" y="243"/>
                    <a:pt x="140" y="250"/>
                    <a:pt x="122" y="250"/>
                  </a:cubicBezTo>
                  <a:cubicBezTo>
                    <a:pt x="101" y="251"/>
                    <a:pt x="80" y="251"/>
                    <a:pt x="59" y="249"/>
                  </a:cubicBezTo>
                  <a:close/>
                  <a:moveTo>
                    <a:pt x="99" y="1"/>
                  </a:move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100" y="0"/>
                    <a:pt x="100" y="0"/>
                  </a:cubicBezTo>
                  <a:cubicBezTo>
                    <a:pt x="104" y="1"/>
                    <a:pt x="108" y="0"/>
                    <a:pt x="112" y="0"/>
                  </a:cubicBezTo>
                  <a:cubicBezTo>
                    <a:pt x="116" y="1"/>
                    <a:pt x="121" y="2"/>
                    <a:pt x="124" y="4"/>
                  </a:cubicBezTo>
                  <a:cubicBezTo>
                    <a:pt x="129" y="9"/>
                    <a:pt x="125" y="16"/>
                    <a:pt x="119" y="18"/>
                  </a:cubicBezTo>
                  <a:cubicBezTo>
                    <a:pt x="116" y="20"/>
                    <a:pt x="112" y="20"/>
                    <a:pt x="108" y="18"/>
                  </a:cubicBezTo>
                  <a:cubicBezTo>
                    <a:pt x="107" y="16"/>
                    <a:pt x="106" y="15"/>
                    <a:pt x="104" y="15"/>
                  </a:cubicBezTo>
                  <a:cubicBezTo>
                    <a:pt x="103" y="14"/>
                    <a:pt x="102" y="13"/>
                    <a:pt x="102" y="12"/>
                  </a:cubicBezTo>
                  <a:cubicBezTo>
                    <a:pt x="100" y="9"/>
                    <a:pt x="99" y="5"/>
                    <a:pt x="9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iŝ1iḓê"/>
            <p:cNvSpPr/>
            <p:nvPr/>
          </p:nvSpPr>
          <p:spPr bwMode="auto">
            <a:xfrm>
              <a:off x="5671080" y="2815692"/>
              <a:ext cx="1260153" cy="586040"/>
            </a:xfrm>
            <a:custGeom>
              <a:avLst/>
              <a:gdLst>
                <a:gd name="T0" fmla="*/ 10 w 179"/>
                <a:gd name="T1" fmla="*/ 81 h 83"/>
                <a:gd name="T2" fmla="*/ 10 w 179"/>
                <a:gd name="T3" fmla="*/ 81 h 83"/>
                <a:gd name="T4" fmla="*/ 0 w 179"/>
                <a:gd name="T5" fmla="*/ 80 h 83"/>
                <a:gd name="T6" fmla="*/ 122 w 179"/>
                <a:gd name="T7" fmla="*/ 0 h 83"/>
                <a:gd name="T8" fmla="*/ 132 w 179"/>
                <a:gd name="T9" fmla="*/ 9 h 83"/>
                <a:gd name="T10" fmla="*/ 140 w 179"/>
                <a:gd name="T11" fmla="*/ 18 h 83"/>
                <a:gd name="T12" fmla="*/ 145 w 179"/>
                <a:gd name="T13" fmla="*/ 26 h 83"/>
                <a:gd name="T14" fmla="*/ 143 w 179"/>
                <a:gd name="T15" fmla="*/ 44 h 83"/>
                <a:gd name="T16" fmla="*/ 123 w 179"/>
                <a:gd name="T17" fmla="*/ 65 h 83"/>
                <a:gd name="T18" fmla="*/ 73 w 179"/>
                <a:gd name="T19" fmla="*/ 82 h 83"/>
                <a:gd name="T20" fmla="*/ 10 w 179"/>
                <a:gd name="T21" fmla="*/ 8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9" h="83">
                  <a:moveTo>
                    <a:pt x="10" y="81"/>
                  </a:moveTo>
                  <a:cubicBezTo>
                    <a:pt x="10" y="81"/>
                    <a:pt x="10" y="81"/>
                    <a:pt x="10" y="81"/>
                  </a:cubicBezTo>
                  <a:cubicBezTo>
                    <a:pt x="7" y="81"/>
                    <a:pt x="3" y="80"/>
                    <a:pt x="0" y="80"/>
                  </a:cubicBezTo>
                  <a:cubicBezTo>
                    <a:pt x="179" y="75"/>
                    <a:pt x="122" y="0"/>
                    <a:pt x="122" y="0"/>
                  </a:cubicBezTo>
                  <a:cubicBezTo>
                    <a:pt x="126" y="2"/>
                    <a:pt x="129" y="5"/>
                    <a:pt x="132" y="9"/>
                  </a:cubicBezTo>
                  <a:cubicBezTo>
                    <a:pt x="135" y="11"/>
                    <a:pt x="137" y="15"/>
                    <a:pt x="140" y="18"/>
                  </a:cubicBezTo>
                  <a:cubicBezTo>
                    <a:pt x="142" y="21"/>
                    <a:pt x="143" y="24"/>
                    <a:pt x="145" y="26"/>
                  </a:cubicBezTo>
                  <a:cubicBezTo>
                    <a:pt x="146" y="32"/>
                    <a:pt x="146" y="38"/>
                    <a:pt x="143" y="44"/>
                  </a:cubicBezTo>
                  <a:cubicBezTo>
                    <a:pt x="138" y="52"/>
                    <a:pt x="131" y="59"/>
                    <a:pt x="123" y="65"/>
                  </a:cubicBezTo>
                  <a:cubicBezTo>
                    <a:pt x="109" y="75"/>
                    <a:pt x="91" y="82"/>
                    <a:pt x="73" y="82"/>
                  </a:cubicBezTo>
                  <a:cubicBezTo>
                    <a:pt x="52" y="83"/>
                    <a:pt x="31" y="83"/>
                    <a:pt x="10" y="81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ï$lîďè"/>
            <p:cNvSpPr/>
            <p:nvPr/>
          </p:nvSpPr>
          <p:spPr bwMode="auto">
            <a:xfrm>
              <a:off x="7893285" y="4495895"/>
              <a:ext cx="501351" cy="423439"/>
            </a:xfrm>
            <a:custGeom>
              <a:avLst/>
              <a:gdLst>
                <a:gd name="T0" fmla="*/ 70 w 71"/>
                <a:gd name="T1" fmla="*/ 36 h 60"/>
                <a:gd name="T2" fmla="*/ 70 w 71"/>
                <a:gd name="T3" fmla="*/ 36 h 60"/>
                <a:gd name="T4" fmla="*/ 64 w 71"/>
                <a:gd name="T5" fmla="*/ 27 h 60"/>
                <a:gd name="T6" fmla="*/ 26 w 71"/>
                <a:gd name="T7" fmla="*/ 17 h 60"/>
                <a:gd name="T8" fmla="*/ 15 w 71"/>
                <a:gd name="T9" fmla="*/ 33 h 60"/>
                <a:gd name="T10" fmla="*/ 16 w 71"/>
                <a:gd name="T11" fmla="*/ 56 h 60"/>
                <a:gd name="T12" fmla="*/ 17 w 71"/>
                <a:gd name="T13" fmla="*/ 57 h 60"/>
                <a:gd name="T14" fmla="*/ 17 w 71"/>
                <a:gd name="T15" fmla="*/ 58 h 60"/>
                <a:gd name="T16" fmla="*/ 16 w 71"/>
                <a:gd name="T17" fmla="*/ 58 h 60"/>
                <a:gd name="T18" fmla="*/ 16 w 71"/>
                <a:gd name="T19" fmla="*/ 58 h 60"/>
                <a:gd name="T20" fmla="*/ 16 w 71"/>
                <a:gd name="T21" fmla="*/ 58 h 60"/>
                <a:gd name="T22" fmla="*/ 16 w 71"/>
                <a:gd name="T23" fmla="*/ 58 h 60"/>
                <a:gd name="T24" fmla="*/ 16 w 71"/>
                <a:gd name="T25" fmla="*/ 59 h 60"/>
                <a:gd name="T26" fmla="*/ 14 w 71"/>
                <a:gd name="T27" fmla="*/ 59 h 60"/>
                <a:gd name="T28" fmla="*/ 11 w 71"/>
                <a:gd name="T29" fmla="*/ 59 h 60"/>
                <a:gd name="T30" fmla="*/ 0 w 71"/>
                <a:gd name="T31" fmla="*/ 59 h 60"/>
                <a:gd name="T32" fmla="*/ 0 w 71"/>
                <a:gd name="T33" fmla="*/ 56 h 60"/>
                <a:gd name="T34" fmla="*/ 0 w 71"/>
                <a:gd name="T35" fmla="*/ 46 h 60"/>
                <a:gd name="T36" fmla="*/ 5 w 71"/>
                <a:gd name="T37" fmla="*/ 28 h 60"/>
                <a:gd name="T38" fmla="*/ 31 w 71"/>
                <a:gd name="T39" fmla="*/ 2 h 60"/>
                <a:gd name="T40" fmla="*/ 59 w 71"/>
                <a:gd name="T41" fmla="*/ 13 h 60"/>
                <a:gd name="T42" fmla="*/ 69 w 71"/>
                <a:gd name="T43" fmla="*/ 29 h 60"/>
                <a:gd name="T44" fmla="*/ 71 w 71"/>
                <a:gd name="T45" fmla="*/ 38 h 60"/>
                <a:gd name="T46" fmla="*/ 70 w 71"/>
                <a:gd name="T47" fmla="*/ 3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60">
                  <a:moveTo>
                    <a:pt x="70" y="36"/>
                  </a:moveTo>
                  <a:cubicBezTo>
                    <a:pt x="70" y="36"/>
                    <a:pt x="70" y="36"/>
                    <a:pt x="70" y="36"/>
                  </a:cubicBezTo>
                  <a:cubicBezTo>
                    <a:pt x="68" y="33"/>
                    <a:pt x="67" y="30"/>
                    <a:pt x="64" y="27"/>
                  </a:cubicBezTo>
                  <a:cubicBezTo>
                    <a:pt x="55" y="16"/>
                    <a:pt x="39" y="9"/>
                    <a:pt x="26" y="17"/>
                  </a:cubicBezTo>
                  <a:cubicBezTo>
                    <a:pt x="20" y="20"/>
                    <a:pt x="16" y="27"/>
                    <a:pt x="15" y="33"/>
                  </a:cubicBezTo>
                  <a:cubicBezTo>
                    <a:pt x="13" y="41"/>
                    <a:pt x="15" y="49"/>
                    <a:pt x="16" y="56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60"/>
                    <a:pt x="17" y="58"/>
                    <a:pt x="17" y="58"/>
                  </a:cubicBezTo>
                  <a:cubicBezTo>
                    <a:pt x="17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9"/>
                  </a:cubicBezTo>
                  <a:cubicBezTo>
                    <a:pt x="15" y="59"/>
                    <a:pt x="14" y="59"/>
                    <a:pt x="14" y="59"/>
                  </a:cubicBezTo>
                  <a:cubicBezTo>
                    <a:pt x="13" y="59"/>
                    <a:pt x="12" y="59"/>
                    <a:pt x="11" y="59"/>
                  </a:cubicBezTo>
                  <a:cubicBezTo>
                    <a:pt x="7" y="60"/>
                    <a:pt x="3" y="59"/>
                    <a:pt x="0" y="59"/>
                  </a:cubicBezTo>
                  <a:cubicBezTo>
                    <a:pt x="0" y="58"/>
                    <a:pt x="0" y="57"/>
                    <a:pt x="0" y="56"/>
                  </a:cubicBezTo>
                  <a:cubicBezTo>
                    <a:pt x="0" y="53"/>
                    <a:pt x="0" y="50"/>
                    <a:pt x="0" y="46"/>
                  </a:cubicBezTo>
                  <a:cubicBezTo>
                    <a:pt x="1" y="40"/>
                    <a:pt x="3" y="34"/>
                    <a:pt x="5" y="28"/>
                  </a:cubicBezTo>
                  <a:cubicBezTo>
                    <a:pt x="10" y="17"/>
                    <a:pt x="19" y="5"/>
                    <a:pt x="31" y="2"/>
                  </a:cubicBezTo>
                  <a:cubicBezTo>
                    <a:pt x="41" y="0"/>
                    <a:pt x="52" y="6"/>
                    <a:pt x="59" y="13"/>
                  </a:cubicBezTo>
                  <a:cubicBezTo>
                    <a:pt x="63" y="18"/>
                    <a:pt x="67" y="23"/>
                    <a:pt x="69" y="29"/>
                  </a:cubicBezTo>
                  <a:cubicBezTo>
                    <a:pt x="70" y="32"/>
                    <a:pt x="70" y="35"/>
                    <a:pt x="71" y="38"/>
                  </a:cubicBezTo>
                  <a:cubicBezTo>
                    <a:pt x="71" y="37"/>
                    <a:pt x="70" y="36"/>
                    <a:pt x="70" y="36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îṣ1îdé"/>
            <p:cNvSpPr/>
            <p:nvPr/>
          </p:nvSpPr>
          <p:spPr bwMode="auto">
            <a:xfrm>
              <a:off x="4072176" y="3483030"/>
              <a:ext cx="4010810" cy="1764892"/>
            </a:xfrm>
            <a:custGeom>
              <a:avLst/>
              <a:gdLst>
                <a:gd name="T0" fmla="*/ 542 w 570"/>
                <a:gd name="T1" fmla="*/ 110 h 251"/>
                <a:gd name="T2" fmla="*/ 537 w 570"/>
                <a:gd name="T3" fmla="*/ 106 h 251"/>
                <a:gd name="T4" fmla="*/ 532 w 570"/>
                <a:gd name="T5" fmla="*/ 92 h 251"/>
                <a:gd name="T6" fmla="*/ 549 w 570"/>
                <a:gd name="T7" fmla="*/ 89 h 251"/>
                <a:gd name="T8" fmla="*/ 551 w 570"/>
                <a:gd name="T9" fmla="*/ 123 h 251"/>
                <a:gd name="T10" fmla="*/ 191 w 570"/>
                <a:gd name="T11" fmla="*/ 237 h 251"/>
                <a:gd name="T12" fmla="*/ 352 w 570"/>
                <a:gd name="T13" fmla="*/ 238 h 251"/>
                <a:gd name="T14" fmla="*/ 314 w 570"/>
                <a:gd name="T15" fmla="*/ 250 h 251"/>
                <a:gd name="T16" fmla="*/ 190 w 570"/>
                <a:gd name="T17" fmla="*/ 251 h 251"/>
                <a:gd name="T18" fmla="*/ 191 w 570"/>
                <a:gd name="T19" fmla="*/ 237 h 251"/>
                <a:gd name="T20" fmla="*/ 114 w 570"/>
                <a:gd name="T21" fmla="*/ 7 h 251"/>
                <a:gd name="T22" fmla="*/ 3 w 570"/>
                <a:gd name="T23" fmla="*/ 120 h 251"/>
                <a:gd name="T24" fmla="*/ 24 w 570"/>
                <a:gd name="T25" fmla="*/ 129 h 251"/>
                <a:gd name="T26" fmla="*/ 3 w 570"/>
                <a:gd name="T27" fmla="*/ 120 h 251"/>
                <a:gd name="T28" fmla="*/ 17 w 570"/>
                <a:gd name="T29" fmla="*/ 120 h 251"/>
                <a:gd name="T30" fmla="*/ 9 w 570"/>
                <a:gd name="T31" fmla="*/ 100 h 251"/>
                <a:gd name="T32" fmla="*/ 25 w 570"/>
                <a:gd name="T33" fmla="*/ 124 h 251"/>
                <a:gd name="T34" fmla="*/ 31 w 570"/>
                <a:gd name="T35" fmla="*/ 107 h 251"/>
                <a:gd name="T36" fmla="*/ 15 w 570"/>
                <a:gd name="T37" fmla="*/ 87 h 251"/>
                <a:gd name="T38" fmla="*/ 42 w 570"/>
                <a:gd name="T39" fmla="*/ 87 h 251"/>
                <a:gd name="T40" fmla="*/ 54 w 570"/>
                <a:gd name="T41" fmla="*/ 72 h 251"/>
                <a:gd name="T42" fmla="*/ 25 w 570"/>
                <a:gd name="T43" fmla="*/ 71 h 251"/>
                <a:gd name="T44" fmla="*/ 51 w 570"/>
                <a:gd name="T45" fmla="*/ 67 h 251"/>
                <a:gd name="T46" fmla="*/ 60 w 570"/>
                <a:gd name="T47" fmla="*/ 66 h 251"/>
                <a:gd name="T48" fmla="*/ 37 w 570"/>
                <a:gd name="T49" fmla="*/ 55 h 251"/>
                <a:gd name="T50" fmla="*/ 67 w 570"/>
                <a:gd name="T51" fmla="*/ 49 h 251"/>
                <a:gd name="T52" fmla="*/ 84 w 570"/>
                <a:gd name="T53" fmla="*/ 47 h 251"/>
                <a:gd name="T54" fmla="*/ 73 w 570"/>
                <a:gd name="T55" fmla="*/ 47 h 251"/>
                <a:gd name="T56" fmla="*/ 78 w 570"/>
                <a:gd name="T57" fmla="*/ 21 h 251"/>
                <a:gd name="T58" fmla="*/ 84 w 570"/>
                <a:gd name="T59" fmla="*/ 47 h 251"/>
                <a:gd name="T60" fmla="*/ 102 w 570"/>
                <a:gd name="T61" fmla="*/ 38 h 251"/>
                <a:gd name="T62" fmla="*/ 100 w 570"/>
                <a:gd name="T63" fmla="*/ 6 h 251"/>
                <a:gd name="T64" fmla="*/ 114 w 570"/>
                <a:gd name="T65" fmla="*/ 20 h 251"/>
                <a:gd name="T66" fmla="*/ 104 w 570"/>
                <a:gd name="T67" fmla="*/ 37 h 251"/>
                <a:gd name="T68" fmla="*/ 570 w 570"/>
                <a:gd name="T69" fmla="*/ 133 h 251"/>
                <a:gd name="T70" fmla="*/ 552 w 570"/>
                <a:gd name="T71" fmla="*/ 130 h 251"/>
                <a:gd name="T72" fmla="*/ 568 w 570"/>
                <a:gd name="T73" fmla="*/ 127 h 251"/>
                <a:gd name="T74" fmla="*/ 437 w 570"/>
                <a:gd name="T75" fmla="*/ 30 h 251"/>
                <a:gd name="T76" fmla="*/ 440 w 570"/>
                <a:gd name="T77" fmla="*/ 1 h 251"/>
                <a:gd name="T78" fmla="*/ 444 w 570"/>
                <a:gd name="T79" fmla="*/ 16 h 251"/>
                <a:gd name="T80" fmla="*/ 455 w 570"/>
                <a:gd name="T81" fmla="*/ 40 h 251"/>
                <a:gd name="T82" fmla="*/ 452 w 570"/>
                <a:gd name="T83" fmla="*/ 14 h 251"/>
                <a:gd name="T84" fmla="*/ 473 w 570"/>
                <a:gd name="T85" fmla="*/ 15 h 251"/>
                <a:gd name="T86" fmla="*/ 455 w 570"/>
                <a:gd name="T87" fmla="*/ 40 h 251"/>
                <a:gd name="T88" fmla="*/ 464 w 570"/>
                <a:gd name="T89" fmla="*/ 46 h 251"/>
                <a:gd name="T90" fmla="*/ 475 w 570"/>
                <a:gd name="T91" fmla="*/ 22 h 251"/>
                <a:gd name="T92" fmla="*/ 494 w 570"/>
                <a:gd name="T93" fmla="*/ 30 h 251"/>
                <a:gd name="T94" fmla="*/ 473 w 570"/>
                <a:gd name="T95" fmla="*/ 54 h 251"/>
                <a:gd name="T96" fmla="*/ 490 w 570"/>
                <a:gd name="T97" fmla="*/ 46 h 251"/>
                <a:gd name="T98" fmla="*/ 514 w 570"/>
                <a:gd name="T99" fmla="*/ 44 h 251"/>
                <a:gd name="T100" fmla="*/ 478 w 570"/>
                <a:gd name="T101" fmla="*/ 58 h 251"/>
                <a:gd name="T102" fmla="*/ 511 w 570"/>
                <a:gd name="T103" fmla="*/ 88 h 251"/>
                <a:gd name="T104" fmla="*/ 530 w 570"/>
                <a:gd name="T105" fmla="*/ 65 h 251"/>
                <a:gd name="T106" fmla="*/ 515 w 570"/>
                <a:gd name="T107" fmla="*/ 75 h 251"/>
                <a:gd name="T108" fmla="*/ 497 w 570"/>
                <a:gd name="T109" fmla="*/ 74 h 251"/>
                <a:gd name="T110" fmla="*/ 518 w 570"/>
                <a:gd name="T111" fmla="*/ 48 h 251"/>
                <a:gd name="T112" fmla="*/ 542 w 570"/>
                <a:gd name="T113" fmla="*/ 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0" h="251">
                  <a:moveTo>
                    <a:pt x="534" y="118"/>
                  </a:moveTo>
                  <a:cubicBezTo>
                    <a:pt x="534" y="118"/>
                    <a:pt x="534" y="118"/>
                    <a:pt x="534" y="118"/>
                  </a:cubicBezTo>
                  <a:cubicBezTo>
                    <a:pt x="536" y="115"/>
                    <a:pt x="539" y="113"/>
                    <a:pt x="542" y="110"/>
                  </a:cubicBezTo>
                  <a:cubicBezTo>
                    <a:pt x="545" y="109"/>
                    <a:pt x="547" y="107"/>
                    <a:pt x="550" y="106"/>
                  </a:cubicBezTo>
                  <a:cubicBezTo>
                    <a:pt x="552" y="105"/>
                    <a:pt x="554" y="103"/>
                    <a:pt x="552" y="101"/>
                  </a:cubicBezTo>
                  <a:cubicBezTo>
                    <a:pt x="549" y="96"/>
                    <a:pt x="540" y="104"/>
                    <a:pt x="537" y="106"/>
                  </a:cubicBezTo>
                  <a:cubicBezTo>
                    <a:pt x="535" y="108"/>
                    <a:pt x="532" y="110"/>
                    <a:pt x="530" y="112"/>
                  </a:cubicBezTo>
                  <a:cubicBezTo>
                    <a:pt x="527" y="108"/>
                    <a:pt x="524" y="104"/>
                    <a:pt x="521" y="100"/>
                  </a:cubicBezTo>
                  <a:cubicBezTo>
                    <a:pt x="524" y="97"/>
                    <a:pt x="528" y="94"/>
                    <a:pt x="532" y="92"/>
                  </a:cubicBezTo>
                  <a:cubicBezTo>
                    <a:pt x="536" y="90"/>
                    <a:pt x="542" y="87"/>
                    <a:pt x="543" y="82"/>
                  </a:cubicBezTo>
                  <a:cubicBezTo>
                    <a:pt x="544" y="82"/>
                    <a:pt x="544" y="82"/>
                    <a:pt x="544" y="82"/>
                  </a:cubicBezTo>
                  <a:cubicBezTo>
                    <a:pt x="545" y="84"/>
                    <a:pt x="547" y="87"/>
                    <a:pt x="549" y="89"/>
                  </a:cubicBezTo>
                  <a:cubicBezTo>
                    <a:pt x="554" y="97"/>
                    <a:pt x="558" y="106"/>
                    <a:pt x="562" y="115"/>
                  </a:cubicBezTo>
                  <a:cubicBezTo>
                    <a:pt x="563" y="115"/>
                    <a:pt x="563" y="116"/>
                    <a:pt x="563" y="117"/>
                  </a:cubicBezTo>
                  <a:cubicBezTo>
                    <a:pt x="559" y="116"/>
                    <a:pt x="554" y="120"/>
                    <a:pt x="551" y="123"/>
                  </a:cubicBezTo>
                  <a:cubicBezTo>
                    <a:pt x="548" y="125"/>
                    <a:pt x="545" y="128"/>
                    <a:pt x="542" y="130"/>
                  </a:cubicBezTo>
                  <a:cubicBezTo>
                    <a:pt x="539" y="126"/>
                    <a:pt x="537" y="122"/>
                    <a:pt x="534" y="118"/>
                  </a:cubicBezTo>
                  <a:close/>
                  <a:moveTo>
                    <a:pt x="191" y="237"/>
                  </a:moveTo>
                  <a:cubicBezTo>
                    <a:pt x="191" y="237"/>
                    <a:pt x="191" y="237"/>
                    <a:pt x="191" y="237"/>
                  </a:cubicBezTo>
                  <a:cubicBezTo>
                    <a:pt x="206" y="237"/>
                    <a:pt x="222" y="236"/>
                    <a:pt x="237" y="236"/>
                  </a:cubicBezTo>
                  <a:cubicBezTo>
                    <a:pt x="276" y="237"/>
                    <a:pt x="314" y="240"/>
                    <a:pt x="352" y="238"/>
                  </a:cubicBezTo>
                  <a:cubicBezTo>
                    <a:pt x="352" y="241"/>
                    <a:pt x="353" y="243"/>
                    <a:pt x="353" y="246"/>
                  </a:cubicBezTo>
                  <a:cubicBezTo>
                    <a:pt x="353" y="247"/>
                    <a:pt x="353" y="248"/>
                    <a:pt x="353" y="250"/>
                  </a:cubicBezTo>
                  <a:cubicBezTo>
                    <a:pt x="340" y="250"/>
                    <a:pt x="327" y="250"/>
                    <a:pt x="314" y="250"/>
                  </a:cubicBezTo>
                  <a:cubicBezTo>
                    <a:pt x="292" y="251"/>
                    <a:pt x="270" y="250"/>
                    <a:pt x="247" y="250"/>
                  </a:cubicBezTo>
                  <a:cubicBezTo>
                    <a:pt x="230" y="250"/>
                    <a:pt x="213" y="250"/>
                    <a:pt x="196" y="251"/>
                  </a:cubicBezTo>
                  <a:cubicBezTo>
                    <a:pt x="194" y="251"/>
                    <a:pt x="192" y="251"/>
                    <a:pt x="190" y="251"/>
                  </a:cubicBezTo>
                  <a:cubicBezTo>
                    <a:pt x="190" y="251"/>
                    <a:pt x="190" y="250"/>
                    <a:pt x="190" y="250"/>
                  </a:cubicBezTo>
                  <a:cubicBezTo>
                    <a:pt x="190" y="248"/>
                    <a:pt x="191" y="245"/>
                    <a:pt x="191" y="242"/>
                  </a:cubicBezTo>
                  <a:cubicBezTo>
                    <a:pt x="191" y="240"/>
                    <a:pt x="191" y="239"/>
                    <a:pt x="191" y="237"/>
                  </a:cubicBezTo>
                  <a:close/>
                  <a:moveTo>
                    <a:pt x="114" y="1"/>
                  </a:moveTo>
                  <a:cubicBezTo>
                    <a:pt x="114" y="1"/>
                    <a:pt x="114" y="1"/>
                    <a:pt x="114" y="1"/>
                  </a:cubicBezTo>
                  <a:cubicBezTo>
                    <a:pt x="114" y="3"/>
                    <a:pt x="114" y="5"/>
                    <a:pt x="114" y="7"/>
                  </a:cubicBezTo>
                  <a:cubicBezTo>
                    <a:pt x="113" y="5"/>
                    <a:pt x="113" y="4"/>
                    <a:pt x="112" y="2"/>
                  </a:cubicBezTo>
                  <a:cubicBezTo>
                    <a:pt x="113" y="2"/>
                    <a:pt x="113" y="2"/>
                    <a:pt x="114" y="1"/>
                  </a:cubicBezTo>
                  <a:close/>
                  <a:moveTo>
                    <a:pt x="3" y="120"/>
                  </a:moveTo>
                  <a:cubicBezTo>
                    <a:pt x="3" y="120"/>
                    <a:pt x="3" y="120"/>
                    <a:pt x="3" y="120"/>
                  </a:cubicBezTo>
                  <a:cubicBezTo>
                    <a:pt x="7" y="121"/>
                    <a:pt x="12" y="123"/>
                    <a:pt x="16" y="125"/>
                  </a:cubicBezTo>
                  <a:cubicBezTo>
                    <a:pt x="18" y="127"/>
                    <a:pt x="21" y="128"/>
                    <a:pt x="24" y="129"/>
                  </a:cubicBezTo>
                  <a:cubicBezTo>
                    <a:pt x="23" y="133"/>
                    <a:pt x="22" y="136"/>
                    <a:pt x="21" y="140"/>
                  </a:cubicBezTo>
                  <a:cubicBezTo>
                    <a:pt x="15" y="135"/>
                    <a:pt x="8" y="132"/>
                    <a:pt x="0" y="131"/>
                  </a:cubicBezTo>
                  <a:cubicBezTo>
                    <a:pt x="1" y="127"/>
                    <a:pt x="2" y="124"/>
                    <a:pt x="3" y="120"/>
                  </a:cubicBezTo>
                  <a:close/>
                  <a:moveTo>
                    <a:pt x="25" y="124"/>
                  </a:moveTo>
                  <a:cubicBezTo>
                    <a:pt x="25" y="124"/>
                    <a:pt x="25" y="124"/>
                    <a:pt x="25" y="124"/>
                  </a:cubicBezTo>
                  <a:cubicBezTo>
                    <a:pt x="23" y="122"/>
                    <a:pt x="20" y="121"/>
                    <a:pt x="17" y="120"/>
                  </a:cubicBezTo>
                  <a:cubicBezTo>
                    <a:pt x="13" y="118"/>
                    <a:pt x="9" y="116"/>
                    <a:pt x="4" y="115"/>
                  </a:cubicBezTo>
                  <a:cubicBezTo>
                    <a:pt x="5" y="113"/>
                    <a:pt x="5" y="111"/>
                    <a:pt x="6" y="109"/>
                  </a:cubicBezTo>
                  <a:cubicBezTo>
                    <a:pt x="7" y="106"/>
                    <a:pt x="8" y="103"/>
                    <a:pt x="9" y="100"/>
                  </a:cubicBezTo>
                  <a:cubicBezTo>
                    <a:pt x="14" y="103"/>
                    <a:pt x="20" y="106"/>
                    <a:pt x="25" y="110"/>
                  </a:cubicBezTo>
                  <a:cubicBezTo>
                    <a:pt x="26" y="110"/>
                    <a:pt x="27" y="111"/>
                    <a:pt x="29" y="112"/>
                  </a:cubicBezTo>
                  <a:cubicBezTo>
                    <a:pt x="27" y="116"/>
                    <a:pt x="26" y="120"/>
                    <a:pt x="25" y="124"/>
                  </a:cubicBezTo>
                  <a:close/>
                  <a:moveTo>
                    <a:pt x="32" y="104"/>
                  </a:moveTo>
                  <a:cubicBezTo>
                    <a:pt x="32" y="104"/>
                    <a:pt x="32" y="104"/>
                    <a:pt x="32" y="104"/>
                  </a:cubicBezTo>
                  <a:cubicBezTo>
                    <a:pt x="31" y="105"/>
                    <a:pt x="31" y="106"/>
                    <a:pt x="31" y="107"/>
                  </a:cubicBezTo>
                  <a:cubicBezTo>
                    <a:pt x="29" y="106"/>
                    <a:pt x="28" y="105"/>
                    <a:pt x="27" y="104"/>
                  </a:cubicBezTo>
                  <a:cubicBezTo>
                    <a:pt x="22" y="101"/>
                    <a:pt x="16" y="98"/>
                    <a:pt x="11" y="96"/>
                  </a:cubicBezTo>
                  <a:cubicBezTo>
                    <a:pt x="12" y="93"/>
                    <a:pt x="14" y="90"/>
                    <a:pt x="15" y="87"/>
                  </a:cubicBezTo>
                  <a:cubicBezTo>
                    <a:pt x="17" y="83"/>
                    <a:pt x="20" y="79"/>
                    <a:pt x="22" y="75"/>
                  </a:cubicBezTo>
                  <a:cubicBezTo>
                    <a:pt x="27" y="78"/>
                    <a:pt x="32" y="81"/>
                    <a:pt x="36" y="84"/>
                  </a:cubicBezTo>
                  <a:cubicBezTo>
                    <a:pt x="38" y="85"/>
                    <a:pt x="40" y="86"/>
                    <a:pt x="42" y="87"/>
                  </a:cubicBezTo>
                  <a:cubicBezTo>
                    <a:pt x="38" y="92"/>
                    <a:pt x="35" y="98"/>
                    <a:pt x="32" y="104"/>
                  </a:cubicBezTo>
                  <a:close/>
                  <a:moveTo>
                    <a:pt x="54" y="72"/>
                  </a:moveTo>
                  <a:cubicBezTo>
                    <a:pt x="54" y="72"/>
                    <a:pt x="54" y="72"/>
                    <a:pt x="54" y="72"/>
                  </a:cubicBezTo>
                  <a:cubicBezTo>
                    <a:pt x="51" y="76"/>
                    <a:pt x="48" y="79"/>
                    <a:pt x="45" y="83"/>
                  </a:cubicBezTo>
                  <a:cubicBezTo>
                    <a:pt x="43" y="82"/>
                    <a:pt x="40" y="80"/>
                    <a:pt x="38" y="79"/>
                  </a:cubicBezTo>
                  <a:cubicBezTo>
                    <a:pt x="34" y="76"/>
                    <a:pt x="29" y="73"/>
                    <a:pt x="25" y="71"/>
                  </a:cubicBezTo>
                  <a:cubicBezTo>
                    <a:pt x="28" y="67"/>
                    <a:pt x="31" y="63"/>
                    <a:pt x="34" y="59"/>
                  </a:cubicBezTo>
                  <a:cubicBezTo>
                    <a:pt x="34" y="59"/>
                    <a:pt x="34" y="59"/>
                    <a:pt x="35" y="60"/>
                  </a:cubicBezTo>
                  <a:cubicBezTo>
                    <a:pt x="40" y="62"/>
                    <a:pt x="46" y="64"/>
                    <a:pt x="51" y="67"/>
                  </a:cubicBezTo>
                  <a:cubicBezTo>
                    <a:pt x="53" y="68"/>
                    <a:pt x="54" y="69"/>
                    <a:pt x="56" y="70"/>
                  </a:cubicBezTo>
                  <a:cubicBezTo>
                    <a:pt x="55" y="71"/>
                    <a:pt x="55" y="72"/>
                    <a:pt x="54" y="72"/>
                  </a:cubicBezTo>
                  <a:close/>
                  <a:moveTo>
                    <a:pt x="60" y="66"/>
                  </a:moveTo>
                  <a:cubicBezTo>
                    <a:pt x="60" y="66"/>
                    <a:pt x="60" y="66"/>
                    <a:pt x="60" y="66"/>
                  </a:cubicBezTo>
                  <a:cubicBezTo>
                    <a:pt x="58" y="64"/>
                    <a:pt x="56" y="63"/>
                    <a:pt x="54" y="62"/>
                  </a:cubicBezTo>
                  <a:cubicBezTo>
                    <a:pt x="48" y="60"/>
                    <a:pt x="43" y="57"/>
                    <a:pt x="37" y="55"/>
                  </a:cubicBezTo>
                  <a:cubicBezTo>
                    <a:pt x="39" y="53"/>
                    <a:pt x="41" y="51"/>
                    <a:pt x="43" y="49"/>
                  </a:cubicBezTo>
                  <a:cubicBezTo>
                    <a:pt x="47" y="45"/>
                    <a:pt x="51" y="41"/>
                    <a:pt x="55" y="38"/>
                  </a:cubicBezTo>
                  <a:cubicBezTo>
                    <a:pt x="58" y="42"/>
                    <a:pt x="63" y="46"/>
                    <a:pt x="67" y="49"/>
                  </a:cubicBezTo>
                  <a:cubicBezTo>
                    <a:pt x="69" y="51"/>
                    <a:pt x="72" y="52"/>
                    <a:pt x="74" y="54"/>
                  </a:cubicBezTo>
                  <a:cubicBezTo>
                    <a:pt x="69" y="58"/>
                    <a:pt x="65" y="62"/>
                    <a:pt x="60" y="66"/>
                  </a:cubicBezTo>
                  <a:close/>
                  <a:moveTo>
                    <a:pt x="84" y="47"/>
                  </a:moveTo>
                  <a:cubicBezTo>
                    <a:pt x="84" y="47"/>
                    <a:pt x="84" y="47"/>
                    <a:pt x="84" y="47"/>
                  </a:cubicBezTo>
                  <a:cubicBezTo>
                    <a:pt x="82" y="48"/>
                    <a:pt x="80" y="49"/>
                    <a:pt x="79" y="51"/>
                  </a:cubicBezTo>
                  <a:cubicBezTo>
                    <a:pt x="77" y="49"/>
                    <a:pt x="75" y="48"/>
                    <a:pt x="73" y="47"/>
                  </a:cubicBezTo>
                  <a:cubicBezTo>
                    <a:pt x="68" y="43"/>
                    <a:pt x="63" y="39"/>
                    <a:pt x="58" y="34"/>
                  </a:cubicBezTo>
                  <a:cubicBezTo>
                    <a:pt x="64" y="29"/>
                    <a:pt x="70" y="25"/>
                    <a:pt x="77" y="20"/>
                  </a:cubicBezTo>
                  <a:cubicBezTo>
                    <a:pt x="77" y="20"/>
                    <a:pt x="77" y="20"/>
                    <a:pt x="78" y="21"/>
                  </a:cubicBezTo>
                  <a:cubicBezTo>
                    <a:pt x="85" y="23"/>
                    <a:pt x="89" y="29"/>
                    <a:pt x="93" y="35"/>
                  </a:cubicBezTo>
                  <a:cubicBezTo>
                    <a:pt x="95" y="36"/>
                    <a:pt x="96" y="38"/>
                    <a:pt x="97" y="40"/>
                  </a:cubicBezTo>
                  <a:cubicBezTo>
                    <a:pt x="93" y="42"/>
                    <a:pt x="88" y="44"/>
                    <a:pt x="84" y="47"/>
                  </a:cubicBezTo>
                  <a:close/>
                  <a:moveTo>
                    <a:pt x="104" y="37"/>
                  </a:moveTo>
                  <a:cubicBezTo>
                    <a:pt x="104" y="37"/>
                    <a:pt x="104" y="37"/>
                    <a:pt x="104" y="37"/>
                  </a:cubicBezTo>
                  <a:cubicBezTo>
                    <a:pt x="103" y="37"/>
                    <a:pt x="103" y="38"/>
                    <a:pt x="102" y="38"/>
                  </a:cubicBezTo>
                  <a:cubicBezTo>
                    <a:pt x="100" y="35"/>
                    <a:pt x="98" y="32"/>
                    <a:pt x="96" y="30"/>
                  </a:cubicBezTo>
                  <a:cubicBezTo>
                    <a:pt x="92" y="25"/>
                    <a:pt x="87" y="19"/>
                    <a:pt x="81" y="17"/>
                  </a:cubicBezTo>
                  <a:cubicBezTo>
                    <a:pt x="87" y="13"/>
                    <a:pt x="94" y="9"/>
                    <a:pt x="100" y="6"/>
                  </a:cubicBezTo>
                  <a:cubicBezTo>
                    <a:pt x="102" y="5"/>
                    <a:pt x="104" y="5"/>
                    <a:pt x="106" y="4"/>
                  </a:cubicBezTo>
                  <a:cubicBezTo>
                    <a:pt x="108" y="8"/>
                    <a:pt x="110" y="12"/>
                    <a:pt x="112" y="16"/>
                  </a:cubicBezTo>
                  <a:cubicBezTo>
                    <a:pt x="113" y="18"/>
                    <a:pt x="114" y="19"/>
                    <a:pt x="114" y="20"/>
                  </a:cubicBezTo>
                  <a:cubicBezTo>
                    <a:pt x="114" y="23"/>
                    <a:pt x="114" y="25"/>
                    <a:pt x="114" y="27"/>
                  </a:cubicBezTo>
                  <a:cubicBezTo>
                    <a:pt x="115" y="29"/>
                    <a:pt x="115" y="31"/>
                    <a:pt x="115" y="33"/>
                  </a:cubicBezTo>
                  <a:cubicBezTo>
                    <a:pt x="111" y="34"/>
                    <a:pt x="107" y="36"/>
                    <a:pt x="104" y="37"/>
                  </a:cubicBezTo>
                  <a:close/>
                  <a:moveTo>
                    <a:pt x="568" y="127"/>
                  </a:moveTo>
                  <a:cubicBezTo>
                    <a:pt x="568" y="127"/>
                    <a:pt x="568" y="127"/>
                    <a:pt x="568" y="127"/>
                  </a:cubicBezTo>
                  <a:cubicBezTo>
                    <a:pt x="569" y="129"/>
                    <a:pt x="570" y="131"/>
                    <a:pt x="570" y="133"/>
                  </a:cubicBezTo>
                  <a:cubicBezTo>
                    <a:pt x="563" y="134"/>
                    <a:pt x="556" y="139"/>
                    <a:pt x="551" y="145"/>
                  </a:cubicBezTo>
                  <a:cubicBezTo>
                    <a:pt x="549" y="142"/>
                    <a:pt x="548" y="139"/>
                    <a:pt x="546" y="136"/>
                  </a:cubicBezTo>
                  <a:cubicBezTo>
                    <a:pt x="548" y="134"/>
                    <a:pt x="550" y="132"/>
                    <a:pt x="552" y="130"/>
                  </a:cubicBezTo>
                  <a:cubicBezTo>
                    <a:pt x="555" y="128"/>
                    <a:pt x="557" y="126"/>
                    <a:pt x="560" y="125"/>
                  </a:cubicBezTo>
                  <a:cubicBezTo>
                    <a:pt x="561" y="124"/>
                    <a:pt x="564" y="123"/>
                    <a:pt x="565" y="121"/>
                  </a:cubicBezTo>
                  <a:cubicBezTo>
                    <a:pt x="566" y="123"/>
                    <a:pt x="567" y="125"/>
                    <a:pt x="568" y="127"/>
                  </a:cubicBezTo>
                  <a:close/>
                  <a:moveTo>
                    <a:pt x="440" y="25"/>
                  </a:moveTo>
                  <a:cubicBezTo>
                    <a:pt x="440" y="25"/>
                    <a:pt x="440" y="25"/>
                    <a:pt x="440" y="25"/>
                  </a:cubicBezTo>
                  <a:cubicBezTo>
                    <a:pt x="440" y="26"/>
                    <a:pt x="438" y="28"/>
                    <a:pt x="437" y="30"/>
                  </a:cubicBezTo>
                  <a:cubicBezTo>
                    <a:pt x="437" y="30"/>
                    <a:pt x="437" y="29"/>
                    <a:pt x="437" y="28"/>
                  </a:cubicBezTo>
                  <a:cubicBezTo>
                    <a:pt x="436" y="18"/>
                    <a:pt x="435" y="9"/>
                    <a:pt x="435" y="0"/>
                  </a:cubicBezTo>
                  <a:cubicBezTo>
                    <a:pt x="437" y="0"/>
                    <a:pt x="439" y="0"/>
                    <a:pt x="440" y="1"/>
                  </a:cubicBezTo>
                  <a:cubicBezTo>
                    <a:pt x="444" y="2"/>
                    <a:pt x="448" y="3"/>
                    <a:pt x="452" y="5"/>
                  </a:cubicBezTo>
                  <a:cubicBezTo>
                    <a:pt x="452" y="5"/>
                    <a:pt x="453" y="5"/>
                    <a:pt x="453" y="5"/>
                  </a:cubicBezTo>
                  <a:cubicBezTo>
                    <a:pt x="448" y="7"/>
                    <a:pt x="446" y="12"/>
                    <a:pt x="444" y="16"/>
                  </a:cubicBezTo>
                  <a:cubicBezTo>
                    <a:pt x="443" y="19"/>
                    <a:pt x="442" y="22"/>
                    <a:pt x="440" y="25"/>
                  </a:cubicBezTo>
                  <a:close/>
                  <a:moveTo>
                    <a:pt x="455" y="40"/>
                  </a:moveTo>
                  <a:cubicBezTo>
                    <a:pt x="455" y="40"/>
                    <a:pt x="455" y="40"/>
                    <a:pt x="455" y="40"/>
                  </a:cubicBezTo>
                  <a:cubicBezTo>
                    <a:pt x="451" y="37"/>
                    <a:pt x="447" y="35"/>
                    <a:pt x="442" y="33"/>
                  </a:cubicBezTo>
                  <a:cubicBezTo>
                    <a:pt x="445" y="30"/>
                    <a:pt x="447" y="25"/>
                    <a:pt x="449" y="22"/>
                  </a:cubicBezTo>
                  <a:cubicBezTo>
                    <a:pt x="450" y="20"/>
                    <a:pt x="451" y="17"/>
                    <a:pt x="452" y="14"/>
                  </a:cubicBezTo>
                  <a:cubicBezTo>
                    <a:pt x="454" y="12"/>
                    <a:pt x="456" y="9"/>
                    <a:pt x="457" y="7"/>
                  </a:cubicBezTo>
                  <a:cubicBezTo>
                    <a:pt x="457" y="7"/>
                    <a:pt x="457" y="7"/>
                    <a:pt x="457" y="6"/>
                  </a:cubicBezTo>
                  <a:cubicBezTo>
                    <a:pt x="462" y="9"/>
                    <a:pt x="468" y="12"/>
                    <a:pt x="473" y="15"/>
                  </a:cubicBezTo>
                  <a:cubicBezTo>
                    <a:pt x="472" y="15"/>
                    <a:pt x="471" y="16"/>
                    <a:pt x="471" y="17"/>
                  </a:cubicBezTo>
                  <a:cubicBezTo>
                    <a:pt x="469" y="20"/>
                    <a:pt x="467" y="23"/>
                    <a:pt x="465" y="26"/>
                  </a:cubicBezTo>
                  <a:cubicBezTo>
                    <a:pt x="462" y="31"/>
                    <a:pt x="459" y="36"/>
                    <a:pt x="455" y="40"/>
                  </a:cubicBezTo>
                  <a:close/>
                  <a:moveTo>
                    <a:pt x="473" y="54"/>
                  </a:moveTo>
                  <a:cubicBezTo>
                    <a:pt x="473" y="54"/>
                    <a:pt x="473" y="54"/>
                    <a:pt x="473" y="54"/>
                  </a:cubicBezTo>
                  <a:cubicBezTo>
                    <a:pt x="470" y="51"/>
                    <a:pt x="467" y="49"/>
                    <a:pt x="464" y="46"/>
                  </a:cubicBezTo>
                  <a:cubicBezTo>
                    <a:pt x="463" y="45"/>
                    <a:pt x="461" y="44"/>
                    <a:pt x="460" y="43"/>
                  </a:cubicBezTo>
                  <a:cubicBezTo>
                    <a:pt x="463" y="39"/>
                    <a:pt x="466" y="35"/>
                    <a:pt x="469" y="31"/>
                  </a:cubicBezTo>
                  <a:cubicBezTo>
                    <a:pt x="471" y="28"/>
                    <a:pt x="473" y="25"/>
                    <a:pt x="475" y="22"/>
                  </a:cubicBezTo>
                  <a:cubicBezTo>
                    <a:pt x="476" y="20"/>
                    <a:pt x="477" y="19"/>
                    <a:pt x="478" y="17"/>
                  </a:cubicBezTo>
                  <a:cubicBezTo>
                    <a:pt x="484" y="21"/>
                    <a:pt x="490" y="25"/>
                    <a:pt x="495" y="28"/>
                  </a:cubicBezTo>
                  <a:cubicBezTo>
                    <a:pt x="495" y="29"/>
                    <a:pt x="494" y="30"/>
                    <a:pt x="494" y="30"/>
                  </a:cubicBezTo>
                  <a:cubicBezTo>
                    <a:pt x="491" y="33"/>
                    <a:pt x="489" y="36"/>
                    <a:pt x="487" y="39"/>
                  </a:cubicBezTo>
                  <a:cubicBezTo>
                    <a:pt x="484" y="44"/>
                    <a:pt x="480" y="51"/>
                    <a:pt x="473" y="54"/>
                  </a:cubicBezTo>
                  <a:cubicBezTo>
                    <a:pt x="473" y="54"/>
                    <a:pt x="473" y="54"/>
                    <a:pt x="473" y="54"/>
                  </a:cubicBezTo>
                  <a:close/>
                  <a:moveTo>
                    <a:pt x="478" y="58"/>
                  </a:moveTo>
                  <a:cubicBezTo>
                    <a:pt x="478" y="58"/>
                    <a:pt x="478" y="58"/>
                    <a:pt x="478" y="58"/>
                  </a:cubicBezTo>
                  <a:cubicBezTo>
                    <a:pt x="483" y="55"/>
                    <a:pt x="487" y="50"/>
                    <a:pt x="490" y="46"/>
                  </a:cubicBezTo>
                  <a:cubicBezTo>
                    <a:pt x="493" y="43"/>
                    <a:pt x="495" y="39"/>
                    <a:pt x="497" y="36"/>
                  </a:cubicBezTo>
                  <a:cubicBezTo>
                    <a:pt x="498" y="35"/>
                    <a:pt x="499" y="33"/>
                    <a:pt x="500" y="32"/>
                  </a:cubicBezTo>
                  <a:cubicBezTo>
                    <a:pt x="505" y="36"/>
                    <a:pt x="509" y="39"/>
                    <a:pt x="514" y="44"/>
                  </a:cubicBezTo>
                  <a:cubicBezTo>
                    <a:pt x="510" y="46"/>
                    <a:pt x="505" y="52"/>
                    <a:pt x="504" y="53"/>
                  </a:cubicBezTo>
                  <a:cubicBezTo>
                    <a:pt x="500" y="59"/>
                    <a:pt x="496" y="65"/>
                    <a:pt x="492" y="71"/>
                  </a:cubicBezTo>
                  <a:cubicBezTo>
                    <a:pt x="487" y="66"/>
                    <a:pt x="483" y="62"/>
                    <a:pt x="478" y="58"/>
                  </a:cubicBezTo>
                  <a:close/>
                  <a:moveTo>
                    <a:pt x="518" y="95"/>
                  </a:moveTo>
                  <a:cubicBezTo>
                    <a:pt x="518" y="95"/>
                    <a:pt x="518" y="95"/>
                    <a:pt x="518" y="95"/>
                  </a:cubicBezTo>
                  <a:cubicBezTo>
                    <a:pt x="515" y="93"/>
                    <a:pt x="513" y="90"/>
                    <a:pt x="511" y="88"/>
                  </a:cubicBezTo>
                  <a:cubicBezTo>
                    <a:pt x="513" y="86"/>
                    <a:pt x="516" y="83"/>
                    <a:pt x="519" y="80"/>
                  </a:cubicBezTo>
                  <a:cubicBezTo>
                    <a:pt x="521" y="78"/>
                    <a:pt x="523" y="75"/>
                    <a:pt x="526" y="73"/>
                  </a:cubicBezTo>
                  <a:cubicBezTo>
                    <a:pt x="528" y="70"/>
                    <a:pt x="530" y="69"/>
                    <a:pt x="530" y="65"/>
                  </a:cubicBezTo>
                  <a:cubicBezTo>
                    <a:pt x="530" y="65"/>
                    <a:pt x="529" y="64"/>
                    <a:pt x="529" y="64"/>
                  </a:cubicBezTo>
                  <a:cubicBezTo>
                    <a:pt x="526" y="64"/>
                    <a:pt x="524" y="66"/>
                    <a:pt x="522" y="67"/>
                  </a:cubicBezTo>
                  <a:cubicBezTo>
                    <a:pt x="520" y="70"/>
                    <a:pt x="517" y="73"/>
                    <a:pt x="515" y="75"/>
                  </a:cubicBezTo>
                  <a:cubicBezTo>
                    <a:pt x="512" y="78"/>
                    <a:pt x="510" y="81"/>
                    <a:pt x="507" y="84"/>
                  </a:cubicBezTo>
                  <a:cubicBezTo>
                    <a:pt x="504" y="81"/>
                    <a:pt x="501" y="79"/>
                    <a:pt x="498" y="76"/>
                  </a:cubicBezTo>
                  <a:cubicBezTo>
                    <a:pt x="498" y="75"/>
                    <a:pt x="497" y="75"/>
                    <a:pt x="497" y="74"/>
                  </a:cubicBezTo>
                  <a:cubicBezTo>
                    <a:pt x="500" y="68"/>
                    <a:pt x="504" y="62"/>
                    <a:pt x="509" y="57"/>
                  </a:cubicBezTo>
                  <a:cubicBezTo>
                    <a:pt x="511" y="54"/>
                    <a:pt x="514" y="51"/>
                    <a:pt x="516" y="49"/>
                  </a:cubicBezTo>
                  <a:cubicBezTo>
                    <a:pt x="517" y="49"/>
                    <a:pt x="517" y="49"/>
                    <a:pt x="518" y="48"/>
                  </a:cubicBezTo>
                  <a:cubicBezTo>
                    <a:pt x="523" y="54"/>
                    <a:pt x="527" y="60"/>
                    <a:pt x="532" y="66"/>
                  </a:cubicBezTo>
                  <a:cubicBezTo>
                    <a:pt x="535" y="71"/>
                    <a:pt x="539" y="75"/>
                    <a:pt x="542" y="80"/>
                  </a:cubicBezTo>
                  <a:cubicBezTo>
                    <a:pt x="542" y="80"/>
                    <a:pt x="542" y="80"/>
                    <a:pt x="542" y="80"/>
                  </a:cubicBezTo>
                  <a:cubicBezTo>
                    <a:pt x="537" y="79"/>
                    <a:pt x="531" y="84"/>
                    <a:pt x="528" y="87"/>
                  </a:cubicBezTo>
                  <a:cubicBezTo>
                    <a:pt x="524" y="89"/>
                    <a:pt x="521" y="92"/>
                    <a:pt x="518" y="95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íśľíḍè"/>
            <p:cNvSpPr/>
            <p:nvPr/>
          </p:nvSpPr>
          <p:spPr bwMode="auto">
            <a:xfrm>
              <a:off x="4119601" y="3581268"/>
              <a:ext cx="3888859" cy="921402"/>
            </a:xfrm>
            <a:custGeom>
              <a:avLst/>
              <a:gdLst>
                <a:gd name="T0" fmla="*/ 527 w 552"/>
                <a:gd name="T1" fmla="*/ 104 h 131"/>
                <a:gd name="T2" fmla="*/ 536 w 552"/>
                <a:gd name="T3" fmla="*/ 96 h 131"/>
                <a:gd name="T4" fmla="*/ 544 w 552"/>
                <a:gd name="T5" fmla="*/ 109 h 131"/>
                <a:gd name="T6" fmla="*/ 527 w 552"/>
                <a:gd name="T7" fmla="*/ 104 h 131"/>
                <a:gd name="T8" fmla="*/ 530 w 552"/>
                <a:gd name="T9" fmla="*/ 92 h 131"/>
                <a:gd name="T10" fmla="*/ 514 w 552"/>
                <a:gd name="T11" fmla="*/ 86 h 131"/>
                <a:gd name="T12" fmla="*/ 533 w 552"/>
                <a:gd name="T13" fmla="*/ 90 h 131"/>
                <a:gd name="T14" fmla="*/ 4 w 552"/>
                <a:gd name="T15" fmla="*/ 109 h 131"/>
                <a:gd name="T16" fmla="*/ 17 w 552"/>
                <a:gd name="T17" fmla="*/ 115 h 131"/>
                <a:gd name="T18" fmla="*/ 0 w 552"/>
                <a:gd name="T19" fmla="*/ 118 h 131"/>
                <a:gd name="T20" fmla="*/ 12 w 552"/>
                <a:gd name="T21" fmla="*/ 92 h 131"/>
                <a:gd name="T22" fmla="*/ 22 w 552"/>
                <a:gd name="T23" fmla="*/ 98 h 131"/>
                <a:gd name="T24" fmla="*/ 18 w 552"/>
                <a:gd name="T25" fmla="*/ 110 h 131"/>
                <a:gd name="T26" fmla="*/ 6 w 552"/>
                <a:gd name="T27" fmla="*/ 104 h 131"/>
                <a:gd name="T28" fmla="*/ 27 w 552"/>
                <a:gd name="T29" fmla="*/ 68 h 131"/>
                <a:gd name="T30" fmla="*/ 35 w 552"/>
                <a:gd name="T31" fmla="*/ 73 h 131"/>
                <a:gd name="T32" fmla="*/ 25 w 552"/>
                <a:gd name="T33" fmla="*/ 90 h 131"/>
                <a:gd name="T34" fmla="*/ 20 w 552"/>
                <a:gd name="T35" fmla="*/ 90 h 131"/>
                <a:gd name="T36" fmla="*/ 30 w 552"/>
                <a:gd name="T37" fmla="*/ 64 h 131"/>
                <a:gd name="T38" fmla="*/ 44 w 552"/>
                <a:gd name="T39" fmla="*/ 53 h 131"/>
                <a:gd name="T40" fmla="*/ 47 w 552"/>
                <a:gd name="T41" fmla="*/ 58 h 131"/>
                <a:gd name="T42" fmla="*/ 38 w 552"/>
                <a:gd name="T43" fmla="*/ 69 h 131"/>
                <a:gd name="T44" fmla="*/ 30 w 552"/>
                <a:gd name="T45" fmla="*/ 64 h 131"/>
                <a:gd name="T46" fmla="*/ 58 w 552"/>
                <a:gd name="T47" fmla="*/ 33 h 131"/>
                <a:gd name="T48" fmla="*/ 67 w 552"/>
                <a:gd name="T49" fmla="*/ 40 h 131"/>
                <a:gd name="T50" fmla="*/ 53 w 552"/>
                <a:gd name="T51" fmla="*/ 52 h 131"/>
                <a:gd name="T52" fmla="*/ 44 w 552"/>
                <a:gd name="T53" fmla="*/ 47 h 131"/>
                <a:gd name="T54" fmla="*/ 82 w 552"/>
                <a:gd name="T55" fmla="*/ 15 h 131"/>
                <a:gd name="T56" fmla="*/ 90 w 552"/>
                <a:gd name="T57" fmla="*/ 26 h 131"/>
                <a:gd name="T58" fmla="*/ 77 w 552"/>
                <a:gd name="T59" fmla="*/ 33 h 131"/>
                <a:gd name="T60" fmla="*/ 66 w 552"/>
                <a:gd name="T61" fmla="*/ 33 h 131"/>
                <a:gd name="T62" fmla="*/ 87 w 552"/>
                <a:gd name="T63" fmla="*/ 13 h 131"/>
                <a:gd name="T64" fmla="*/ 107 w 552"/>
                <a:gd name="T65" fmla="*/ 6 h 131"/>
                <a:gd name="T66" fmla="*/ 108 w 552"/>
                <a:gd name="T67" fmla="*/ 19 h 131"/>
                <a:gd name="T68" fmla="*/ 97 w 552"/>
                <a:gd name="T69" fmla="*/ 23 h 131"/>
                <a:gd name="T70" fmla="*/ 89 w 552"/>
                <a:gd name="T71" fmla="*/ 16 h 131"/>
                <a:gd name="T72" fmla="*/ 429 w 552"/>
                <a:gd name="T73" fmla="*/ 0 h 131"/>
                <a:gd name="T74" fmla="*/ 433 w 552"/>
                <a:gd name="T75" fmla="*/ 11 h 131"/>
                <a:gd name="T76" fmla="*/ 430 w 552"/>
                <a:gd name="T77" fmla="*/ 16 h 131"/>
                <a:gd name="T78" fmla="*/ 429 w 552"/>
                <a:gd name="T79" fmla="*/ 0 h 131"/>
                <a:gd name="T80" fmla="*/ 456 w 552"/>
                <a:gd name="T81" fmla="*/ 15 h 131"/>
                <a:gd name="T82" fmla="*/ 448 w 552"/>
                <a:gd name="T83" fmla="*/ 26 h 131"/>
                <a:gd name="T84" fmla="*/ 442 w 552"/>
                <a:gd name="T85" fmla="*/ 8 h 131"/>
                <a:gd name="T86" fmla="*/ 461 w 552"/>
                <a:gd name="T87" fmla="*/ 18 h 131"/>
                <a:gd name="T88" fmla="*/ 466 w 552"/>
                <a:gd name="T89" fmla="*/ 40 h 131"/>
                <a:gd name="T90" fmla="*/ 466 w 552"/>
                <a:gd name="T91" fmla="*/ 40 h 131"/>
                <a:gd name="T92" fmla="*/ 453 w 552"/>
                <a:gd name="T93" fmla="*/ 29 h 131"/>
                <a:gd name="T94" fmla="*/ 482 w 552"/>
                <a:gd name="T95" fmla="*/ 33 h 131"/>
                <a:gd name="T96" fmla="*/ 485 w 552"/>
                <a:gd name="T97" fmla="*/ 57 h 131"/>
                <a:gd name="T98" fmla="*/ 471 w 552"/>
                <a:gd name="T99" fmla="*/ 44 h 131"/>
                <a:gd name="T100" fmla="*/ 498 w 552"/>
                <a:gd name="T101" fmla="*/ 48 h 131"/>
                <a:gd name="T102" fmla="*/ 508 w 552"/>
                <a:gd name="T103" fmla="*/ 61 h 131"/>
                <a:gd name="T104" fmla="*/ 491 w 552"/>
                <a:gd name="T105" fmla="*/ 62 h 131"/>
                <a:gd name="T106" fmla="*/ 498 w 552"/>
                <a:gd name="T107" fmla="*/ 48 h 131"/>
                <a:gd name="T108" fmla="*/ 520 w 552"/>
                <a:gd name="T109" fmla="*/ 73 h 131"/>
                <a:gd name="T110" fmla="*/ 511 w 552"/>
                <a:gd name="T111" fmla="*/ 81 h 131"/>
                <a:gd name="T112" fmla="*/ 512 w 552"/>
                <a:gd name="T113" fmla="*/ 66 h 131"/>
                <a:gd name="T114" fmla="*/ 547 w 552"/>
                <a:gd name="T115" fmla="*/ 115 h 131"/>
                <a:gd name="T116" fmla="*/ 544 w 552"/>
                <a:gd name="T117" fmla="*/ 131 h 131"/>
                <a:gd name="T118" fmla="*/ 545 w 552"/>
                <a:gd name="T119" fmla="*/ 116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52" h="131">
                  <a:moveTo>
                    <a:pt x="527" y="104"/>
                  </a:moveTo>
                  <a:cubicBezTo>
                    <a:pt x="527" y="104"/>
                    <a:pt x="527" y="104"/>
                    <a:pt x="527" y="104"/>
                  </a:cubicBezTo>
                  <a:cubicBezTo>
                    <a:pt x="529" y="101"/>
                    <a:pt x="532" y="99"/>
                    <a:pt x="535" y="96"/>
                  </a:cubicBezTo>
                  <a:cubicBezTo>
                    <a:pt x="536" y="96"/>
                    <a:pt x="536" y="96"/>
                    <a:pt x="536" y="96"/>
                  </a:cubicBezTo>
                  <a:cubicBezTo>
                    <a:pt x="539" y="100"/>
                    <a:pt x="542" y="104"/>
                    <a:pt x="544" y="109"/>
                  </a:cubicBezTo>
                  <a:cubicBezTo>
                    <a:pt x="544" y="109"/>
                    <a:pt x="544" y="109"/>
                    <a:pt x="544" y="109"/>
                  </a:cubicBezTo>
                  <a:cubicBezTo>
                    <a:pt x="541" y="111"/>
                    <a:pt x="538" y="114"/>
                    <a:pt x="535" y="116"/>
                  </a:cubicBezTo>
                  <a:cubicBezTo>
                    <a:pt x="532" y="112"/>
                    <a:pt x="530" y="108"/>
                    <a:pt x="527" y="104"/>
                  </a:cubicBezTo>
                  <a:close/>
                  <a:moveTo>
                    <a:pt x="533" y="90"/>
                  </a:moveTo>
                  <a:cubicBezTo>
                    <a:pt x="532" y="91"/>
                    <a:pt x="531" y="91"/>
                    <a:pt x="530" y="92"/>
                  </a:cubicBezTo>
                  <a:cubicBezTo>
                    <a:pt x="528" y="94"/>
                    <a:pt x="525" y="96"/>
                    <a:pt x="523" y="98"/>
                  </a:cubicBezTo>
                  <a:cubicBezTo>
                    <a:pt x="520" y="94"/>
                    <a:pt x="517" y="90"/>
                    <a:pt x="514" y="86"/>
                  </a:cubicBezTo>
                  <a:cubicBezTo>
                    <a:pt x="517" y="83"/>
                    <a:pt x="521" y="81"/>
                    <a:pt x="524" y="78"/>
                  </a:cubicBezTo>
                  <a:cubicBezTo>
                    <a:pt x="527" y="82"/>
                    <a:pt x="530" y="86"/>
                    <a:pt x="533" y="90"/>
                  </a:cubicBezTo>
                  <a:close/>
                  <a:moveTo>
                    <a:pt x="0" y="118"/>
                  </a:moveTo>
                  <a:cubicBezTo>
                    <a:pt x="1" y="115"/>
                    <a:pt x="3" y="112"/>
                    <a:pt x="4" y="109"/>
                  </a:cubicBezTo>
                  <a:cubicBezTo>
                    <a:pt x="6" y="110"/>
                    <a:pt x="7" y="111"/>
                    <a:pt x="9" y="111"/>
                  </a:cubicBezTo>
                  <a:cubicBezTo>
                    <a:pt x="11" y="113"/>
                    <a:pt x="14" y="114"/>
                    <a:pt x="17" y="115"/>
                  </a:cubicBezTo>
                  <a:cubicBezTo>
                    <a:pt x="16" y="119"/>
                    <a:pt x="15" y="122"/>
                    <a:pt x="14" y="126"/>
                  </a:cubicBezTo>
                  <a:cubicBezTo>
                    <a:pt x="10" y="123"/>
                    <a:pt x="5" y="120"/>
                    <a:pt x="0" y="118"/>
                  </a:cubicBezTo>
                  <a:close/>
                  <a:moveTo>
                    <a:pt x="6" y="104"/>
                  </a:moveTo>
                  <a:cubicBezTo>
                    <a:pt x="8" y="100"/>
                    <a:pt x="10" y="96"/>
                    <a:pt x="12" y="92"/>
                  </a:cubicBezTo>
                  <a:cubicBezTo>
                    <a:pt x="14" y="93"/>
                    <a:pt x="16" y="94"/>
                    <a:pt x="18" y="96"/>
                  </a:cubicBezTo>
                  <a:cubicBezTo>
                    <a:pt x="19" y="96"/>
                    <a:pt x="20" y="97"/>
                    <a:pt x="22" y="98"/>
                  </a:cubicBezTo>
                  <a:cubicBezTo>
                    <a:pt x="20" y="102"/>
                    <a:pt x="19" y="106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6" y="108"/>
                    <a:pt x="13" y="107"/>
                    <a:pt x="10" y="106"/>
                  </a:cubicBezTo>
                  <a:cubicBezTo>
                    <a:pt x="9" y="105"/>
                    <a:pt x="8" y="105"/>
                    <a:pt x="6" y="104"/>
                  </a:cubicBezTo>
                  <a:close/>
                  <a:moveTo>
                    <a:pt x="15" y="88"/>
                  </a:moveTo>
                  <a:cubicBezTo>
                    <a:pt x="19" y="81"/>
                    <a:pt x="23" y="75"/>
                    <a:pt x="27" y="68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31" y="71"/>
                    <a:pt x="33" y="72"/>
                    <a:pt x="35" y="73"/>
                  </a:cubicBezTo>
                  <a:cubicBezTo>
                    <a:pt x="31" y="78"/>
                    <a:pt x="28" y="84"/>
                    <a:pt x="25" y="90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4" y="91"/>
                    <a:pt x="24" y="92"/>
                    <a:pt x="24" y="93"/>
                  </a:cubicBezTo>
                  <a:cubicBezTo>
                    <a:pt x="22" y="92"/>
                    <a:pt x="21" y="91"/>
                    <a:pt x="20" y="90"/>
                  </a:cubicBezTo>
                  <a:cubicBezTo>
                    <a:pt x="18" y="89"/>
                    <a:pt x="16" y="88"/>
                    <a:pt x="15" y="88"/>
                  </a:cubicBezTo>
                  <a:close/>
                  <a:moveTo>
                    <a:pt x="30" y="64"/>
                  </a:moveTo>
                  <a:cubicBezTo>
                    <a:pt x="33" y="59"/>
                    <a:pt x="37" y="55"/>
                    <a:pt x="40" y="51"/>
                  </a:cubicBezTo>
                  <a:cubicBezTo>
                    <a:pt x="41" y="52"/>
                    <a:pt x="43" y="52"/>
                    <a:pt x="44" y="53"/>
                  </a:cubicBezTo>
                  <a:cubicBezTo>
                    <a:pt x="46" y="54"/>
                    <a:pt x="47" y="55"/>
                    <a:pt x="49" y="56"/>
                  </a:cubicBezTo>
                  <a:cubicBezTo>
                    <a:pt x="48" y="57"/>
                    <a:pt x="48" y="58"/>
                    <a:pt x="47" y="58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4" y="62"/>
                    <a:pt x="41" y="65"/>
                    <a:pt x="38" y="69"/>
                  </a:cubicBezTo>
                  <a:cubicBezTo>
                    <a:pt x="36" y="68"/>
                    <a:pt x="33" y="66"/>
                    <a:pt x="31" y="65"/>
                  </a:cubicBezTo>
                  <a:lnTo>
                    <a:pt x="30" y="64"/>
                  </a:lnTo>
                  <a:close/>
                  <a:moveTo>
                    <a:pt x="44" y="47"/>
                  </a:moveTo>
                  <a:cubicBezTo>
                    <a:pt x="48" y="42"/>
                    <a:pt x="53" y="38"/>
                    <a:pt x="58" y="33"/>
                  </a:cubicBezTo>
                  <a:cubicBezTo>
                    <a:pt x="58" y="34"/>
                    <a:pt x="59" y="34"/>
                    <a:pt x="60" y="35"/>
                  </a:cubicBezTo>
                  <a:cubicBezTo>
                    <a:pt x="62" y="37"/>
                    <a:pt x="65" y="38"/>
                    <a:pt x="67" y="40"/>
                  </a:cubicBezTo>
                  <a:cubicBezTo>
                    <a:pt x="62" y="44"/>
                    <a:pt x="58" y="48"/>
                    <a:pt x="53" y="52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1" y="50"/>
                    <a:pt x="49" y="49"/>
                    <a:pt x="47" y="48"/>
                  </a:cubicBezTo>
                  <a:cubicBezTo>
                    <a:pt x="46" y="48"/>
                    <a:pt x="45" y="47"/>
                    <a:pt x="44" y="47"/>
                  </a:cubicBezTo>
                  <a:close/>
                  <a:moveTo>
                    <a:pt x="62" y="30"/>
                  </a:moveTo>
                  <a:cubicBezTo>
                    <a:pt x="68" y="24"/>
                    <a:pt x="75" y="20"/>
                    <a:pt x="82" y="15"/>
                  </a:cubicBezTo>
                  <a:cubicBezTo>
                    <a:pt x="84" y="17"/>
                    <a:pt x="85" y="19"/>
                    <a:pt x="86" y="21"/>
                  </a:cubicBezTo>
                  <a:cubicBezTo>
                    <a:pt x="88" y="22"/>
                    <a:pt x="89" y="24"/>
                    <a:pt x="90" y="26"/>
                  </a:cubicBezTo>
                  <a:cubicBezTo>
                    <a:pt x="86" y="28"/>
                    <a:pt x="81" y="30"/>
                    <a:pt x="77" y="33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5" y="34"/>
                    <a:pt x="73" y="35"/>
                    <a:pt x="72" y="37"/>
                  </a:cubicBezTo>
                  <a:cubicBezTo>
                    <a:pt x="70" y="35"/>
                    <a:pt x="68" y="34"/>
                    <a:pt x="66" y="33"/>
                  </a:cubicBezTo>
                  <a:cubicBezTo>
                    <a:pt x="65" y="32"/>
                    <a:pt x="63" y="31"/>
                    <a:pt x="62" y="30"/>
                  </a:cubicBezTo>
                  <a:close/>
                  <a:moveTo>
                    <a:pt x="87" y="13"/>
                  </a:moveTo>
                  <a:cubicBezTo>
                    <a:pt x="93" y="10"/>
                    <a:pt x="100" y="7"/>
                    <a:pt x="106" y="4"/>
                  </a:cubicBezTo>
                  <a:cubicBezTo>
                    <a:pt x="107" y="5"/>
                    <a:pt x="107" y="6"/>
                    <a:pt x="107" y="6"/>
                  </a:cubicBezTo>
                  <a:cubicBezTo>
                    <a:pt x="107" y="9"/>
                    <a:pt x="107" y="11"/>
                    <a:pt x="107" y="13"/>
                  </a:cubicBezTo>
                  <a:cubicBezTo>
                    <a:pt x="108" y="15"/>
                    <a:pt x="108" y="17"/>
                    <a:pt x="108" y="19"/>
                  </a:cubicBezTo>
                  <a:cubicBezTo>
                    <a:pt x="104" y="20"/>
                    <a:pt x="100" y="22"/>
                    <a:pt x="97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6" y="23"/>
                    <a:pt x="96" y="24"/>
                    <a:pt x="95" y="24"/>
                  </a:cubicBezTo>
                  <a:cubicBezTo>
                    <a:pt x="93" y="21"/>
                    <a:pt x="91" y="18"/>
                    <a:pt x="89" y="16"/>
                  </a:cubicBezTo>
                  <a:cubicBezTo>
                    <a:pt x="89" y="15"/>
                    <a:pt x="88" y="14"/>
                    <a:pt x="87" y="13"/>
                  </a:cubicBezTo>
                  <a:close/>
                  <a:moveTo>
                    <a:pt x="429" y="0"/>
                  </a:moveTo>
                  <a:cubicBezTo>
                    <a:pt x="429" y="0"/>
                    <a:pt x="432" y="1"/>
                    <a:pt x="436" y="3"/>
                  </a:cubicBezTo>
                  <a:cubicBezTo>
                    <a:pt x="435" y="6"/>
                    <a:pt x="435" y="8"/>
                    <a:pt x="433" y="11"/>
                  </a:cubicBezTo>
                  <a:cubicBezTo>
                    <a:pt x="433" y="11"/>
                    <a:pt x="433" y="11"/>
                    <a:pt x="433" y="11"/>
                  </a:cubicBezTo>
                  <a:cubicBezTo>
                    <a:pt x="433" y="12"/>
                    <a:pt x="431" y="14"/>
                    <a:pt x="430" y="16"/>
                  </a:cubicBezTo>
                  <a:cubicBezTo>
                    <a:pt x="430" y="16"/>
                    <a:pt x="430" y="15"/>
                    <a:pt x="430" y="14"/>
                  </a:cubicBezTo>
                  <a:cubicBezTo>
                    <a:pt x="430" y="9"/>
                    <a:pt x="429" y="4"/>
                    <a:pt x="429" y="0"/>
                  </a:cubicBezTo>
                  <a:close/>
                  <a:moveTo>
                    <a:pt x="443" y="6"/>
                  </a:moveTo>
                  <a:cubicBezTo>
                    <a:pt x="447" y="9"/>
                    <a:pt x="451" y="11"/>
                    <a:pt x="456" y="15"/>
                  </a:cubicBezTo>
                  <a:cubicBezTo>
                    <a:pt x="454" y="19"/>
                    <a:pt x="451" y="22"/>
                    <a:pt x="448" y="26"/>
                  </a:cubicBezTo>
                  <a:cubicBezTo>
                    <a:pt x="448" y="26"/>
                    <a:pt x="448" y="26"/>
                    <a:pt x="448" y="26"/>
                  </a:cubicBezTo>
                  <a:cubicBezTo>
                    <a:pt x="444" y="23"/>
                    <a:pt x="440" y="21"/>
                    <a:pt x="435" y="19"/>
                  </a:cubicBezTo>
                  <a:cubicBezTo>
                    <a:pt x="438" y="16"/>
                    <a:pt x="440" y="11"/>
                    <a:pt x="442" y="8"/>
                  </a:cubicBezTo>
                  <a:cubicBezTo>
                    <a:pt x="442" y="8"/>
                    <a:pt x="442" y="7"/>
                    <a:pt x="443" y="6"/>
                  </a:cubicBezTo>
                  <a:close/>
                  <a:moveTo>
                    <a:pt x="461" y="18"/>
                  </a:moveTo>
                  <a:cubicBezTo>
                    <a:pt x="466" y="21"/>
                    <a:pt x="471" y="25"/>
                    <a:pt x="477" y="30"/>
                  </a:cubicBezTo>
                  <a:cubicBezTo>
                    <a:pt x="474" y="34"/>
                    <a:pt x="471" y="38"/>
                    <a:pt x="466" y="40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3" y="37"/>
                    <a:pt x="460" y="35"/>
                    <a:pt x="457" y="32"/>
                  </a:cubicBezTo>
                  <a:cubicBezTo>
                    <a:pt x="456" y="31"/>
                    <a:pt x="454" y="30"/>
                    <a:pt x="453" y="29"/>
                  </a:cubicBezTo>
                  <a:cubicBezTo>
                    <a:pt x="456" y="26"/>
                    <a:pt x="458" y="22"/>
                    <a:pt x="461" y="18"/>
                  </a:cubicBezTo>
                  <a:close/>
                  <a:moveTo>
                    <a:pt x="482" y="33"/>
                  </a:moveTo>
                  <a:cubicBezTo>
                    <a:pt x="486" y="37"/>
                    <a:pt x="490" y="40"/>
                    <a:pt x="494" y="44"/>
                  </a:cubicBezTo>
                  <a:cubicBezTo>
                    <a:pt x="491" y="48"/>
                    <a:pt x="488" y="52"/>
                    <a:pt x="485" y="57"/>
                  </a:cubicBezTo>
                  <a:cubicBezTo>
                    <a:pt x="480" y="52"/>
                    <a:pt x="476" y="48"/>
                    <a:pt x="471" y="44"/>
                  </a:cubicBezTo>
                  <a:cubicBezTo>
                    <a:pt x="471" y="44"/>
                    <a:pt x="471" y="44"/>
                    <a:pt x="471" y="44"/>
                  </a:cubicBezTo>
                  <a:cubicBezTo>
                    <a:pt x="475" y="41"/>
                    <a:pt x="479" y="37"/>
                    <a:pt x="482" y="33"/>
                  </a:cubicBezTo>
                  <a:close/>
                  <a:moveTo>
                    <a:pt x="498" y="48"/>
                  </a:moveTo>
                  <a:cubicBezTo>
                    <a:pt x="502" y="52"/>
                    <a:pt x="505" y="56"/>
                    <a:pt x="509" y="60"/>
                  </a:cubicBezTo>
                  <a:cubicBezTo>
                    <a:pt x="508" y="61"/>
                    <a:pt x="508" y="61"/>
                    <a:pt x="508" y="61"/>
                  </a:cubicBezTo>
                  <a:cubicBezTo>
                    <a:pt x="505" y="64"/>
                    <a:pt x="503" y="67"/>
                    <a:pt x="500" y="70"/>
                  </a:cubicBezTo>
                  <a:cubicBezTo>
                    <a:pt x="497" y="67"/>
                    <a:pt x="494" y="65"/>
                    <a:pt x="491" y="62"/>
                  </a:cubicBezTo>
                  <a:cubicBezTo>
                    <a:pt x="491" y="61"/>
                    <a:pt x="490" y="61"/>
                    <a:pt x="490" y="60"/>
                  </a:cubicBezTo>
                  <a:cubicBezTo>
                    <a:pt x="492" y="56"/>
                    <a:pt x="495" y="52"/>
                    <a:pt x="498" y="48"/>
                  </a:cubicBezTo>
                  <a:close/>
                  <a:moveTo>
                    <a:pt x="513" y="64"/>
                  </a:moveTo>
                  <a:cubicBezTo>
                    <a:pt x="516" y="67"/>
                    <a:pt x="518" y="70"/>
                    <a:pt x="520" y="73"/>
                  </a:cubicBezTo>
                  <a:cubicBezTo>
                    <a:pt x="517" y="75"/>
                    <a:pt x="513" y="78"/>
                    <a:pt x="511" y="81"/>
                  </a:cubicBezTo>
                  <a:cubicBezTo>
                    <a:pt x="511" y="81"/>
                    <a:pt x="511" y="81"/>
                    <a:pt x="511" y="81"/>
                  </a:cubicBezTo>
                  <a:cubicBezTo>
                    <a:pt x="508" y="79"/>
                    <a:pt x="506" y="76"/>
                    <a:pt x="504" y="74"/>
                  </a:cubicBezTo>
                  <a:cubicBezTo>
                    <a:pt x="506" y="72"/>
                    <a:pt x="509" y="69"/>
                    <a:pt x="512" y="66"/>
                  </a:cubicBezTo>
                  <a:lnTo>
                    <a:pt x="513" y="64"/>
                  </a:lnTo>
                  <a:close/>
                  <a:moveTo>
                    <a:pt x="547" y="115"/>
                  </a:moveTo>
                  <a:cubicBezTo>
                    <a:pt x="549" y="117"/>
                    <a:pt x="551" y="121"/>
                    <a:pt x="552" y="124"/>
                  </a:cubicBezTo>
                  <a:cubicBezTo>
                    <a:pt x="549" y="126"/>
                    <a:pt x="546" y="128"/>
                    <a:pt x="544" y="131"/>
                  </a:cubicBezTo>
                  <a:cubicBezTo>
                    <a:pt x="542" y="128"/>
                    <a:pt x="541" y="125"/>
                    <a:pt x="539" y="122"/>
                  </a:cubicBezTo>
                  <a:cubicBezTo>
                    <a:pt x="541" y="120"/>
                    <a:pt x="543" y="118"/>
                    <a:pt x="545" y="116"/>
                  </a:cubicBezTo>
                  <a:cubicBezTo>
                    <a:pt x="546" y="116"/>
                    <a:pt x="547" y="115"/>
                    <a:pt x="547" y="11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işḷîḍé"/>
            <p:cNvSpPr/>
            <p:nvPr/>
          </p:nvSpPr>
          <p:spPr bwMode="auto">
            <a:xfrm>
              <a:off x="5000353" y="4292645"/>
              <a:ext cx="1104328" cy="606365"/>
            </a:xfrm>
            <a:custGeom>
              <a:avLst/>
              <a:gdLst>
                <a:gd name="T0" fmla="*/ 118 w 157"/>
                <a:gd name="T1" fmla="*/ 3 h 86"/>
                <a:gd name="T2" fmla="*/ 118 w 157"/>
                <a:gd name="T3" fmla="*/ 3 h 86"/>
                <a:gd name="T4" fmla="*/ 136 w 157"/>
                <a:gd name="T5" fmla="*/ 3 h 86"/>
                <a:gd name="T6" fmla="*/ 155 w 157"/>
                <a:gd name="T7" fmla="*/ 2 h 86"/>
                <a:gd name="T8" fmla="*/ 155 w 157"/>
                <a:gd name="T9" fmla="*/ 6 h 86"/>
                <a:gd name="T10" fmla="*/ 156 w 157"/>
                <a:gd name="T11" fmla="*/ 18 h 86"/>
                <a:gd name="T12" fmla="*/ 157 w 157"/>
                <a:gd name="T13" fmla="*/ 42 h 86"/>
                <a:gd name="T14" fmla="*/ 156 w 157"/>
                <a:gd name="T15" fmla="*/ 65 h 86"/>
                <a:gd name="T16" fmla="*/ 157 w 157"/>
                <a:gd name="T17" fmla="*/ 74 h 86"/>
                <a:gd name="T18" fmla="*/ 156 w 157"/>
                <a:gd name="T19" fmla="*/ 79 h 86"/>
                <a:gd name="T20" fmla="*/ 149 w 157"/>
                <a:gd name="T21" fmla="*/ 80 h 86"/>
                <a:gd name="T22" fmla="*/ 126 w 157"/>
                <a:gd name="T23" fmla="*/ 81 h 86"/>
                <a:gd name="T24" fmla="*/ 116 w 157"/>
                <a:gd name="T25" fmla="*/ 82 h 86"/>
                <a:gd name="T26" fmla="*/ 116 w 157"/>
                <a:gd name="T27" fmla="*/ 64 h 86"/>
                <a:gd name="T28" fmla="*/ 117 w 157"/>
                <a:gd name="T29" fmla="*/ 42 h 86"/>
                <a:gd name="T30" fmla="*/ 118 w 157"/>
                <a:gd name="T31" fmla="*/ 20 h 86"/>
                <a:gd name="T32" fmla="*/ 118 w 157"/>
                <a:gd name="T33" fmla="*/ 3 h 86"/>
                <a:gd name="T34" fmla="*/ 16 w 157"/>
                <a:gd name="T35" fmla="*/ 59 h 86"/>
                <a:gd name="T36" fmla="*/ 16 w 157"/>
                <a:gd name="T37" fmla="*/ 59 h 86"/>
                <a:gd name="T38" fmla="*/ 17 w 157"/>
                <a:gd name="T39" fmla="*/ 81 h 86"/>
                <a:gd name="T40" fmla="*/ 16 w 157"/>
                <a:gd name="T41" fmla="*/ 86 h 86"/>
                <a:gd name="T42" fmla="*/ 11 w 157"/>
                <a:gd name="T43" fmla="*/ 86 h 86"/>
                <a:gd name="T44" fmla="*/ 0 w 157"/>
                <a:gd name="T45" fmla="*/ 85 h 86"/>
                <a:gd name="T46" fmla="*/ 1 w 157"/>
                <a:gd name="T47" fmla="*/ 39 h 86"/>
                <a:gd name="T48" fmla="*/ 0 w 157"/>
                <a:gd name="T49" fmla="*/ 0 h 86"/>
                <a:gd name="T50" fmla="*/ 9 w 157"/>
                <a:gd name="T51" fmla="*/ 0 h 86"/>
                <a:gd name="T52" fmla="*/ 15 w 157"/>
                <a:gd name="T53" fmla="*/ 0 h 86"/>
                <a:gd name="T54" fmla="*/ 16 w 157"/>
                <a:gd name="T55" fmla="*/ 13 h 86"/>
                <a:gd name="T56" fmla="*/ 16 w 157"/>
                <a:gd name="T57" fmla="*/ 28 h 86"/>
                <a:gd name="T58" fmla="*/ 16 w 157"/>
                <a:gd name="T59" fmla="*/ 59 h 86"/>
                <a:gd name="T60" fmla="*/ 65 w 157"/>
                <a:gd name="T61" fmla="*/ 20 h 86"/>
                <a:gd name="T62" fmla="*/ 65 w 157"/>
                <a:gd name="T63" fmla="*/ 20 h 86"/>
                <a:gd name="T64" fmla="*/ 67 w 157"/>
                <a:gd name="T65" fmla="*/ 44 h 86"/>
                <a:gd name="T66" fmla="*/ 69 w 157"/>
                <a:gd name="T67" fmla="*/ 86 h 86"/>
                <a:gd name="T68" fmla="*/ 34 w 157"/>
                <a:gd name="T69" fmla="*/ 86 h 86"/>
                <a:gd name="T70" fmla="*/ 22 w 157"/>
                <a:gd name="T71" fmla="*/ 86 h 86"/>
                <a:gd name="T72" fmla="*/ 23 w 157"/>
                <a:gd name="T73" fmla="*/ 79 h 86"/>
                <a:gd name="T74" fmla="*/ 22 w 157"/>
                <a:gd name="T75" fmla="*/ 56 h 86"/>
                <a:gd name="T76" fmla="*/ 22 w 157"/>
                <a:gd name="T77" fmla="*/ 28 h 86"/>
                <a:gd name="T78" fmla="*/ 21 w 157"/>
                <a:gd name="T79" fmla="*/ 14 h 86"/>
                <a:gd name="T80" fmla="*/ 18 w 157"/>
                <a:gd name="T81" fmla="*/ 1 h 86"/>
                <a:gd name="T82" fmla="*/ 30 w 157"/>
                <a:gd name="T83" fmla="*/ 3 h 86"/>
                <a:gd name="T84" fmla="*/ 66 w 157"/>
                <a:gd name="T85" fmla="*/ 4 h 86"/>
                <a:gd name="T86" fmla="*/ 65 w 157"/>
                <a:gd name="T87" fmla="*/ 20 h 86"/>
                <a:gd name="T88" fmla="*/ 109 w 157"/>
                <a:gd name="T89" fmla="*/ 82 h 86"/>
                <a:gd name="T90" fmla="*/ 109 w 157"/>
                <a:gd name="T91" fmla="*/ 82 h 86"/>
                <a:gd name="T92" fmla="*/ 79 w 157"/>
                <a:gd name="T93" fmla="*/ 86 h 86"/>
                <a:gd name="T94" fmla="*/ 76 w 157"/>
                <a:gd name="T95" fmla="*/ 86 h 86"/>
                <a:gd name="T96" fmla="*/ 75 w 157"/>
                <a:gd name="T97" fmla="*/ 45 h 86"/>
                <a:gd name="T98" fmla="*/ 71 w 157"/>
                <a:gd name="T99" fmla="*/ 4 h 86"/>
                <a:gd name="T100" fmla="*/ 71 w 157"/>
                <a:gd name="T101" fmla="*/ 4 h 86"/>
                <a:gd name="T102" fmla="*/ 81 w 157"/>
                <a:gd name="T103" fmla="*/ 2 h 86"/>
                <a:gd name="T104" fmla="*/ 91 w 157"/>
                <a:gd name="T105" fmla="*/ 3 h 86"/>
                <a:gd name="T106" fmla="*/ 113 w 157"/>
                <a:gd name="T107" fmla="*/ 3 h 86"/>
                <a:gd name="T108" fmla="*/ 112 w 157"/>
                <a:gd name="T109" fmla="*/ 19 h 86"/>
                <a:gd name="T110" fmla="*/ 111 w 157"/>
                <a:gd name="T111" fmla="*/ 42 h 86"/>
                <a:gd name="T112" fmla="*/ 109 w 157"/>
                <a:gd name="T113" fmla="*/ 8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86">
                  <a:moveTo>
                    <a:pt x="118" y="3"/>
                  </a:moveTo>
                  <a:cubicBezTo>
                    <a:pt x="118" y="3"/>
                    <a:pt x="118" y="3"/>
                    <a:pt x="118" y="3"/>
                  </a:cubicBezTo>
                  <a:cubicBezTo>
                    <a:pt x="124" y="3"/>
                    <a:pt x="130" y="3"/>
                    <a:pt x="136" y="3"/>
                  </a:cubicBezTo>
                  <a:cubicBezTo>
                    <a:pt x="142" y="3"/>
                    <a:pt x="148" y="3"/>
                    <a:pt x="155" y="2"/>
                  </a:cubicBezTo>
                  <a:cubicBezTo>
                    <a:pt x="155" y="4"/>
                    <a:pt x="155" y="5"/>
                    <a:pt x="155" y="6"/>
                  </a:cubicBezTo>
                  <a:cubicBezTo>
                    <a:pt x="155" y="10"/>
                    <a:pt x="156" y="14"/>
                    <a:pt x="156" y="18"/>
                  </a:cubicBezTo>
                  <a:cubicBezTo>
                    <a:pt x="156" y="26"/>
                    <a:pt x="157" y="34"/>
                    <a:pt x="157" y="42"/>
                  </a:cubicBezTo>
                  <a:cubicBezTo>
                    <a:pt x="157" y="50"/>
                    <a:pt x="156" y="57"/>
                    <a:pt x="156" y="65"/>
                  </a:cubicBezTo>
                  <a:cubicBezTo>
                    <a:pt x="156" y="68"/>
                    <a:pt x="156" y="71"/>
                    <a:pt x="157" y="74"/>
                  </a:cubicBezTo>
                  <a:cubicBezTo>
                    <a:pt x="157" y="76"/>
                    <a:pt x="157" y="78"/>
                    <a:pt x="156" y="79"/>
                  </a:cubicBezTo>
                  <a:cubicBezTo>
                    <a:pt x="154" y="79"/>
                    <a:pt x="151" y="80"/>
                    <a:pt x="149" y="80"/>
                  </a:cubicBezTo>
                  <a:cubicBezTo>
                    <a:pt x="141" y="80"/>
                    <a:pt x="133" y="80"/>
                    <a:pt x="126" y="81"/>
                  </a:cubicBezTo>
                  <a:cubicBezTo>
                    <a:pt x="122" y="81"/>
                    <a:pt x="119" y="81"/>
                    <a:pt x="116" y="82"/>
                  </a:cubicBezTo>
                  <a:cubicBezTo>
                    <a:pt x="116" y="76"/>
                    <a:pt x="116" y="70"/>
                    <a:pt x="116" y="64"/>
                  </a:cubicBezTo>
                  <a:cubicBezTo>
                    <a:pt x="116" y="57"/>
                    <a:pt x="117" y="49"/>
                    <a:pt x="117" y="42"/>
                  </a:cubicBezTo>
                  <a:cubicBezTo>
                    <a:pt x="118" y="34"/>
                    <a:pt x="118" y="27"/>
                    <a:pt x="118" y="20"/>
                  </a:cubicBezTo>
                  <a:cubicBezTo>
                    <a:pt x="118" y="14"/>
                    <a:pt x="119" y="8"/>
                    <a:pt x="118" y="3"/>
                  </a:cubicBezTo>
                  <a:close/>
                  <a:moveTo>
                    <a:pt x="16" y="59"/>
                  </a:moveTo>
                  <a:cubicBezTo>
                    <a:pt x="16" y="59"/>
                    <a:pt x="16" y="59"/>
                    <a:pt x="16" y="59"/>
                  </a:cubicBezTo>
                  <a:cubicBezTo>
                    <a:pt x="17" y="66"/>
                    <a:pt x="17" y="73"/>
                    <a:pt x="17" y="81"/>
                  </a:cubicBezTo>
                  <a:cubicBezTo>
                    <a:pt x="16" y="82"/>
                    <a:pt x="16" y="84"/>
                    <a:pt x="16" y="86"/>
                  </a:cubicBezTo>
                  <a:cubicBezTo>
                    <a:pt x="14" y="86"/>
                    <a:pt x="12" y="86"/>
                    <a:pt x="11" y="86"/>
                  </a:cubicBezTo>
                  <a:cubicBezTo>
                    <a:pt x="7" y="85"/>
                    <a:pt x="3" y="85"/>
                    <a:pt x="0" y="85"/>
                  </a:cubicBezTo>
                  <a:cubicBezTo>
                    <a:pt x="2" y="70"/>
                    <a:pt x="2" y="54"/>
                    <a:pt x="1" y="39"/>
                  </a:cubicBezTo>
                  <a:cubicBezTo>
                    <a:pt x="0" y="26"/>
                    <a:pt x="0" y="13"/>
                    <a:pt x="0" y="0"/>
                  </a:cubicBezTo>
                  <a:cubicBezTo>
                    <a:pt x="3" y="0"/>
                    <a:pt x="6" y="0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5" y="4"/>
                    <a:pt x="15" y="8"/>
                    <a:pt x="16" y="13"/>
                  </a:cubicBezTo>
                  <a:cubicBezTo>
                    <a:pt x="16" y="18"/>
                    <a:pt x="16" y="23"/>
                    <a:pt x="16" y="28"/>
                  </a:cubicBezTo>
                  <a:cubicBezTo>
                    <a:pt x="16" y="38"/>
                    <a:pt x="16" y="48"/>
                    <a:pt x="16" y="59"/>
                  </a:cubicBezTo>
                  <a:close/>
                  <a:moveTo>
                    <a:pt x="65" y="20"/>
                  </a:moveTo>
                  <a:cubicBezTo>
                    <a:pt x="65" y="20"/>
                    <a:pt x="65" y="20"/>
                    <a:pt x="65" y="20"/>
                  </a:cubicBezTo>
                  <a:cubicBezTo>
                    <a:pt x="65" y="28"/>
                    <a:pt x="66" y="36"/>
                    <a:pt x="67" y="44"/>
                  </a:cubicBezTo>
                  <a:cubicBezTo>
                    <a:pt x="68" y="58"/>
                    <a:pt x="68" y="72"/>
                    <a:pt x="69" y="86"/>
                  </a:cubicBezTo>
                  <a:cubicBezTo>
                    <a:pt x="57" y="86"/>
                    <a:pt x="46" y="86"/>
                    <a:pt x="34" y="86"/>
                  </a:cubicBezTo>
                  <a:cubicBezTo>
                    <a:pt x="30" y="86"/>
                    <a:pt x="26" y="86"/>
                    <a:pt x="22" y="86"/>
                  </a:cubicBezTo>
                  <a:cubicBezTo>
                    <a:pt x="23" y="83"/>
                    <a:pt x="23" y="81"/>
                    <a:pt x="23" y="79"/>
                  </a:cubicBezTo>
                  <a:cubicBezTo>
                    <a:pt x="24" y="71"/>
                    <a:pt x="23" y="64"/>
                    <a:pt x="22" y="56"/>
                  </a:cubicBezTo>
                  <a:cubicBezTo>
                    <a:pt x="22" y="47"/>
                    <a:pt x="22" y="37"/>
                    <a:pt x="22" y="28"/>
                  </a:cubicBezTo>
                  <a:cubicBezTo>
                    <a:pt x="21" y="23"/>
                    <a:pt x="21" y="18"/>
                    <a:pt x="21" y="14"/>
                  </a:cubicBezTo>
                  <a:cubicBezTo>
                    <a:pt x="20" y="9"/>
                    <a:pt x="19" y="5"/>
                    <a:pt x="18" y="1"/>
                  </a:cubicBezTo>
                  <a:cubicBezTo>
                    <a:pt x="22" y="1"/>
                    <a:pt x="26" y="2"/>
                    <a:pt x="30" y="3"/>
                  </a:cubicBezTo>
                  <a:cubicBezTo>
                    <a:pt x="41" y="5"/>
                    <a:pt x="54" y="5"/>
                    <a:pt x="66" y="4"/>
                  </a:cubicBezTo>
                  <a:cubicBezTo>
                    <a:pt x="65" y="10"/>
                    <a:pt x="65" y="15"/>
                    <a:pt x="65" y="20"/>
                  </a:cubicBezTo>
                  <a:close/>
                  <a:moveTo>
                    <a:pt x="109" y="82"/>
                  </a:moveTo>
                  <a:cubicBezTo>
                    <a:pt x="109" y="82"/>
                    <a:pt x="109" y="82"/>
                    <a:pt x="109" y="82"/>
                  </a:cubicBezTo>
                  <a:cubicBezTo>
                    <a:pt x="99" y="84"/>
                    <a:pt x="89" y="85"/>
                    <a:pt x="79" y="86"/>
                  </a:cubicBezTo>
                  <a:cubicBezTo>
                    <a:pt x="78" y="86"/>
                    <a:pt x="77" y="86"/>
                    <a:pt x="76" y="86"/>
                  </a:cubicBezTo>
                  <a:cubicBezTo>
                    <a:pt x="76" y="72"/>
                    <a:pt x="76" y="59"/>
                    <a:pt x="75" y="45"/>
                  </a:cubicBezTo>
                  <a:cubicBezTo>
                    <a:pt x="73" y="31"/>
                    <a:pt x="72" y="17"/>
                    <a:pt x="71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4" y="3"/>
                    <a:pt x="77" y="2"/>
                    <a:pt x="81" y="2"/>
                  </a:cubicBezTo>
                  <a:cubicBezTo>
                    <a:pt x="84" y="2"/>
                    <a:pt x="88" y="2"/>
                    <a:pt x="91" y="3"/>
                  </a:cubicBezTo>
                  <a:cubicBezTo>
                    <a:pt x="99" y="3"/>
                    <a:pt x="106" y="3"/>
                    <a:pt x="113" y="3"/>
                  </a:cubicBezTo>
                  <a:cubicBezTo>
                    <a:pt x="112" y="8"/>
                    <a:pt x="112" y="13"/>
                    <a:pt x="112" y="19"/>
                  </a:cubicBezTo>
                  <a:cubicBezTo>
                    <a:pt x="112" y="26"/>
                    <a:pt x="111" y="34"/>
                    <a:pt x="111" y="42"/>
                  </a:cubicBezTo>
                  <a:cubicBezTo>
                    <a:pt x="111" y="55"/>
                    <a:pt x="109" y="69"/>
                    <a:pt x="109" y="82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ṡḻïdè"/>
            <p:cNvSpPr/>
            <p:nvPr/>
          </p:nvSpPr>
          <p:spPr bwMode="auto">
            <a:xfrm>
              <a:off x="5000353" y="4292645"/>
              <a:ext cx="50814" cy="599590"/>
            </a:xfrm>
            <a:custGeom>
              <a:avLst/>
              <a:gdLst>
                <a:gd name="T0" fmla="*/ 5 w 7"/>
                <a:gd name="T1" fmla="*/ 0 h 85"/>
                <a:gd name="T2" fmla="*/ 7 w 7"/>
                <a:gd name="T3" fmla="*/ 85 h 85"/>
                <a:gd name="T4" fmla="*/ 0 w 7"/>
                <a:gd name="T5" fmla="*/ 85 h 85"/>
                <a:gd name="T6" fmla="*/ 1 w 7"/>
                <a:gd name="T7" fmla="*/ 39 h 85"/>
                <a:gd name="T8" fmla="*/ 0 w 7"/>
                <a:gd name="T9" fmla="*/ 0 h 85"/>
                <a:gd name="T10" fmla="*/ 5 w 7"/>
                <a:gd name="T11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85">
                  <a:moveTo>
                    <a:pt x="5" y="0"/>
                  </a:moveTo>
                  <a:cubicBezTo>
                    <a:pt x="6" y="31"/>
                    <a:pt x="6" y="62"/>
                    <a:pt x="7" y="85"/>
                  </a:cubicBezTo>
                  <a:cubicBezTo>
                    <a:pt x="4" y="85"/>
                    <a:pt x="2" y="85"/>
                    <a:pt x="0" y="85"/>
                  </a:cubicBezTo>
                  <a:cubicBezTo>
                    <a:pt x="2" y="70"/>
                    <a:pt x="2" y="54"/>
                    <a:pt x="1" y="39"/>
                  </a:cubicBezTo>
                  <a:cubicBezTo>
                    <a:pt x="0" y="26"/>
                    <a:pt x="0" y="13"/>
                    <a:pt x="0" y="0"/>
                  </a:cubicBezTo>
                  <a:cubicBezTo>
                    <a:pt x="2" y="0"/>
                    <a:pt x="4" y="0"/>
                    <a:pt x="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îšḻíďê"/>
            <p:cNvSpPr/>
            <p:nvPr/>
          </p:nvSpPr>
          <p:spPr bwMode="auto">
            <a:xfrm>
              <a:off x="4261876" y="5291959"/>
              <a:ext cx="3590759" cy="457315"/>
            </a:xfrm>
            <a:custGeom>
              <a:avLst/>
              <a:gdLst>
                <a:gd name="T0" fmla="*/ 386 w 510"/>
                <a:gd name="T1" fmla="*/ 6 h 65"/>
                <a:gd name="T2" fmla="*/ 386 w 510"/>
                <a:gd name="T3" fmla="*/ 6 h 65"/>
                <a:gd name="T4" fmla="*/ 410 w 510"/>
                <a:gd name="T5" fmla="*/ 6 h 65"/>
                <a:gd name="T6" fmla="*/ 435 w 510"/>
                <a:gd name="T7" fmla="*/ 6 h 65"/>
                <a:gd name="T8" fmla="*/ 460 w 510"/>
                <a:gd name="T9" fmla="*/ 3 h 65"/>
                <a:gd name="T10" fmla="*/ 483 w 510"/>
                <a:gd name="T11" fmla="*/ 0 h 65"/>
                <a:gd name="T12" fmla="*/ 486 w 510"/>
                <a:gd name="T13" fmla="*/ 1 h 65"/>
                <a:gd name="T14" fmla="*/ 499 w 510"/>
                <a:gd name="T15" fmla="*/ 8 h 65"/>
                <a:gd name="T16" fmla="*/ 510 w 510"/>
                <a:gd name="T17" fmla="*/ 33 h 65"/>
                <a:gd name="T18" fmla="*/ 496 w 510"/>
                <a:gd name="T19" fmla="*/ 53 h 65"/>
                <a:gd name="T20" fmla="*/ 477 w 510"/>
                <a:gd name="T21" fmla="*/ 55 h 65"/>
                <a:gd name="T22" fmla="*/ 462 w 510"/>
                <a:gd name="T23" fmla="*/ 58 h 65"/>
                <a:gd name="T24" fmla="*/ 447 w 510"/>
                <a:gd name="T25" fmla="*/ 57 h 65"/>
                <a:gd name="T26" fmla="*/ 414 w 510"/>
                <a:gd name="T27" fmla="*/ 57 h 65"/>
                <a:gd name="T28" fmla="*/ 347 w 510"/>
                <a:gd name="T29" fmla="*/ 58 h 65"/>
                <a:gd name="T30" fmla="*/ 314 w 510"/>
                <a:gd name="T31" fmla="*/ 56 h 65"/>
                <a:gd name="T32" fmla="*/ 280 w 510"/>
                <a:gd name="T33" fmla="*/ 59 h 65"/>
                <a:gd name="T34" fmla="*/ 213 w 510"/>
                <a:gd name="T35" fmla="*/ 64 h 65"/>
                <a:gd name="T36" fmla="*/ 154 w 510"/>
                <a:gd name="T37" fmla="*/ 63 h 65"/>
                <a:gd name="T38" fmla="*/ 124 w 510"/>
                <a:gd name="T39" fmla="*/ 62 h 65"/>
                <a:gd name="T40" fmla="*/ 94 w 510"/>
                <a:gd name="T41" fmla="*/ 64 h 65"/>
                <a:gd name="T42" fmla="*/ 81 w 510"/>
                <a:gd name="T43" fmla="*/ 65 h 65"/>
                <a:gd name="T44" fmla="*/ 36 w 510"/>
                <a:gd name="T45" fmla="*/ 61 h 65"/>
                <a:gd name="T46" fmla="*/ 4 w 510"/>
                <a:gd name="T47" fmla="*/ 43 h 65"/>
                <a:gd name="T48" fmla="*/ 21 w 510"/>
                <a:gd name="T49" fmla="*/ 10 h 65"/>
                <a:gd name="T50" fmla="*/ 44 w 510"/>
                <a:gd name="T51" fmla="*/ 9 h 65"/>
                <a:gd name="T52" fmla="*/ 64 w 510"/>
                <a:gd name="T53" fmla="*/ 8 h 65"/>
                <a:gd name="T54" fmla="*/ 86 w 510"/>
                <a:gd name="T55" fmla="*/ 9 h 65"/>
                <a:gd name="T56" fmla="*/ 118 w 510"/>
                <a:gd name="T57" fmla="*/ 9 h 65"/>
                <a:gd name="T58" fmla="*/ 151 w 510"/>
                <a:gd name="T59" fmla="*/ 7 h 65"/>
                <a:gd name="T60" fmla="*/ 219 w 510"/>
                <a:gd name="T61" fmla="*/ 6 h 65"/>
                <a:gd name="T62" fmla="*/ 286 w 510"/>
                <a:gd name="T63" fmla="*/ 6 h 65"/>
                <a:gd name="T64" fmla="*/ 335 w 510"/>
                <a:gd name="T65" fmla="*/ 6 h 65"/>
                <a:gd name="T66" fmla="*/ 386 w 510"/>
                <a:gd name="T67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10" h="65">
                  <a:moveTo>
                    <a:pt x="386" y="6"/>
                  </a:moveTo>
                  <a:cubicBezTo>
                    <a:pt x="386" y="6"/>
                    <a:pt x="386" y="6"/>
                    <a:pt x="386" y="6"/>
                  </a:cubicBezTo>
                  <a:cubicBezTo>
                    <a:pt x="394" y="6"/>
                    <a:pt x="402" y="6"/>
                    <a:pt x="410" y="6"/>
                  </a:cubicBezTo>
                  <a:cubicBezTo>
                    <a:pt x="419" y="6"/>
                    <a:pt x="427" y="6"/>
                    <a:pt x="435" y="6"/>
                  </a:cubicBezTo>
                  <a:cubicBezTo>
                    <a:pt x="444" y="5"/>
                    <a:pt x="452" y="4"/>
                    <a:pt x="460" y="3"/>
                  </a:cubicBezTo>
                  <a:cubicBezTo>
                    <a:pt x="468" y="1"/>
                    <a:pt x="475" y="0"/>
                    <a:pt x="483" y="0"/>
                  </a:cubicBezTo>
                  <a:cubicBezTo>
                    <a:pt x="484" y="0"/>
                    <a:pt x="485" y="1"/>
                    <a:pt x="486" y="1"/>
                  </a:cubicBezTo>
                  <a:cubicBezTo>
                    <a:pt x="490" y="3"/>
                    <a:pt x="495" y="5"/>
                    <a:pt x="499" y="8"/>
                  </a:cubicBezTo>
                  <a:cubicBezTo>
                    <a:pt x="507" y="15"/>
                    <a:pt x="510" y="24"/>
                    <a:pt x="510" y="33"/>
                  </a:cubicBezTo>
                  <a:cubicBezTo>
                    <a:pt x="509" y="41"/>
                    <a:pt x="504" y="49"/>
                    <a:pt x="496" y="53"/>
                  </a:cubicBezTo>
                  <a:cubicBezTo>
                    <a:pt x="491" y="55"/>
                    <a:pt x="483" y="55"/>
                    <a:pt x="477" y="55"/>
                  </a:cubicBezTo>
                  <a:cubicBezTo>
                    <a:pt x="472" y="56"/>
                    <a:pt x="467" y="56"/>
                    <a:pt x="462" y="58"/>
                  </a:cubicBezTo>
                  <a:cubicBezTo>
                    <a:pt x="457" y="57"/>
                    <a:pt x="452" y="57"/>
                    <a:pt x="447" y="57"/>
                  </a:cubicBezTo>
                  <a:cubicBezTo>
                    <a:pt x="436" y="57"/>
                    <a:pt x="425" y="57"/>
                    <a:pt x="414" y="57"/>
                  </a:cubicBezTo>
                  <a:cubicBezTo>
                    <a:pt x="391" y="58"/>
                    <a:pt x="369" y="59"/>
                    <a:pt x="347" y="58"/>
                  </a:cubicBezTo>
                  <a:cubicBezTo>
                    <a:pt x="336" y="57"/>
                    <a:pt x="325" y="56"/>
                    <a:pt x="314" y="56"/>
                  </a:cubicBezTo>
                  <a:cubicBezTo>
                    <a:pt x="302" y="56"/>
                    <a:pt x="291" y="58"/>
                    <a:pt x="280" y="59"/>
                  </a:cubicBezTo>
                  <a:cubicBezTo>
                    <a:pt x="258" y="61"/>
                    <a:pt x="235" y="63"/>
                    <a:pt x="213" y="64"/>
                  </a:cubicBezTo>
                  <a:cubicBezTo>
                    <a:pt x="193" y="64"/>
                    <a:pt x="173" y="64"/>
                    <a:pt x="154" y="63"/>
                  </a:cubicBezTo>
                  <a:cubicBezTo>
                    <a:pt x="144" y="63"/>
                    <a:pt x="134" y="62"/>
                    <a:pt x="124" y="62"/>
                  </a:cubicBezTo>
                  <a:cubicBezTo>
                    <a:pt x="114" y="62"/>
                    <a:pt x="104" y="63"/>
                    <a:pt x="94" y="64"/>
                  </a:cubicBezTo>
                  <a:cubicBezTo>
                    <a:pt x="90" y="64"/>
                    <a:pt x="85" y="65"/>
                    <a:pt x="81" y="65"/>
                  </a:cubicBezTo>
                  <a:cubicBezTo>
                    <a:pt x="66" y="62"/>
                    <a:pt x="51" y="63"/>
                    <a:pt x="36" y="61"/>
                  </a:cubicBezTo>
                  <a:cubicBezTo>
                    <a:pt x="24" y="59"/>
                    <a:pt x="9" y="55"/>
                    <a:pt x="4" y="43"/>
                  </a:cubicBezTo>
                  <a:cubicBezTo>
                    <a:pt x="0" y="30"/>
                    <a:pt x="8" y="14"/>
                    <a:pt x="21" y="10"/>
                  </a:cubicBezTo>
                  <a:cubicBezTo>
                    <a:pt x="28" y="8"/>
                    <a:pt x="36" y="9"/>
                    <a:pt x="44" y="9"/>
                  </a:cubicBezTo>
                  <a:cubicBezTo>
                    <a:pt x="50" y="9"/>
                    <a:pt x="58" y="10"/>
                    <a:pt x="64" y="8"/>
                  </a:cubicBezTo>
                  <a:cubicBezTo>
                    <a:pt x="71" y="9"/>
                    <a:pt x="78" y="9"/>
                    <a:pt x="86" y="9"/>
                  </a:cubicBezTo>
                  <a:cubicBezTo>
                    <a:pt x="97" y="9"/>
                    <a:pt x="107" y="9"/>
                    <a:pt x="118" y="9"/>
                  </a:cubicBezTo>
                  <a:cubicBezTo>
                    <a:pt x="129" y="9"/>
                    <a:pt x="140" y="8"/>
                    <a:pt x="151" y="7"/>
                  </a:cubicBezTo>
                  <a:cubicBezTo>
                    <a:pt x="174" y="5"/>
                    <a:pt x="196" y="6"/>
                    <a:pt x="219" y="6"/>
                  </a:cubicBezTo>
                  <a:cubicBezTo>
                    <a:pt x="241" y="6"/>
                    <a:pt x="263" y="7"/>
                    <a:pt x="286" y="6"/>
                  </a:cubicBezTo>
                  <a:cubicBezTo>
                    <a:pt x="302" y="6"/>
                    <a:pt x="319" y="6"/>
                    <a:pt x="335" y="6"/>
                  </a:cubicBezTo>
                  <a:cubicBezTo>
                    <a:pt x="352" y="6"/>
                    <a:pt x="369" y="6"/>
                    <a:pt x="386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íṣľiḑê"/>
            <p:cNvSpPr/>
            <p:nvPr/>
          </p:nvSpPr>
          <p:spPr bwMode="auto">
            <a:xfrm>
              <a:off x="4908889" y="5291959"/>
              <a:ext cx="2943746" cy="450540"/>
            </a:xfrm>
            <a:custGeom>
              <a:avLst/>
              <a:gdLst>
                <a:gd name="T0" fmla="*/ 294 w 418"/>
                <a:gd name="T1" fmla="*/ 6 h 64"/>
                <a:gd name="T2" fmla="*/ 294 w 418"/>
                <a:gd name="T3" fmla="*/ 6 h 64"/>
                <a:gd name="T4" fmla="*/ 318 w 418"/>
                <a:gd name="T5" fmla="*/ 6 h 64"/>
                <a:gd name="T6" fmla="*/ 343 w 418"/>
                <a:gd name="T7" fmla="*/ 6 h 64"/>
                <a:gd name="T8" fmla="*/ 368 w 418"/>
                <a:gd name="T9" fmla="*/ 3 h 64"/>
                <a:gd name="T10" fmla="*/ 391 w 418"/>
                <a:gd name="T11" fmla="*/ 0 h 64"/>
                <a:gd name="T12" fmla="*/ 394 w 418"/>
                <a:gd name="T13" fmla="*/ 1 h 64"/>
                <a:gd name="T14" fmla="*/ 407 w 418"/>
                <a:gd name="T15" fmla="*/ 8 h 64"/>
                <a:gd name="T16" fmla="*/ 418 w 418"/>
                <a:gd name="T17" fmla="*/ 33 h 64"/>
                <a:gd name="T18" fmla="*/ 404 w 418"/>
                <a:gd name="T19" fmla="*/ 53 h 64"/>
                <a:gd name="T20" fmla="*/ 385 w 418"/>
                <a:gd name="T21" fmla="*/ 55 h 64"/>
                <a:gd name="T22" fmla="*/ 370 w 418"/>
                <a:gd name="T23" fmla="*/ 58 h 64"/>
                <a:gd name="T24" fmla="*/ 355 w 418"/>
                <a:gd name="T25" fmla="*/ 57 h 64"/>
                <a:gd name="T26" fmla="*/ 322 w 418"/>
                <a:gd name="T27" fmla="*/ 57 h 64"/>
                <a:gd name="T28" fmla="*/ 255 w 418"/>
                <a:gd name="T29" fmla="*/ 58 h 64"/>
                <a:gd name="T30" fmla="*/ 222 w 418"/>
                <a:gd name="T31" fmla="*/ 56 h 64"/>
                <a:gd name="T32" fmla="*/ 188 w 418"/>
                <a:gd name="T33" fmla="*/ 59 h 64"/>
                <a:gd name="T34" fmla="*/ 121 w 418"/>
                <a:gd name="T35" fmla="*/ 64 h 64"/>
                <a:gd name="T36" fmla="*/ 62 w 418"/>
                <a:gd name="T37" fmla="*/ 63 h 64"/>
                <a:gd name="T38" fmla="*/ 32 w 418"/>
                <a:gd name="T39" fmla="*/ 62 h 64"/>
                <a:gd name="T40" fmla="*/ 27 w 418"/>
                <a:gd name="T41" fmla="*/ 62 h 64"/>
                <a:gd name="T42" fmla="*/ 243 w 418"/>
                <a:gd name="T43" fmla="*/ 6 h 64"/>
                <a:gd name="T44" fmla="*/ 294 w 418"/>
                <a:gd name="T45" fmla="*/ 6 h 64"/>
                <a:gd name="T46" fmla="*/ 17 w 418"/>
                <a:gd name="T47" fmla="*/ 63 h 64"/>
                <a:gd name="T48" fmla="*/ 2 w 418"/>
                <a:gd name="T49" fmla="*/ 64 h 64"/>
                <a:gd name="T50" fmla="*/ 0 w 418"/>
                <a:gd name="T51" fmla="*/ 64 h 64"/>
                <a:gd name="T52" fmla="*/ 17 w 418"/>
                <a:gd name="T53" fmla="*/ 6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8" h="64">
                  <a:moveTo>
                    <a:pt x="294" y="6"/>
                  </a:moveTo>
                  <a:cubicBezTo>
                    <a:pt x="294" y="6"/>
                    <a:pt x="294" y="6"/>
                    <a:pt x="294" y="6"/>
                  </a:cubicBezTo>
                  <a:cubicBezTo>
                    <a:pt x="302" y="6"/>
                    <a:pt x="310" y="6"/>
                    <a:pt x="318" y="6"/>
                  </a:cubicBezTo>
                  <a:cubicBezTo>
                    <a:pt x="327" y="6"/>
                    <a:pt x="335" y="6"/>
                    <a:pt x="343" y="6"/>
                  </a:cubicBezTo>
                  <a:cubicBezTo>
                    <a:pt x="352" y="5"/>
                    <a:pt x="360" y="4"/>
                    <a:pt x="368" y="3"/>
                  </a:cubicBezTo>
                  <a:cubicBezTo>
                    <a:pt x="376" y="1"/>
                    <a:pt x="383" y="0"/>
                    <a:pt x="391" y="0"/>
                  </a:cubicBezTo>
                  <a:cubicBezTo>
                    <a:pt x="392" y="0"/>
                    <a:pt x="393" y="1"/>
                    <a:pt x="394" y="1"/>
                  </a:cubicBezTo>
                  <a:cubicBezTo>
                    <a:pt x="398" y="3"/>
                    <a:pt x="403" y="5"/>
                    <a:pt x="407" y="8"/>
                  </a:cubicBezTo>
                  <a:cubicBezTo>
                    <a:pt x="415" y="15"/>
                    <a:pt x="418" y="24"/>
                    <a:pt x="418" y="33"/>
                  </a:cubicBezTo>
                  <a:cubicBezTo>
                    <a:pt x="417" y="41"/>
                    <a:pt x="412" y="49"/>
                    <a:pt x="404" y="53"/>
                  </a:cubicBezTo>
                  <a:cubicBezTo>
                    <a:pt x="399" y="55"/>
                    <a:pt x="391" y="55"/>
                    <a:pt x="385" y="55"/>
                  </a:cubicBezTo>
                  <a:cubicBezTo>
                    <a:pt x="380" y="56"/>
                    <a:pt x="375" y="56"/>
                    <a:pt x="370" y="58"/>
                  </a:cubicBezTo>
                  <a:cubicBezTo>
                    <a:pt x="365" y="57"/>
                    <a:pt x="360" y="57"/>
                    <a:pt x="355" y="57"/>
                  </a:cubicBezTo>
                  <a:cubicBezTo>
                    <a:pt x="344" y="57"/>
                    <a:pt x="333" y="57"/>
                    <a:pt x="322" y="57"/>
                  </a:cubicBezTo>
                  <a:cubicBezTo>
                    <a:pt x="299" y="58"/>
                    <a:pt x="277" y="59"/>
                    <a:pt x="255" y="58"/>
                  </a:cubicBezTo>
                  <a:cubicBezTo>
                    <a:pt x="244" y="57"/>
                    <a:pt x="233" y="56"/>
                    <a:pt x="222" y="56"/>
                  </a:cubicBezTo>
                  <a:cubicBezTo>
                    <a:pt x="210" y="56"/>
                    <a:pt x="199" y="58"/>
                    <a:pt x="188" y="59"/>
                  </a:cubicBezTo>
                  <a:cubicBezTo>
                    <a:pt x="166" y="61"/>
                    <a:pt x="143" y="63"/>
                    <a:pt x="121" y="64"/>
                  </a:cubicBezTo>
                  <a:cubicBezTo>
                    <a:pt x="101" y="64"/>
                    <a:pt x="81" y="64"/>
                    <a:pt x="62" y="63"/>
                  </a:cubicBezTo>
                  <a:cubicBezTo>
                    <a:pt x="52" y="63"/>
                    <a:pt x="42" y="62"/>
                    <a:pt x="32" y="62"/>
                  </a:cubicBezTo>
                  <a:cubicBezTo>
                    <a:pt x="31" y="62"/>
                    <a:pt x="29" y="62"/>
                    <a:pt x="27" y="62"/>
                  </a:cubicBezTo>
                  <a:cubicBezTo>
                    <a:pt x="187" y="54"/>
                    <a:pt x="243" y="6"/>
                    <a:pt x="243" y="6"/>
                  </a:cubicBezTo>
                  <a:cubicBezTo>
                    <a:pt x="260" y="6"/>
                    <a:pt x="277" y="6"/>
                    <a:pt x="294" y="6"/>
                  </a:cubicBezTo>
                  <a:close/>
                  <a:moveTo>
                    <a:pt x="17" y="63"/>
                  </a:moveTo>
                  <a:cubicBezTo>
                    <a:pt x="12" y="63"/>
                    <a:pt x="7" y="64"/>
                    <a:pt x="2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5" y="63"/>
                    <a:pt x="11" y="63"/>
                    <a:pt x="17" y="63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ïSlíďé"/>
            <p:cNvSpPr/>
            <p:nvPr/>
          </p:nvSpPr>
          <p:spPr bwMode="auto">
            <a:xfrm>
              <a:off x="3784237" y="4482345"/>
              <a:ext cx="464090" cy="392951"/>
            </a:xfrm>
            <a:custGeom>
              <a:avLst/>
              <a:gdLst>
                <a:gd name="T0" fmla="*/ 64 w 66"/>
                <a:gd name="T1" fmla="*/ 39 h 56"/>
                <a:gd name="T2" fmla="*/ 64 w 66"/>
                <a:gd name="T3" fmla="*/ 39 h 56"/>
                <a:gd name="T4" fmla="*/ 61 w 66"/>
                <a:gd name="T5" fmla="*/ 51 h 56"/>
                <a:gd name="T6" fmla="*/ 58 w 66"/>
                <a:gd name="T7" fmla="*/ 56 h 56"/>
                <a:gd name="T8" fmla="*/ 50 w 66"/>
                <a:gd name="T9" fmla="*/ 55 h 56"/>
                <a:gd name="T10" fmla="*/ 49 w 66"/>
                <a:gd name="T11" fmla="*/ 54 h 56"/>
                <a:gd name="T12" fmla="*/ 50 w 66"/>
                <a:gd name="T13" fmla="*/ 54 h 56"/>
                <a:gd name="T14" fmla="*/ 52 w 66"/>
                <a:gd name="T15" fmla="*/ 49 h 56"/>
                <a:gd name="T16" fmla="*/ 59 w 66"/>
                <a:gd name="T17" fmla="*/ 31 h 56"/>
                <a:gd name="T18" fmla="*/ 48 w 66"/>
                <a:gd name="T19" fmla="*/ 14 h 56"/>
                <a:gd name="T20" fmla="*/ 28 w 66"/>
                <a:gd name="T21" fmla="*/ 12 h 56"/>
                <a:gd name="T22" fmla="*/ 13 w 66"/>
                <a:gd name="T23" fmla="*/ 27 h 56"/>
                <a:gd name="T24" fmla="*/ 9 w 66"/>
                <a:gd name="T25" fmla="*/ 37 h 56"/>
                <a:gd name="T26" fmla="*/ 7 w 66"/>
                <a:gd name="T27" fmla="*/ 42 h 56"/>
                <a:gd name="T28" fmla="*/ 6 w 66"/>
                <a:gd name="T29" fmla="*/ 44 h 56"/>
                <a:gd name="T30" fmla="*/ 3 w 66"/>
                <a:gd name="T31" fmla="*/ 45 h 56"/>
                <a:gd name="T32" fmla="*/ 1 w 66"/>
                <a:gd name="T33" fmla="*/ 44 h 56"/>
                <a:gd name="T34" fmla="*/ 1 w 66"/>
                <a:gd name="T35" fmla="*/ 44 h 56"/>
                <a:gd name="T36" fmla="*/ 1 w 66"/>
                <a:gd name="T37" fmla="*/ 43 h 56"/>
                <a:gd name="T38" fmla="*/ 0 w 66"/>
                <a:gd name="T39" fmla="*/ 43 h 56"/>
                <a:gd name="T40" fmla="*/ 0 w 66"/>
                <a:gd name="T41" fmla="*/ 43 h 56"/>
                <a:gd name="T42" fmla="*/ 0 w 66"/>
                <a:gd name="T43" fmla="*/ 41 h 56"/>
                <a:gd name="T44" fmla="*/ 0 w 66"/>
                <a:gd name="T45" fmla="*/ 39 h 56"/>
                <a:gd name="T46" fmla="*/ 0 w 66"/>
                <a:gd name="T47" fmla="*/ 39 h 56"/>
                <a:gd name="T48" fmla="*/ 0 w 66"/>
                <a:gd name="T49" fmla="*/ 37 h 56"/>
                <a:gd name="T50" fmla="*/ 2 w 66"/>
                <a:gd name="T51" fmla="*/ 33 h 56"/>
                <a:gd name="T52" fmla="*/ 4 w 66"/>
                <a:gd name="T53" fmla="*/ 26 h 56"/>
                <a:gd name="T54" fmla="*/ 10 w 66"/>
                <a:gd name="T55" fmla="*/ 11 h 56"/>
                <a:gd name="T56" fmla="*/ 12 w 66"/>
                <a:gd name="T57" fmla="*/ 8 h 56"/>
                <a:gd name="T58" fmla="*/ 12 w 66"/>
                <a:gd name="T59" fmla="*/ 7 h 56"/>
                <a:gd name="T60" fmla="*/ 19 w 66"/>
                <a:gd name="T61" fmla="*/ 2 h 56"/>
                <a:gd name="T62" fmla="*/ 28 w 66"/>
                <a:gd name="T63" fmla="*/ 1 h 56"/>
                <a:gd name="T64" fmla="*/ 47 w 66"/>
                <a:gd name="T65" fmla="*/ 4 h 56"/>
                <a:gd name="T66" fmla="*/ 64 w 66"/>
                <a:gd name="T67" fmla="*/ 3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56">
                  <a:moveTo>
                    <a:pt x="64" y="39"/>
                  </a:moveTo>
                  <a:cubicBezTo>
                    <a:pt x="64" y="39"/>
                    <a:pt x="64" y="39"/>
                    <a:pt x="64" y="39"/>
                  </a:cubicBezTo>
                  <a:cubicBezTo>
                    <a:pt x="64" y="43"/>
                    <a:pt x="63" y="47"/>
                    <a:pt x="61" y="51"/>
                  </a:cubicBezTo>
                  <a:cubicBezTo>
                    <a:pt x="60" y="53"/>
                    <a:pt x="59" y="55"/>
                    <a:pt x="58" y="56"/>
                  </a:cubicBezTo>
                  <a:cubicBezTo>
                    <a:pt x="56" y="56"/>
                    <a:pt x="53" y="56"/>
                    <a:pt x="50" y="55"/>
                  </a:cubicBezTo>
                  <a:cubicBezTo>
                    <a:pt x="50" y="55"/>
                    <a:pt x="50" y="55"/>
                    <a:pt x="49" y="54"/>
                  </a:cubicBezTo>
                  <a:cubicBezTo>
                    <a:pt x="49" y="54"/>
                    <a:pt x="49" y="54"/>
                    <a:pt x="50" y="54"/>
                  </a:cubicBezTo>
                  <a:cubicBezTo>
                    <a:pt x="50" y="52"/>
                    <a:pt x="51" y="51"/>
                    <a:pt x="52" y="49"/>
                  </a:cubicBezTo>
                  <a:cubicBezTo>
                    <a:pt x="55" y="44"/>
                    <a:pt x="58" y="38"/>
                    <a:pt x="59" y="31"/>
                  </a:cubicBezTo>
                  <a:cubicBezTo>
                    <a:pt x="60" y="24"/>
                    <a:pt x="54" y="18"/>
                    <a:pt x="48" y="14"/>
                  </a:cubicBezTo>
                  <a:cubicBezTo>
                    <a:pt x="42" y="10"/>
                    <a:pt x="34" y="9"/>
                    <a:pt x="28" y="12"/>
                  </a:cubicBezTo>
                  <a:cubicBezTo>
                    <a:pt x="21" y="15"/>
                    <a:pt x="17" y="21"/>
                    <a:pt x="13" y="27"/>
                  </a:cubicBezTo>
                  <a:cubicBezTo>
                    <a:pt x="11" y="30"/>
                    <a:pt x="10" y="34"/>
                    <a:pt x="9" y="37"/>
                  </a:cubicBezTo>
                  <a:cubicBezTo>
                    <a:pt x="8" y="39"/>
                    <a:pt x="7" y="41"/>
                    <a:pt x="7" y="42"/>
                  </a:cubicBezTo>
                  <a:cubicBezTo>
                    <a:pt x="7" y="43"/>
                    <a:pt x="5" y="45"/>
                    <a:pt x="6" y="44"/>
                  </a:cubicBezTo>
                  <a:cubicBezTo>
                    <a:pt x="5" y="45"/>
                    <a:pt x="4" y="45"/>
                    <a:pt x="3" y="45"/>
                  </a:cubicBezTo>
                  <a:cubicBezTo>
                    <a:pt x="2" y="45"/>
                    <a:pt x="2" y="44"/>
                    <a:pt x="1" y="44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4"/>
                    <a:pt x="1" y="44"/>
                    <a:pt x="1" y="43"/>
                  </a:cubicBezTo>
                  <a:cubicBezTo>
                    <a:pt x="1" y="43"/>
                    <a:pt x="0" y="43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2"/>
                    <a:pt x="0" y="41"/>
                  </a:cubicBezTo>
                  <a:cubicBezTo>
                    <a:pt x="0" y="41"/>
                    <a:pt x="0" y="40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8"/>
                    <a:pt x="0" y="37"/>
                  </a:cubicBezTo>
                  <a:cubicBezTo>
                    <a:pt x="1" y="36"/>
                    <a:pt x="1" y="35"/>
                    <a:pt x="2" y="33"/>
                  </a:cubicBezTo>
                  <a:cubicBezTo>
                    <a:pt x="2" y="31"/>
                    <a:pt x="3" y="28"/>
                    <a:pt x="4" y="26"/>
                  </a:cubicBezTo>
                  <a:cubicBezTo>
                    <a:pt x="6" y="21"/>
                    <a:pt x="7" y="16"/>
                    <a:pt x="10" y="11"/>
                  </a:cubicBezTo>
                  <a:cubicBezTo>
                    <a:pt x="10" y="10"/>
                    <a:pt x="11" y="9"/>
                    <a:pt x="12" y="8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4" y="6"/>
                    <a:pt x="17" y="4"/>
                    <a:pt x="19" y="2"/>
                  </a:cubicBezTo>
                  <a:cubicBezTo>
                    <a:pt x="22" y="1"/>
                    <a:pt x="25" y="1"/>
                    <a:pt x="28" y="1"/>
                  </a:cubicBezTo>
                  <a:cubicBezTo>
                    <a:pt x="34" y="0"/>
                    <a:pt x="41" y="1"/>
                    <a:pt x="47" y="4"/>
                  </a:cubicBezTo>
                  <a:cubicBezTo>
                    <a:pt x="60" y="10"/>
                    <a:pt x="66" y="24"/>
                    <a:pt x="64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îŝlïdê"/>
            <p:cNvSpPr/>
            <p:nvPr/>
          </p:nvSpPr>
          <p:spPr bwMode="auto">
            <a:xfrm>
              <a:off x="4072176" y="4495895"/>
              <a:ext cx="176150" cy="379401"/>
            </a:xfrm>
            <a:custGeom>
              <a:avLst/>
              <a:gdLst>
                <a:gd name="T0" fmla="*/ 23 w 25"/>
                <a:gd name="T1" fmla="*/ 37 h 54"/>
                <a:gd name="T2" fmla="*/ 23 w 25"/>
                <a:gd name="T3" fmla="*/ 37 h 54"/>
                <a:gd name="T4" fmla="*/ 20 w 25"/>
                <a:gd name="T5" fmla="*/ 49 h 54"/>
                <a:gd name="T6" fmla="*/ 17 w 25"/>
                <a:gd name="T7" fmla="*/ 54 h 54"/>
                <a:gd name="T8" fmla="*/ 9 w 25"/>
                <a:gd name="T9" fmla="*/ 53 h 54"/>
                <a:gd name="T10" fmla="*/ 8 w 25"/>
                <a:gd name="T11" fmla="*/ 52 h 54"/>
                <a:gd name="T12" fmla="*/ 9 w 25"/>
                <a:gd name="T13" fmla="*/ 52 h 54"/>
                <a:gd name="T14" fmla="*/ 11 w 25"/>
                <a:gd name="T15" fmla="*/ 47 h 54"/>
                <a:gd name="T16" fmla="*/ 18 w 25"/>
                <a:gd name="T17" fmla="*/ 29 h 54"/>
                <a:gd name="T18" fmla="*/ 7 w 25"/>
                <a:gd name="T19" fmla="*/ 12 h 54"/>
                <a:gd name="T20" fmla="*/ 0 w 25"/>
                <a:gd name="T21" fmla="*/ 9 h 54"/>
                <a:gd name="T22" fmla="*/ 2 w 25"/>
                <a:gd name="T23" fmla="*/ 0 h 54"/>
                <a:gd name="T24" fmla="*/ 6 w 25"/>
                <a:gd name="T25" fmla="*/ 2 h 54"/>
                <a:gd name="T26" fmla="*/ 23 w 25"/>
                <a:gd name="T27" fmla="*/ 3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54">
                  <a:moveTo>
                    <a:pt x="23" y="37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41"/>
                    <a:pt x="22" y="45"/>
                    <a:pt x="20" y="49"/>
                  </a:cubicBezTo>
                  <a:cubicBezTo>
                    <a:pt x="19" y="51"/>
                    <a:pt x="18" y="53"/>
                    <a:pt x="17" y="54"/>
                  </a:cubicBezTo>
                  <a:cubicBezTo>
                    <a:pt x="15" y="54"/>
                    <a:pt x="12" y="54"/>
                    <a:pt x="9" y="53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8" y="52"/>
                    <a:pt x="8" y="52"/>
                    <a:pt x="9" y="52"/>
                  </a:cubicBezTo>
                  <a:cubicBezTo>
                    <a:pt x="9" y="50"/>
                    <a:pt x="10" y="49"/>
                    <a:pt x="11" y="47"/>
                  </a:cubicBezTo>
                  <a:cubicBezTo>
                    <a:pt x="14" y="42"/>
                    <a:pt x="17" y="36"/>
                    <a:pt x="18" y="29"/>
                  </a:cubicBezTo>
                  <a:cubicBezTo>
                    <a:pt x="19" y="22"/>
                    <a:pt x="13" y="16"/>
                    <a:pt x="7" y="12"/>
                  </a:cubicBezTo>
                  <a:cubicBezTo>
                    <a:pt x="5" y="10"/>
                    <a:pt x="2" y="9"/>
                    <a:pt x="0" y="9"/>
                  </a:cubicBezTo>
                  <a:cubicBezTo>
                    <a:pt x="1" y="6"/>
                    <a:pt x="1" y="3"/>
                    <a:pt x="2" y="0"/>
                  </a:cubicBezTo>
                  <a:cubicBezTo>
                    <a:pt x="4" y="1"/>
                    <a:pt x="5" y="1"/>
                    <a:pt x="6" y="2"/>
                  </a:cubicBezTo>
                  <a:cubicBezTo>
                    <a:pt x="19" y="8"/>
                    <a:pt x="25" y="22"/>
                    <a:pt x="23" y="37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isḷîḋé"/>
            <p:cNvSpPr/>
            <p:nvPr/>
          </p:nvSpPr>
          <p:spPr bwMode="auto">
            <a:xfrm>
              <a:off x="6860094" y="5474884"/>
              <a:ext cx="0" cy="6775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1 h 1"/>
                <a:gd name="T4" fmla="*/ 1 h 1"/>
                <a:gd name="T5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íṧļïde"/>
            <p:cNvSpPr/>
            <p:nvPr/>
          </p:nvSpPr>
          <p:spPr bwMode="auto">
            <a:xfrm>
              <a:off x="6717819" y="5383422"/>
              <a:ext cx="247289" cy="230351"/>
            </a:xfrm>
            <a:custGeom>
              <a:avLst/>
              <a:gdLst>
                <a:gd name="T0" fmla="*/ 30 w 35"/>
                <a:gd name="T1" fmla="*/ 22 h 33"/>
                <a:gd name="T2" fmla="*/ 31 w 35"/>
                <a:gd name="T3" fmla="*/ 6 h 33"/>
                <a:gd name="T4" fmla="*/ 16 w 35"/>
                <a:gd name="T5" fmla="*/ 1 h 33"/>
                <a:gd name="T6" fmla="*/ 4 w 35"/>
                <a:gd name="T7" fmla="*/ 9 h 33"/>
                <a:gd name="T8" fmla="*/ 3 w 35"/>
                <a:gd name="T9" fmla="*/ 10 h 33"/>
                <a:gd name="T10" fmla="*/ 4 w 35"/>
                <a:gd name="T11" fmla="*/ 26 h 33"/>
                <a:gd name="T12" fmla="*/ 30 w 35"/>
                <a:gd name="T13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3">
                  <a:moveTo>
                    <a:pt x="30" y="22"/>
                  </a:moveTo>
                  <a:cubicBezTo>
                    <a:pt x="35" y="17"/>
                    <a:pt x="35" y="11"/>
                    <a:pt x="31" y="6"/>
                  </a:cubicBezTo>
                  <a:cubicBezTo>
                    <a:pt x="27" y="2"/>
                    <a:pt x="21" y="0"/>
                    <a:pt x="16" y="1"/>
                  </a:cubicBezTo>
                  <a:cubicBezTo>
                    <a:pt x="10" y="1"/>
                    <a:pt x="5" y="4"/>
                    <a:pt x="4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15"/>
                    <a:pt x="0" y="21"/>
                    <a:pt x="4" y="26"/>
                  </a:cubicBezTo>
                  <a:cubicBezTo>
                    <a:pt x="10" y="33"/>
                    <a:pt x="25" y="29"/>
                    <a:pt x="30" y="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î$ľîdê"/>
            <p:cNvSpPr/>
            <p:nvPr/>
          </p:nvSpPr>
          <p:spPr bwMode="auto">
            <a:xfrm>
              <a:off x="7388545" y="5369872"/>
              <a:ext cx="254064" cy="237126"/>
            </a:xfrm>
            <a:custGeom>
              <a:avLst/>
              <a:gdLst>
                <a:gd name="T0" fmla="*/ 18 w 36"/>
                <a:gd name="T1" fmla="*/ 34 h 34"/>
                <a:gd name="T2" fmla="*/ 31 w 36"/>
                <a:gd name="T3" fmla="*/ 26 h 34"/>
                <a:gd name="T4" fmla="*/ 21 w 36"/>
                <a:gd name="T5" fmla="*/ 2 h 34"/>
                <a:gd name="T6" fmla="*/ 6 w 36"/>
                <a:gd name="T7" fmla="*/ 7 h 34"/>
                <a:gd name="T8" fmla="*/ 3 w 36"/>
                <a:gd name="T9" fmla="*/ 11 h 34"/>
                <a:gd name="T10" fmla="*/ 4 w 36"/>
                <a:gd name="T11" fmla="*/ 26 h 34"/>
                <a:gd name="T12" fmla="*/ 18 w 36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24" y="34"/>
                    <a:pt x="29" y="31"/>
                    <a:pt x="31" y="26"/>
                  </a:cubicBezTo>
                  <a:cubicBezTo>
                    <a:pt x="36" y="17"/>
                    <a:pt x="30" y="5"/>
                    <a:pt x="21" y="2"/>
                  </a:cubicBezTo>
                  <a:cubicBezTo>
                    <a:pt x="15" y="0"/>
                    <a:pt x="9" y="2"/>
                    <a:pt x="6" y="7"/>
                  </a:cubicBezTo>
                  <a:cubicBezTo>
                    <a:pt x="5" y="8"/>
                    <a:pt x="4" y="9"/>
                    <a:pt x="3" y="11"/>
                  </a:cubicBezTo>
                  <a:cubicBezTo>
                    <a:pt x="0" y="16"/>
                    <a:pt x="1" y="22"/>
                    <a:pt x="4" y="26"/>
                  </a:cubicBezTo>
                  <a:cubicBezTo>
                    <a:pt x="8" y="31"/>
                    <a:pt x="12" y="34"/>
                    <a:pt x="18" y="3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ïṧľiḓè"/>
            <p:cNvSpPr/>
            <p:nvPr/>
          </p:nvSpPr>
          <p:spPr bwMode="auto">
            <a:xfrm>
              <a:off x="5261190" y="5403747"/>
              <a:ext cx="216801" cy="226964"/>
            </a:xfrm>
            <a:custGeom>
              <a:avLst/>
              <a:gdLst>
                <a:gd name="T0" fmla="*/ 3 w 31"/>
                <a:gd name="T1" fmla="*/ 12 h 32"/>
                <a:gd name="T2" fmla="*/ 3 w 31"/>
                <a:gd name="T3" fmla="*/ 15 h 32"/>
                <a:gd name="T4" fmla="*/ 11 w 31"/>
                <a:gd name="T5" fmla="*/ 30 h 32"/>
                <a:gd name="T6" fmla="*/ 27 w 31"/>
                <a:gd name="T7" fmla="*/ 26 h 32"/>
                <a:gd name="T8" fmla="*/ 28 w 31"/>
                <a:gd name="T9" fmla="*/ 11 h 32"/>
                <a:gd name="T10" fmla="*/ 3 w 31"/>
                <a:gd name="T11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2">
                  <a:moveTo>
                    <a:pt x="3" y="12"/>
                  </a:moveTo>
                  <a:cubicBezTo>
                    <a:pt x="3" y="13"/>
                    <a:pt x="3" y="14"/>
                    <a:pt x="3" y="15"/>
                  </a:cubicBezTo>
                  <a:cubicBezTo>
                    <a:pt x="0" y="22"/>
                    <a:pt x="5" y="27"/>
                    <a:pt x="11" y="30"/>
                  </a:cubicBezTo>
                  <a:cubicBezTo>
                    <a:pt x="16" y="32"/>
                    <a:pt x="23" y="31"/>
                    <a:pt x="27" y="26"/>
                  </a:cubicBezTo>
                  <a:cubicBezTo>
                    <a:pt x="31" y="22"/>
                    <a:pt x="31" y="16"/>
                    <a:pt x="28" y="11"/>
                  </a:cubicBezTo>
                  <a:cubicBezTo>
                    <a:pt x="24" y="2"/>
                    <a:pt x="5" y="0"/>
                    <a:pt x="3" y="1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íşļiḋè"/>
            <p:cNvSpPr/>
            <p:nvPr/>
          </p:nvSpPr>
          <p:spPr bwMode="auto">
            <a:xfrm>
              <a:off x="4563364" y="5430848"/>
              <a:ext cx="226964" cy="220189"/>
            </a:xfrm>
            <a:custGeom>
              <a:avLst/>
              <a:gdLst>
                <a:gd name="T0" fmla="*/ 24 w 32"/>
                <a:gd name="T1" fmla="*/ 4 h 31"/>
                <a:gd name="T2" fmla="*/ 5 w 32"/>
                <a:gd name="T3" fmla="*/ 5 h 31"/>
                <a:gd name="T4" fmla="*/ 3 w 32"/>
                <a:gd name="T5" fmla="*/ 7 h 31"/>
                <a:gd name="T6" fmla="*/ 0 w 32"/>
                <a:gd name="T7" fmla="*/ 16 h 31"/>
                <a:gd name="T8" fmla="*/ 9 w 32"/>
                <a:gd name="T9" fmla="*/ 28 h 31"/>
                <a:gd name="T10" fmla="*/ 28 w 32"/>
                <a:gd name="T11" fmla="*/ 25 h 31"/>
                <a:gd name="T12" fmla="*/ 31 w 32"/>
                <a:gd name="T13" fmla="*/ 13 h 31"/>
                <a:gd name="T14" fmla="*/ 24 w 32"/>
                <a:gd name="T1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1">
                  <a:moveTo>
                    <a:pt x="24" y="4"/>
                  </a:moveTo>
                  <a:cubicBezTo>
                    <a:pt x="19" y="1"/>
                    <a:pt x="11" y="0"/>
                    <a:pt x="5" y="5"/>
                  </a:cubicBezTo>
                  <a:cubicBezTo>
                    <a:pt x="4" y="5"/>
                    <a:pt x="4" y="6"/>
                    <a:pt x="3" y="7"/>
                  </a:cubicBezTo>
                  <a:cubicBezTo>
                    <a:pt x="1" y="10"/>
                    <a:pt x="0" y="13"/>
                    <a:pt x="0" y="16"/>
                  </a:cubicBezTo>
                  <a:cubicBezTo>
                    <a:pt x="0" y="22"/>
                    <a:pt x="4" y="26"/>
                    <a:pt x="9" y="28"/>
                  </a:cubicBezTo>
                  <a:cubicBezTo>
                    <a:pt x="15" y="31"/>
                    <a:pt x="23" y="29"/>
                    <a:pt x="28" y="25"/>
                  </a:cubicBezTo>
                  <a:cubicBezTo>
                    <a:pt x="31" y="22"/>
                    <a:pt x="32" y="17"/>
                    <a:pt x="31" y="13"/>
                  </a:cubicBezTo>
                  <a:cubicBezTo>
                    <a:pt x="31" y="9"/>
                    <a:pt x="28" y="7"/>
                    <a:pt x="24" y="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išḷiḋê"/>
            <p:cNvSpPr/>
            <p:nvPr/>
          </p:nvSpPr>
          <p:spPr bwMode="auto">
            <a:xfrm>
              <a:off x="5938692" y="5417298"/>
              <a:ext cx="250676" cy="226964"/>
            </a:xfrm>
            <a:custGeom>
              <a:avLst/>
              <a:gdLst>
                <a:gd name="T0" fmla="*/ 26 w 36"/>
                <a:gd name="T1" fmla="*/ 3 h 32"/>
                <a:gd name="T2" fmla="*/ 17 w 36"/>
                <a:gd name="T3" fmla="*/ 3 h 32"/>
                <a:gd name="T4" fmla="*/ 15 w 36"/>
                <a:gd name="T5" fmla="*/ 2 h 32"/>
                <a:gd name="T6" fmla="*/ 3 w 36"/>
                <a:gd name="T7" fmla="*/ 19 h 32"/>
                <a:gd name="T8" fmla="*/ 28 w 36"/>
                <a:gd name="T9" fmla="*/ 27 h 32"/>
                <a:gd name="T10" fmla="*/ 36 w 36"/>
                <a:gd name="T11" fmla="*/ 15 h 32"/>
                <a:gd name="T12" fmla="*/ 26 w 36"/>
                <a:gd name="T1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2">
                  <a:moveTo>
                    <a:pt x="26" y="3"/>
                  </a:moveTo>
                  <a:cubicBezTo>
                    <a:pt x="23" y="2"/>
                    <a:pt x="20" y="2"/>
                    <a:pt x="17" y="3"/>
                  </a:cubicBezTo>
                  <a:cubicBezTo>
                    <a:pt x="16" y="3"/>
                    <a:pt x="16" y="2"/>
                    <a:pt x="15" y="2"/>
                  </a:cubicBezTo>
                  <a:cubicBezTo>
                    <a:pt x="6" y="0"/>
                    <a:pt x="0" y="12"/>
                    <a:pt x="3" y="19"/>
                  </a:cubicBezTo>
                  <a:cubicBezTo>
                    <a:pt x="6" y="29"/>
                    <a:pt x="20" y="32"/>
                    <a:pt x="28" y="27"/>
                  </a:cubicBezTo>
                  <a:cubicBezTo>
                    <a:pt x="33" y="24"/>
                    <a:pt x="36" y="20"/>
                    <a:pt x="36" y="15"/>
                  </a:cubicBezTo>
                  <a:cubicBezTo>
                    <a:pt x="36" y="9"/>
                    <a:pt x="31" y="5"/>
                    <a:pt x="26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iṥľïḓé"/>
            <p:cNvSpPr/>
            <p:nvPr/>
          </p:nvSpPr>
          <p:spPr bwMode="auto">
            <a:xfrm>
              <a:off x="6372293" y="4130045"/>
              <a:ext cx="626690" cy="880752"/>
            </a:xfrm>
            <a:custGeom>
              <a:avLst/>
              <a:gdLst>
                <a:gd name="T0" fmla="*/ 87 w 89"/>
                <a:gd name="T1" fmla="*/ 62 h 125"/>
                <a:gd name="T2" fmla="*/ 88 w 89"/>
                <a:gd name="T3" fmla="*/ 31 h 125"/>
                <a:gd name="T4" fmla="*/ 84 w 89"/>
                <a:gd name="T5" fmla="*/ 14 h 125"/>
                <a:gd name="T6" fmla="*/ 74 w 89"/>
                <a:gd name="T7" fmla="*/ 5 h 125"/>
                <a:gd name="T8" fmla="*/ 47 w 89"/>
                <a:gd name="T9" fmla="*/ 1 h 125"/>
                <a:gd name="T10" fmla="*/ 13 w 89"/>
                <a:gd name="T11" fmla="*/ 2 h 125"/>
                <a:gd name="T12" fmla="*/ 2 w 89"/>
                <a:gd name="T13" fmla="*/ 7 h 125"/>
                <a:gd name="T14" fmla="*/ 4 w 89"/>
                <a:gd name="T15" fmla="*/ 19 h 125"/>
                <a:gd name="T16" fmla="*/ 3 w 89"/>
                <a:gd name="T17" fmla="*/ 30 h 125"/>
                <a:gd name="T18" fmla="*/ 3 w 89"/>
                <a:gd name="T19" fmla="*/ 45 h 125"/>
                <a:gd name="T20" fmla="*/ 4 w 89"/>
                <a:gd name="T21" fmla="*/ 75 h 125"/>
                <a:gd name="T22" fmla="*/ 3 w 89"/>
                <a:gd name="T23" fmla="*/ 103 h 125"/>
                <a:gd name="T24" fmla="*/ 11 w 89"/>
                <a:gd name="T25" fmla="*/ 118 h 125"/>
                <a:gd name="T26" fmla="*/ 41 w 89"/>
                <a:gd name="T27" fmla="*/ 124 h 125"/>
                <a:gd name="T28" fmla="*/ 57 w 89"/>
                <a:gd name="T29" fmla="*/ 123 h 125"/>
                <a:gd name="T30" fmla="*/ 69 w 89"/>
                <a:gd name="T31" fmla="*/ 123 h 125"/>
                <a:gd name="T32" fmla="*/ 81 w 89"/>
                <a:gd name="T33" fmla="*/ 121 h 125"/>
                <a:gd name="T34" fmla="*/ 83 w 89"/>
                <a:gd name="T35" fmla="*/ 120 h 125"/>
                <a:gd name="T36" fmla="*/ 88 w 89"/>
                <a:gd name="T37" fmla="*/ 109 h 125"/>
                <a:gd name="T38" fmla="*/ 88 w 89"/>
                <a:gd name="T39" fmla="*/ 93 h 125"/>
                <a:gd name="T40" fmla="*/ 87 w 89"/>
                <a:gd name="T41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9" h="125">
                  <a:moveTo>
                    <a:pt x="87" y="62"/>
                  </a:moveTo>
                  <a:cubicBezTo>
                    <a:pt x="87" y="52"/>
                    <a:pt x="88" y="42"/>
                    <a:pt x="88" y="31"/>
                  </a:cubicBezTo>
                  <a:cubicBezTo>
                    <a:pt x="87" y="26"/>
                    <a:pt x="89" y="17"/>
                    <a:pt x="84" y="14"/>
                  </a:cubicBezTo>
                  <a:cubicBezTo>
                    <a:pt x="83" y="10"/>
                    <a:pt x="78" y="7"/>
                    <a:pt x="74" y="5"/>
                  </a:cubicBezTo>
                  <a:cubicBezTo>
                    <a:pt x="66" y="2"/>
                    <a:pt x="56" y="2"/>
                    <a:pt x="47" y="1"/>
                  </a:cubicBezTo>
                  <a:cubicBezTo>
                    <a:pt x="36" y="0"/>
                    <a:pt x="24" y="0"/>
                    <a:pt x="13" y="2"/>
                  </a:cubicBezTo>
                  <a:cubicBezTo>
                    <a:pt x="9" y="2"/>
                    <a:pt x="5" y="4"/>
                    <a:pt x="2" y="7"/>
                  </a:cubicBezTo>
                  <a:cubicBezTo>
                    <a:pt x="0" y="11"/>
                    <a:pt x="1" y="16"/>
                    <a:pt x="4" y="19"/>
                  </a:cubicBezTo>
                  <a:cubicBezTo>
                    <a:pt x="4" y="23"/>
                    <a:pt x="3" y="26"/>
                    <a:pt x="3" y="30"/>
                  </a:cubicBezTo>
                  <a:cubicBezTo>
                    <a:pt x="3" y="35"/>
                    <a:pt x="3" y="40"/>
                    <a:pt x="3" y="45"/>
                  </a:cubicBezTo>
                  <a:cubicBezTo>
                    <a:pt x="3" y="55"/>
                    <a:pt x="4" y="65"/>
                    <a:pt x="4" y="75"/>
                  </a:cubicBezTo>
                  <a:cubicBezTo>
                    <a:pt x="3" y="84"/>
                    <a:pt x="2" y="94"/>
                    <a:pt x="3" y="103"/>
                  </a:cubicBezTo>
                  <a:cubicBezTo>
                    <a:pt x="4" y="109"/>
                    <a:pt x="6" y="114"/>
                    <a:pt x="11" y="118"/>
                  </a:cubicBezTo>
                  <a:cubicBezTo>
                    <a:pt x="19" y="125"/>
                    <a:pt x="31" y="125"/>
                    <a:pt x="41" y="124"/>
                  </a:cubicBezTo>
                  <a:cubicBezTo>
                    <a:pt x="47" y="124"/>
                    <a:pt x="52" y="123"/>
                    <a:pt x="57" y="123"/>
                  </a:cubicBezTo>
                  <a:cubicBezTo>
                    <a:pt x="61" y="123"/>
                    <a:pt x="65" y="123"/>
                    <a:pt x="69" y="123"/>
                  </a:cubicBezTo>
                  <a:cubicBezTo>
                    <a:pt x="74" y="123"/>
                    <a:pt x="78" y="123"/>
                    <a:pt x="81" y="121"/>
                  </a:cubicBezTo>
                  <a:cubicBezTo>
                    <a:pt x="82" y="121"/>
                    <a:pt x="83" y="121"/>
                    <a:pt x="83" y="120"/>
                  </a:cubicBezTo>
                  <a:cubicBezTo>
                    <a:pt x="87" y="117"/>
                    <a:pt x="87" y="113"/>
                    <a:pt x="88" y="109"/>
                  </a:cubicBezTo>
                  <a:cubicBezTo>
                    <a:pt x="88" y="104"/>
                    <a:pt x="88" y="98"/>
                    <a:pt x="88" y="93"/>
                  </a:cubicBezTo>
                  <a:cubicBezTo>
                    <a:pt x="88" y="83"/>
                    <a:pt x="87" y="73"/>
                    <a:pt x="87" y="6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is1iḑé"/>
            <p:cNvSpPr/>
            <p:nvPr/>
          </p:nvSpPr>
          <p:spPr bwMode="auto">
            <a:xfrm>
              <a:off x="6162267" y="3513518"/>
              <a:ext cx="633465" cy="633465"/>
            </a:xfrm>
            <a:custGeom>
              <a:avLst/>
              <a:gdLst>
                <a:gd name="T0" fmla="*/ 86 w 90"/>
                <a:gd name="T1" fmla="*/ 47 h 90"/>
                <a:gd name="T2" fmla="*/ 72 w 90"/>
                <a:gd name="T3" fmla="*/ 9 h 90"/>
                <a:gd name="T4" fmla="*/ 50 w 90"/>
                <a:gd name="T5" fmla="*/ 1 h 90"/>
                <a:gd name="T6" fmla="*/ 27 w 90"/>
                <a:gd name="T7" fmla="*/ 6 h 90"/>
                <a:gd name="T8" fmla="*/ 26 w 90"/>
                <a:gd name="T9" fmla="*/ 6 h 90"/>
                <a:gd name="T10" fmla="*/ 21 w 90"/>
                <a:gd name="T11" fmla="*/ 8 h 90"/>
                <a:gd name="T12" fmla="*/ 6 w 90"/>
                <a:gd name="T13" fmla="*/ 26 h 90"/>
                <a:gd name="T14" fmla="*/ 17 w 90"/>
                <a:gd name="T15" fmla="*/ 70 h 90"/>
                <a:gd name="T16" fmla="*/ 86 w 90"/>
                <a:gd name="T17" fmla="*/ 4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90">
                  <a:moveTo>
                    <a:pt x="86" y="47"/>
                  </a:moveTo>
                  <a:cubicBezTo>
                    <a:pt x="90" y="33"/>
                    <a:pt x="84" y="17"/>
                    <a:pt x="72" y="9"/>
                  </a:cubicBezTo>
                  <a:cubicBezTo>
                    <a:pt x="66" y="4"/>
                    <a:pt x="58" y="2"/>
                    <a:pt x="50" y="1"/>
                  </a:cubicBezTo>
                  <a:cubicBezTo>
                    <a:pt x="42" y="0"/>
                    <a:pt x="32" y="0"/>
                    <a:pt x="27" y="6"/>
                  </a:cubicBezTo>
                  <a:cubicBezTo>
                    <a:pt x="27" y="6"/>
                    <a:pt x="26" y="6"/>
                    <a:pt x="26" y="6"/>
                  </a:cubicBezTo>
                  <a:cubicBezTo>
                    <a:pt x="25" y="6"/>
                    <a:pt x="23" y="7"/>
                    <a:pt x="21" y="8"/>
                  </a:cubicBezTo>
                  <a:cubicBezTo>
                    <a:pt x="14" y="11"/>
                    <a:pt x="9" y="18"/>
                    <a:pt x="6" y="26"/>
                  </a:cubicBezTo>
                  <a:cubicBezTo>
                    <a:pt x="0" y="40"/>
                    <a:pt x="5" y="59"/>
                    <a:pt x="17" y="70"/>
                  </a:cubicBezTo>
                  <a:cubicBezTo>
                    <a:pt x="39" y="90"/>
                    <a:pt x="77" y="74"/>
                    <a:pt x="86" y="47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íSļídè"/>
            <p:cNvSpPr/>
            <p:nvPr/>
          </p:nvSpPr>
          <p:spPr bwMode="auto">
            <a:xfrm>
              <a:off x="5823517" y="3012167"/>
              <a:ext cx="372626" cy="162600"/>
            </a:xfrm>
            <a:custGeom>
              <a:avLst/>
              <a:gdLst>
                <a:gd name="T0" fmla="*/ 46 w 53"/>
                <a:gd name="T1" fmla="*/ 3 h 23"/>
                <a:gd name="T2" fmla="*/ 35 w 53"/>
                <a:gd name="T3" fmla="*/ 10 h 23"/>
                <a:gd name="T4" fmla="*/ 24 w 53"/>
                <a:gd name="T5" fmla="*/ 11 h 23"/>
                <a:gd name="T6" fmla="*/ 15 w 53"/>
                <a:gd name="T7" fmla="*/ 9 h 23"/>
                <a:gd name="T8" fmla="*/ 7 w 53"/>
                <a:gd name="T9" fmla="*/ 3 h 23"/>
                <a:gd name="T10" fmla="*/ 4 w 53"/>
                <a:gd name="T11" fmla="*/ 4 h 23"/>
                <a:gd name="T12" fmla="*/ 21 w 53"/>
                <a:gd name="T13" fmla="*/ 20 h 23"/>
                <a:gd name="T14" fmla="*/ 52 w 53"/>
                <a:gd name="T15" fmla="*/ 9 h 23"/>
                <a:gd name="T16" fmla="*/ 46 w 53"/>
                <a:gd name="T1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3">
                  <a:moveTo>
                    <a:pt x="46" y="3"/>
                  </a:moveTo>
                  <a:cubicBezTo>
                    <a:pt x="42" y="5"/>
                    <a:pt x="39" y="8"/>
                    <a:pt x="35" y="10"/>
                  </a:cubicBezTo>
                  <a:cubicBezTo>
                    <a:pt x="32" y="11"/>
                    <a:pt x="28" y="12"/>
                    <a:pt x="24" y="11"/>
                  </a:cubicBezTo>
                  <a:cubicBezTo>
                    <a:pt x="21" y="11"/>
                    <a:pt x="18" y="10"/>
                    <a:pt x="15" y="9"/>
                  </a:cubicBezTo>
                  <a:cubicBezTo>
                    <a:pt x="12" y="8"/>
                    <a:pt x="10" y="5"/>
                    <a:pt x="7" y="3"/>
                  </a:cubicBezTo>
                  <a:cubicBezTo>
                    <a:pt x="6" y="3"/>
                    <a:pt x="5" y="2"/>
                    <a:pt x="4" y="4"/>
                  </a:cubicBezTo>
                  <a:cubicBezTo>
                    <a:pt x="0" y="13"/>
                    <a:pt x="15" y="19"/>
                    <a:pt x="21" y="20"/>
                  </a:cubicBezTo>
                  <a:cubicBezTo>
                    <a:pt x="31" y="23"/>
                    <a:pt x="47" y="19"/>
                    <a:pt x="52" y="9"/>
                  </a:cubicBezTo>
                  <a:cubicBezTo>
                    <a:pt x="53" y="5"/>
                    <a:pt x="50" y="0"/>
                    <a:pt x="46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íSľiḍe"/>
            <p:cNvSpPr/>
            <p:nvPr/>
          </p:nvSpPr>
          <p:spPr bwMode="auto">
            <a:xfrm>
              <a:off x="6175817" y="2795367"/>
              <a:ext cx="220189" cy="203250"/>
            </a:xfrm>
            <a:custGeom>
              <a:avLst/>
              <a:gdLst>
                <a:gd name="T0" fmla="*/ 20 w 31"/>
                <a:gd name="T1" fmla="*/ 2 h 29"/>
                <a:gd name="T2" fmla="*/ 8 w 31"/>
                <a:gd name="T3" fmla="*/ 3 h 29"/>
                <a:gd name="T4" fmla="*/ 1 w 31"/>
                <a:gd name="T5" fmla="*/ 19 h 29"/>
                <a:gd name="T6" fmla="*/ 10 w 31"/>
                <a:gd name="T7" fmla="*/ 27 h 29"/>
                <a:gd name="T8" fmla="*/ 24 w 31"/>
                <a:gd name="T9" fmla="*/ 27 h 29"/>
                <a:gd name="T10" fmla="*/ 31 w 31"/>
                <a:gd name="T11" fmla="*/ 15 h 29"/>
                <a:gd name="T12" fmla="*/ 20 w 31"/>
                <a:gd name="T13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9">
                  <a:moveTo>
                    <a:pt x="20" y="2"/>
                  </a:moveTo>
                  <a:cubicBezTo>
                    <a:pt x="16" y="0"/>
                    <a:pt x="12" y="0"/>
                    <a:pt x="8" y="3"/>
                  </a:cubicBezTo>
                  <a:cubicBezTo>
                    <a:pt x="3" y="6"/>
                    <a:pt x="0" y="13"/>
                    <a:pt x="1" y="19"/>
                  </a:cubicBezTo>
                  <a:cubicBezTo>
                    <a:pt x="2" y="23"/>
                    <a:pt x="6" y="26"/>
                    <a:pt x="10" y="27"/>
                  </a:cubicBezTo>
                  <a:cubicBezTo>
                    <a:pt x="15" y="28"/>
                    <a:pt x="20" y="29"/>
                    <a:pt x="24" y="27"/>
                  </a:cubicBezTo>
                  <a:cubicBezTo>
                    <a:pt x="29" y="25"/>
                    <a:pt x="31" y="19"/>
                    <a:pt x="31" y="15"/>
                  </a:cubicBezTo>
                  <a:cubicBezTo>
                    <a:pt x="31" y="9"/>
                    <a:pt x="26" y="4"/>
                    <a:pt x="20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ï$ļiḓe"/>
            <p:cNvSpPr/>
            <p:nvPr/>
          </p:nvSpPr>
          <p:spPr bwMode="auto">
            <a:xfrm>
              <a:off x="5664305" y="2815692"/>
              <a:ext cx="182925" cy="189700"/>
            </a:xfrm>
            <a:custGeom>
              <a:avLst/>
              <a:gdLst>
                <a:gd name="T0" fmla="*/ 18 w 26"/>
                <a:gd name="T1" fmla="*/ 2 h 27"/>
                <a:gd name="T2" fmla="*/ 4 w 26"/>
                <a:gd name="T3" fmla="*/ 4 h 27"/>
                <a:gd name="T4" fmla="*/ 1 w 26"/>
                <a:gd name="T5" fmla="*/ 14 h 27"/>
                <a:gd name="T6" fmla="*/ 6 w 26"/>
                <a:gd name="T7" fmla="*/ 25 h 27"/>
                <a:gd name="T8" fmla="*/ 18 w 26"/>
                <a:gd name="T9" fmla="*/ 24 h 27"/>
                <a:gd name="T10" fmla="*/ 26 w 26"/>
                <a:gd name="T11" fmla="*/ 12 h 27"/>
                <a:gd name="T12" fmla="*/ 18 w 26"/>
                <a:gd name="T13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7">
                  <a:moveTo>
                    <a:pt x="18" y="2"/>
                  </a:moveTo>
                  <a:cubicBezTo>
                    <a:pt x="13" y="0"/>
                    <a:pt x="8" y="1"/>
                    <a:pt x="4" y="4"/>
                  </a:cubicBezTo>
                  <a:cubicBezTo>
                    <a:pt x="1" y="6"/>
                    <a:pt x="0" y="10"/>
                    <a:pt x="1" y="14"/>
                  </a:cubicBezTo>
                  <a:cubicBezTo>
                    <a:pt x="0" y="18"/>
                    <a:pt x="2" y="22"/>
                    <a:pt x="6" y="25"/>
                  </a:cubicBezTo>
                  <a:cubicBezTo>
                    <a:pt x="10" y="27"/>
                    <a:pt x="15" y="26"/>
                    <a:pt x="18" y="24"/>
                  </a:cubicBezTo>
                  <a:cubicBezTo>
                    <a:pt x="23" y="22"/>
                    <a:pt x="26" y="17"/>
                    <a:pt x="26" y="12"/>
                  </a:cubicBezTo>
                  <a:cubicBezTo>
                    <a:pt x="26" y="7"/>
                    <a:pt x="22" y="4"/>
                    <a:pt x="1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íṣḻîḋé"/>
            <p:cNvSpPr/>
            <p:nvPr/>
          </p:nvSpPr>
          <p:spPr bwMode="auto">
            <a:xfrm>
              <a:off x="6267281" y="3611755"/>
              <a:ext cx="409890" cy="372626"/>
            </a:xfrm>
            <a:custGeom>
              <a:avLst/>
              <a:gdLst>
                <a:gd name="T0" fmla="*/ 2 w 58"/>
                <a:gd name="T1" fmla="*/ 20 h 53"/>
                <a:gd name="T2" fmla="*/ 2 w 58"/>
                <a:gd name="T3" fmla="*/ 20 h 53"/>
                <a:gd name="T4" fmla="*/ 11 w 58"/>
                <a:gd name="T5" fmla="*/ 4 h 53"/>
                <a:gd name="T6" fmla="*/ 17 w 58"/>
                <a:gd name="T7" fmla="*/ 0 h 53"/>
                <a:gd name="T8" fmla="*/ 24 w 58"/>
                <a:gd name="T9" fmla="*/ 0 h 53"/>
                <a:gd name="T10" fmla="*/ 37 w 58"/>
                <a:gd name="T11" fmla="*/ 1 h 53"/>
                <a:gd name="T12" fmla="*/ 54 w 58"/>
                <a:gd name="T13" fmla="*/ 10 h 53"/>
                <a:gd name="T14" fmla="*/ 58 w 58"/>
                <a:gd name="T15" fmla="*/ 18 h 53"/>
                <a:gd name="T16" fmla="*/ 58 w 58"/>
                <a:gd name="T17" fmla="*/ 21 h 53"/>
                <a:gd name="T18" fmla="*/ 49 w 58"/>
                <a:gd name="T19" fmla="*/ 22 h 53"/>
                <a:gd name="T20" fmla="*/ 35 w 58"/>
                <a:gd name="T21" fmla="*/ 26 h 53"/>
                <a:gd name="T22" fmla="*/ 38 w 58"/>
                <a:gd name="T23" fmla="*/ 31 h 53"/>
                <a:gd name="T24" fmla="*/ 50 w 58"/>
                <a:gd name="T25" fmla="*/ 32 h 53"/>
                <a:gd name="T26" fmla="*/ 56 w 58"/>
                <a:gd name="T27" fmla="*/ 33 h 53"/>
                <a:gd name="T28" fmla="*/ 51 w 58"/>
                <a:gd name="T29" fmla="*/ 40 h 53"/>
                <a:gd name="T30" fmla="*/ 20 w 58"/>
                <a:gd name="T31" fmla="*/ 51 h 53"/>
                <a:gd name="T32" fmla="*/ 2 w 58"/>
                <a:gd name="T33" fmla="*/ 2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53">
                  <a:moveTo>
                    <a:pt x="2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3" y="14"/>
                    <a:pt x="5" y="8"/>
                    <a:pt x="11" y="4"/>
                  </a:cubicBezTo>
                  <a:cubicBezTo>
                    <a:pt x="13" y="3"/>
                    <a:pt x="15" y="1"/>
                    <a:pt x="17" y="0"/>
                  </a:cubicBezTo>
                  <a:cubicBezTo>
                    <a:pt x="19" y="1"/>
                    <a:pt x="22" y="1"/>
                    <a:pt x="24" y="0"/>
                  </a:cubicBezTo>
                  <a:cubicBezTo>
                    <a:pt x="28" y="0"/>
                    <a:pt x="33" y="0"/>
                    <a:pt x="37" y="1"/>
                  </a:cubicBezTo>
                  <a:cubicBezTo>
                    <a:pt x="43" y="1"/>
                    <a:pt x="50" y="5"/>
                    <a:pt x="54" y="10"/>
                  </a:cubicBezTo>
                  <a:cubicBezTo>
                    <a:pt x="56" y="13"/>
                    <a:pt x="57" y="15"/>
                    <a:pt x="58" y="18"/>
                  </a:cubicBezTo>
                  <a:cubicBezTo>
                    <a:pt x="58" y="20"/>
                    <a:pt x="58" y="20"/>
                    <a:pt x="58" y="21"/>
                  </a:cubicBezTo>
                  <a:cubicBezTo>
                    <a:pt x="55" y="21"/>
                    <a:pt x="52" y="21"/>
                    <a:pt x="49" y="22"/>
                  </a:cubicBezTo>
                  <a:cubicBezTo>
                    <a:pt x="44" y="23"/>
                    <a:pt x="39" y="22"/>
                    <a:pt x="35" y="26"/>
                  </a:cubicBezTo>
                  <a:cubicBezTo>
                    <a:pt x="33" y="28"/>
                    <a:pt x="35" y="32"/>
                    <a:pt x="38" y="31"/>
                  </a:cubicBezTo>
                  <a:cubicBezTo>
                    <a:pt x="42" y="30"/>
                    <a:pt x="46" y="32"/>
                    <a:pt x="50" y="32"/>
                  </a:cubicBezTo>
                  <a:cubicBezTo>
                    <a:pt x="52" y="33"/>
                    <a:pt x="54" y="32"/>
                    <a:pt x="56" y="33"/>
                  </a:cubicBezTo>
                  <a:cubicBezTo>
                    <a:pt x="55" y="35"/>
                    <a:pt x="53" y="38"/>
                    <a:pt x="51" y="40"/>
                  </a:cubicBezTo>
                  <a:cubicBezTo>
                    <a:pt x="43" y="48"/>
                    <a:pt x="31" y="53"/>
                    <a:pt x="20" y="51"/>
                  </a:cubicBezTo>
                  <a:cubicBezTo>
                    <a:pt x="7" y="48"/>
                    <a:pt x="0" y="33"/>
                    <a:pt x="2" y="2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íš1îďé"/>
            <p:cNvSpPr/>
            <p:nvPr/>
          </p:nvSpPr>
          <p:spPr bwMode="auto">
            <a:xfrm>
              <a:off x="6436657" y="4194406"/>
              <a:ext cx="494576" cy="758802"/>
            </a:xfrm>
            <a:custGeom>
              <a:avLst/>
              <a:gdLst>
                <a:gd name="T0" fmla="*/ 70 w 70"/>
                <a:gd name="T1" fmla="*/ 105 h 108"/>
                <a:gd name="T2" fmla="*/ 70 w 70"/>
                <a:gd name="T3" fmla="*/ 105 h 108"/>
                <a:gd name="T4" fmla="*/ 62 w 70"/>
                <a:gd name="T5" fmla="*/ 104 h 108"/>
                <a:gd name="T6" fmla="*/ 49 w 70"/>
                <a:gd name="T7" fmla="*/ 105 h 108"/>
                <a:gd name="T8" fmla="*/ 35 w 70"/>
                <a:gd name="T9" fmla="*/ 106 h 108"/>
                <a:gd name="T10" fmla="*/ 8 w 70"/>
                <a:gd name="T11" fmla="*/ 103 h 108"/>
                <a:gd name="T12" fmla="*/ 3 w 70"/>
                <a:gd name="T13" fmla="*/ 90 h 108"/>
                <a:gd name="T14" fmla="*/ 4 w 70"/>
                <a:gd name="T15" fmla="*/ 63 h 108"/>
                <a:gd name="T16" fmla="*/ 2 w 70"/>
                <a:gd name="T17" fmla="*/ 36 h 108"/>
                <a:gd name="T18" fmla="*/ 0 w 70"/>
                <a:gd name="T19" fmla="*/ 7 h 108"/>
                <a:gd name="T20" fmla="*/ 2 w 70"/>
                <a:gd name="T21" fmla="*/ 3 h 108"/>
                <a:gd name="T22" fmla="*/ 12 w 70"/>
                <a:gd name="T23" fmla="*/ 1 h 108"/>
                <a:gd name="T24" fmla="*/ 40 w 70"/>
                <a:gd name="T25" fmla="*/ 1 h 108"/>
                <a:gd name="T26" fmla="*/ 60 w 70"/>
                <a:gd name="T27" fmla="*/ 3 h 108"/>
                <a:gd name="T28" fmla="*/ 67 w 70"/>
                <a:gd name="T29" fmla="*/ 6 h 108"/>
                <a:gd name="T30" fmla="*/ 70 w 70"/>
                <a:gd name="T31" fmla="*/ 10 h 108"/>
                <a:gd name="T32" fmla="*/ 70 w 70"/>
                <a:gd name="T33" fmla="*/ 15 h 108"/>
                <a:gd name="T34" fmla="*/ 69 w 70"/>
                <a:gd name="T35" fmla="*/ 26 h 108"/>
                <a:gd name="T36" fmla="*/ 69 w 70"/>
                <a:gd name="T37" fmla="*/ 55 h 108"/>
                <a:gd name="T38" fmla="*/ 70 w 70"/>
                <a:gd name="T39" fmla="*/ 82 h 108"/>
                <a:gd name="T40" fmla="*/ 70 w 70"/>
                <a:gd name="T41" fmla="*/ 96 h 108"/>
                <a:gd name="T42" fmla="*/ 70 w 70"/>
                <a:gd name="T43" fmla="*/ 10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0" h="108">
                  <a:moveTo>
                    <a:pt x="70" y="105"/>
                  </a:moveTo>
                  <a:cubicBezTo>
                    <a:pt x="70" y="105"/>
                    <a:pt x="70" y="105"/>
                    <a:pt x="70" y="105"/>
                  </a:cubicBezTo>
                  <a:cubicBezTo>
                    <a:pt x="67" y="104"/>
                    <a:pt x="65" y="104"/>
                    <a:pt x="62" y="104"/>
                  </a:cubicBezTo>
                  <a:cubicBezTo>
                    <a:pt x="57" y="104"/>
                    <a:pt x="53" y="105"/>
                    <a:pt x="49" y="105"/>
                  </a:cubicBezTo>
                  <a:cubicBezTo>
                    <a:pt x="44" y="105"/>
                    <a:pt x="39" y="105"/>
                    <a:pt x="35" y="106"/>
                  </a:cubicBezTo>
                  <a:cubicBezTo>
                    <a:pt x="27" y="106"/>
                    <a:pt x="15" y="108"/>
                    <a:pt x="8" y="103"/>
                  </a:cubicBezTo>
                  <a:cubicBezTo>
                    <a:pt x="4" y="100"/>
                    <a:pt x="4" y="95"/>
                    <a:pt x="3" y="90"/>
                  </a:cubicBezTo>
                  <a:cubicBezTo>
                    <a:pt x="3" y="81"/>
                    <a:pt x="3" y="72"/>
                    <a:pt x="4" y="63"/>
                  </a:cubicBezTo>
                  <a:cubicBezTo>
                    <a:pt x="4" y="54"/>
                    <a:pt x="3" y="45"/>
                    <a:pt x="2" y="36"/>
                  </a:cubicBezTo>
                  <a:cubicBezTo>
                    <a:pt x="2" y="26"/>
                    <a:pt x="0" y="16"/>
                    <a:pt x="0" y="7"/>
                  </a:cubicBezTo>
                  <a:cubicBezTo>
                    <a:pt x="1" y="5"/>
                    <a:pt x="1" y="4"/>
                    <a:pt x="2" y="3"/>
                  </a:cubicBezTo>
                  <a:cubicBezTo>
                    <a:pt x="5" y="1"/>
                    <a:pt x="9" y="1"/>
                    <a:pt x="12" y="1"/>
                  </a:cubicBezTo>
                  <a:cubicBezTo>
                    <a:pt x="21" y="0"/>
                    <a:pt x="30" y="0"/>
                    <a:pt x="40" y="1"/>
                  </a:cubicBezTo>
                  <a:cubicBezTo>
                    <a:pt x="46" y="1"/>
                    <a:pt x="53" y="1"/>
                    <a:pt x="60" y="3"/>
                  </a:cubicBezTo>
                  <a:cubicBezTo>
                    <a:pt x="62" y="3"/>
                    <a:pt x="65" y="4"/>
                    <a:pt x="67" y="6"/>
                  </a:cubicBezTo>
                  <a:cubicBezTo>
                    <a:pt x="68" y="7"/>
                    <a:pt x="69" y="9"/>
                    <a:pt x="70" y="10"/>
                  </a:cubicBezTo>
                  <a:cubicBezTo>
                    <a:pt x="70" y="12"/>
                    <a:pt x="70" y="14"/>
                    <a:pt x="70" y="15"/>
                  </a:cubicBezTo>
                  <a:cubicBezTo>
                    <a:pt x="69" y="19"/>
                    <a:pt x="69" y="23"/>
                    <a:pt x="69" y="26"/>
                  </a:cubicBezTo>
                  <a:cubicBezTo>
                    <a:pt x="69" y="36"/>
                    <a:pt x="69" y="45"/>
                    <a:pt x="69" y="55"/>
                  </a:cubicBezTo>
                  <a:cubicBezTo>
                    <a:pt x="69" y="64"/>
                    <a:pt x="69" y="73"/>
                    <a:pt x="70" y="82"/>
                  </a:cubicBezTo>
                  <a:cubicBezTo>
                    <a:pt x="70" y="86"/>
                    <a:pt x="70" y="91"/>
                    <a:pt x="70" y="96"/>
                  </a:cubicBezTo>
                  <a:cubicBezTo>
                    <a:pt x="70" y="99"/>
                    <a:pt x="70" y="102"/>
                    <a:pt x="70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í$ľïďe"/>
            <p:cNvSpPr/>
            <p:nvPr/>
          </p:nvSpPr>
          <p:spPr bwMode="auto">
            <a:xfrm>
              <a:off x="6711044" y="4207956"/>
              <a:ext cx="220189" cy="724927"/>
            </a:xfrm>
            <a:custGeom>
              <a:avLst/>
              <a:gdLst>
                <a:gd name="T0" fmla="*/ 31 w 31"/>
                <a:gd name="T1" fmla="*/ 103 h 103"/>
                <a:gd name="T2" fmla="*/ 31 w 31"/>
                <a:gd name="T3" fmla="*/ 103 h 103"/>
                <a:gd name="T4" fmla="*/ 23 w 31"/>
                <a:gd name="T5" fmla="*/ 102 h 103"/>
                <a:gd name="T6" fmla="*/ 10 w 31"/>
                <a:gd name="T7" fmla="*/ 103 h 103"/>
                <a:gd name="T8" fmla="*/ 0 w 31"/>
                <a:gd name="T9" fmla="*/ 103 h 103"/>
                <a:gd name="T10" fmla="*/ 19 w 31"/>
                <a:gd name="T11" fmla="*/ 0 h 103"/>
                <a:gd name="T12" fmla="*/ 21 w 31"/>
                <a:gd name="T13" fmla="*/ 1 h 103"/>
                <a:gd name="T14" fmla="*/ 28 w 31"/>
                <a:gd name="T15" fmla="*/ 4 h 103"/>
                <a:gd name="T16" fmla="*/ 31 w 31"/>
                <a:gd name="T17" fmla="*/ 8 h 103"/>
                <a:gd name="T18" fmla="*/ 31 w 31"/>
                <a:gd name="T19" fmla="*/ 13 h 103"/>
                <a:gd name="T20" fmla="*/ 30 w 31"/>
                <a:gd name="T21" fmla="*/ 24 h 103"/>
                <a:gd name="T22" fmla="*/ 30 w 31"/>
                <a:gd name="T23" fmla="*/ 53 h 103"/>
                <a:gd name="T24" fmla="*/ 31 w 31"/>
                <a:gd name="T25" fmla="*/ 80 h 103"/>
                <a:gd name="T26" fmla="*/ 31 w 31"/>
                <a:gd name="T27" fmla="*/ 94 h 103"/>
                <a:gd name="T28" fmla="*/ 31 w 31"/>
                <a:gd name="T2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103">
                  <a:moveTo>
                    <a:pt x="31" y="103"/>
                  </a:moveTo>
                  <a:cubicBezTo>
                    <a:pt x="31" y="103"/>
                    <a:pt x="31" y="103"/>
                    <a:pt x="31" y="103"/>
                  </a:cubicBezTo>
                  <a:cubicBezTo>
                    <a:pt x="28" y="102"/>
                    <a:pt x="26" y="102"/>
                    <a:pt x="23" y="102"/>
                  </a:cubicBezTo>
                  <a:cubicBezTo>
                    <a:pt x="18" y="102"/>
                    <a:pt x="14" y="103"/>
                    <a:pt x="10" y="103"/>
                  </a:cubicBezTo>
                  <a:cubicBezTo>
                    <a:pt x="7" y="103"/>
                    <a:pt x="4" y="103"/>
                    <a:pt x="0" y="103"/>
                  </a:cubicBezTo>
                  <a:cubicBezTo>
                    <a:pt x="10" y="70"/>
                    <a:pt x="15" y="35"/>
                    <a:pt x="19" y="0"/>
                  </a:cubicBezTo>
                  <a:cubicBezTo>
                    <a:pt x="20" y="1"/>
                    <a:pt x="20" y="1"/>
                    <a:pt x="21" y="1"/>
                  </a:cubicBezTo>
                  <a:cubicBezTo>
                    <a:pt x="23" y="1"/>
                    <a:pt x="26" y="2"/>
                    <a:pt x="28" y="4"/>
                  </a:cubicBezTo>
                  <a:cubicBezTo>
                    <a:pt x="29" y="5"/>
                    <a:pt x="30" y="7"/>
                    <a:pt x="31" y="8"/>
                  </a:cubicBezTo>
                  <a:cubicBezTo>
                    <a:pt x="31" y="10"/>
                    <a:pt x="31" y="12"/>
                    <a:pt x="31" y="13"/>
                  </a:cubicBezTo>
                  <a:cubicBezTo>
                    <a:pt x="30" y="17"/>
                    <a:pt x="30" y="21"/>
                    <a:pt x="30" y="24"/>
                  </a:cubicBezTo>
                  <a:cubicBezTo>
                    <a:pt x="30" y="34"/>
                    <a:pt x="30" y="43"/>
                    <a:pt x="30" y="53"/>
                  </a:cubicBezTo>
                  <a:cubicBezTo>
                    <a:pt x="30" y="62"/>
                    <a:pt x="30" y="71"/>
                    <a:pt x="31" y="80"/>
                  </a:cubicBezTo>
                  <a:cubicBezTo>
                    <a:pt x="31" y="84"/>
                    <a:pt x="31" y="89"/>
                    <a:pt x="31" y="94"/>
                  </a:cubicBezTo>
                  <a:cubicBezTo>
                    <a:pt x="31" y="97"/>
                    <a:pt x="31" y="100"/>
                    <a:pt x="31" y="103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ïṣḷíḓe"/>
            <p:cNvSpPr/>
            <p:nvPr/>
          </p:nvSpPr>
          <p:spPr bwMode="auto">
            <a:xfrm>
              <a:off x="6507793" y="4357007"/>
              <a:ext cx="91464" cy="9146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237" name="组合 236"/>
          <p:cNvGrpSpPr/>
          <p:nvPr userDrawn="1"/>
        </p:nvGrpSpPr>
        <p:grpSpPr>
          <a:xfrm>
            <a:off x="1892841" y="4101585"/>
            <a:ext cx="1331096" cy="504807"/>
            <a:chOff x="626572" y="5433207"/>
            <a:chExt cx="1989966" cy="754678"/>
          </a:xfrm>
          <a:solidFill>
            <a:srgbClr val="603913"/>
          </a:solidFill>
        </p:grpSpPr>
        <p:sp>
          <p:nvSpPr>
            <p:cNvPr id="238" name="任意多边形: 形状 237"/>
            <p:cNvSpPr/>
            <p:nvPr userDrawn="1"/>
          </p:nvSpPr>
          <p:spPr>
            <a:xfrm>
              <a:off x="626572" y="5433207"/>
              <a:ext cx="595798" cy="754678"/>
            </a:xfrm>
            <a:custGeom>
              <a:avLst/>
              <a:gdLst>
                <a:gd name="connsiteX0" fmla="*/ 383297 w 595798"/>
                <a:gd name="connsiteY0" fmla="*/ 383297 h 754677"/>
                <a:gd name="connsiteX1" fmla="*/ 0 w 595798"/>
                <a:gd name="connsiteY1" fmla="*/ 766594 h 754677"/>
                <a:gd name="connsiteX2" fmla="*/ 226403 w 595798"/>
                <a:gd name="connsiteY2" fmla="*/ 766594 h 754677"/>
                <a:gd name="connsiteX3" fmla="*/ 609700 w 595798"/>
                <a:gd name="connsiteY3" fmla="*/ 383297 h 754677"/>
                <a:gd name="connsiteX4" fmla="*/ 226403 w 595798"/>
                <a:gd name="connsiteY4" fmla="*/ 0 h 754677"/>
                <a:gd name="connsiteX5" fmla="*/ 0 w 595798"/>
                <a:gd name="connsiteY5" fmla="*/ 0 h 75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5798" h="754677">
                  <a:moveTo>
                    <a:pt x="383297" y="383297"/>
                  </a:moveTo>
                  <a:lnTo>
                    <a:pt x="0" y="766594"/>
                  </a:lnTo>
                  <a:lnTo>
                    <a:pt x="226403" y="766594"/>
                  </a:lnTo>
                  <a:lnTo>
                    <a:pt x="609700" y="383297"/>
                  </a:lnTo>
                  <a:lnTo>
                    <a:pt x="2264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239" name="任意多边形: 形状 238"/>
            <p:cNvSpPr/>
            <p:nvPr userDrawn="1"/>
          </p:nvSpPr>
          <p:spPr>
            <a:xfrm>
              <a:off x="1091295" y="5433207"/>
              <a:ext cx="595798" cy="754678"/>
            </a:xfrm>
            <a:custGeom>
              <a:avLst/>
              <a:gdLst>
                <a:gd name="connsiteX0" fmla="*/ 383297 w 595798"/>
                <a:gd name="connsiteY0" fmla="*/ 383297 h 754677"/>
                <a:gd name="connsiteX1" fmla="*/ 0 w 595798"/>
                <a:gd name="connsiteY1" fmla="*/ 766594 h 754677"/>
                <a:gd name="connsiteX2" fmla="*/ 226404 w 595798"/>
                <a:gd name="connsiteY2" fmla="*/ 766594 h 754677"/>
                <a:gd name="connsiteX3" fmla="*/ 609700 w 595798"/>
                <a:gd name="connsiteY3" fmla="*/ 383297 h 754677"/>
                <a:gd name="connsiteX4" fmla="*/ 226404 w 595798"/>
                <a:gd name="connsiteY4" fmla="*/ 0 h 754677"/>
                <a:gd name="connsiteX5" fmla="*/ 0 w 595798"/>
                <a:gd name="connsiteY5" fmla="*/ 0 h 75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5798" h="754677">
                  <a:moveTo>
                    <a:pt x="383297" y="383297"/>
                  </a:moveTo>
                  <a:lnTo>
                    <a:pt x="0" y="766594"/>
                  </a:lnTo>
                  <a:lnTo>
                    <a:pt x="226404" y="766594"/>
                  </a:lnTo>
                  <a:lnTo>
                    <a:pt x="609700" y="383297"/>
                  </a:lnTo>
                  <a:lnTo>
                    <a:pt x="22640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240" name="任意多边形: 形状 239"/>
            <p:cNvSpPr/>
            <p:nvPr userDrawn="1"/>
          </p:nvSpPr>
          <p:spPr>
            <a:xfrm>
              <a:off x="1556018" y="5433207"/>
              <a:ext cx="595798" cy="754678"/>
            </a:xfrm>
            <a:custGeom>
              <a:avLst/>
              <a:gdLst>
                <a:gd name="connsiteX0" fmla="*/ 383297 w 595798"/>
                <a:gd name="connsiteY0" fmla="*/ 383297 h 754677"/>
                <a:gd name="connsiteX1" fmla="*/ 0 w 595798"/>
                <a:gd name="connsiteY1" fmla="*/ 766594 h 754677"/>
                <a:gd name="connsiteX2" fmla="*/ 226403 w 595798"/>
                <a:gd name="connsiteY2" fmla="*/ 766594 h 754677"/>
                <a:gd name="connsiteX3" fmla="*/ 607714 w 595798"/>
                <a:gd name="connsiteY3" fmla="*/ 383297 h 754677"/>
                <a:gd name="connsiteX4" fmla="*/ 226403 w 595798"/>
                <a:gd name="connsiteY4" fmla="*/ 0 h 754677"/>
                <a:gd name="connsiteX5" fmla="*/ 0 w 595798"/>
                <a:gd name="connsiteY5" fmla="*/ 0 h 75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5798" h="754677">
                  <a:moveTo>
                    <a:pt x="383297" y="383297"/>
                  </a:moveTo>
                  <a:lnTo>
                    <a:pt x="0" y="766594"/>
                  </a:lnTo>
                  <a:lnTo>
                    <a:pt x="226403" y="766594"/>
                  </a:lnTo>
                  <a:lnTo>
                    <a:pt x="607714" y="383297"/>
                  </a:lnTo>
                  <a:lnTo>
                    <a:pt x="2264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241" name="任意多边形: 形状 240"/>
            <p:cNvSpPr/>
            <p:nvPr userDrawn="1"/>
          </p:nvSpPr>
          <p:spPr>
            <a:xfrm>
              <a:off x="2020740" y="5433207"/>
              <a:ext cx="595798" cy="754678"/>
            </a:xfrm>
            <a:custGeom>
              <a:avLst/>
              <a:gdLst>
                <a:gd name="connsiteX0" fmla="*/ 381311 w 595798"/>
                <a:gd name="connsiteY0" fmla="*/ 383297 h 754677"/>
                <a:gd name="connsiteX1" fmla="*/ 0 w 595798"/>
                <a:gd name="connsiteY1" fmla="*/ 766594 h 754677"/>
                <a:gd name="connsiteX2" fmla="*/ 224417 w 595798"/>
                <a:gd name="connsiteY2" fmla="*/ 766594 h 754677"/>
                <a:gd name="connsiteX3" fmla="*/ 607714 w 595798"/>
                <a:gd name="connsiteY3" fmla="*/ 383297 h 754677"/>
                <a:gd name="connsiteX4" fmla="*/ 224417 w 595798"/>
                <a:gd name="connsiteY4" fmla="*/ 0 h 754677"/>
                <a:gd name="connsiteX5" fmla="*/ 0 w 595798"/>
                <a:gd name="connsiteY5" fmla="*/ 0 h 75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5798" h="754677">
                  <a:moveTo>
                    <a:pt x="381311" y="383297"/>
                  </a:moveTo>
                  <a:lnTo>
                    <a:pt x="0" y="766594"/>
                  </a:lnTo>
                  <a:lnTo>
                    <a:pt x="224417" y="766594"/>
                  </a:lnTo>
                  <a:lnTo>
                    <a:pt x="607714" y="383297"/>
                  </a:lnTo>
                  <a:lnTo>
                    <a:pt x="2244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686499" y="2852177"/>
            <a:ext cx="8577500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686499" y="1600930"/>
            <a:ext cx="8577500" cy="125124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41329" y="4046432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41329" y="4342703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430530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431646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椭圆 1"/>
          <p:cNvSpPr/>
          <p:nvPr userDrawn="1"/>
        </p:nvSpPr>
        <p:spPr>
          <a:xfrm>
            <a:off x="8220443" y="1274159"/>
            <a:ext cx="3294743" cy="3294743"/>
          </a:xfrm>
          <a:prstGeom prst="ellipse">
            <a:avLst/>
          </a:prstGeom>
          <a:solidFill>
            <a:schemeClr val="accent1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5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0262996">
            <a:off x="5768536" y="1977994"/>
            <a:ext cx="5067710" cy="2391582"/>
            <a:chOff x="3558970" y="2488798"/>
            <a:chExt cx="5067710" cy="2391582"/>
          </a:xfrm>
        </p:grpSpPr>
        <p:sp>
          <p:nvSpPr>
            <p:cNvPr id="56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1/11/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2" name="矩形 1"/>
          <p:cNvSpPr/>
          <p:nvPr userDrawn="1"/>
        </p:nvSpPr>
        <p:spPr>
          <a:xfrm>
            <a:off x="-10795" y="-22860"/>
            <a:ext cx="12191365" cy="1026160"/>
          </a:xfrm>
          <a:prstGeom prst="rect">
            <a:avLst/>
          </a:prstGeom>
          <a:gradFill>
            <a:gsLst>
              <a:gs pos="0">
                <a:srgbClr val="F1992A"/>
              </a:gs>
              <a:gs pos="50000">
                <a:srgbClr val="F5A926"/>
              </a:gs>
              <a:gs pos="100000">
                <a:srgbClr val="F6B12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1/11/9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-10795" y="-22860"/>
            <a:ext cx="12191365" cy="1026160"/>
          </a:xfrm>
          <a:prstGeom prst="rect">
            <a:avLst/>
          </a:prstGeom>
          <a:gradFill>
            <a:gsLst>
              <a:gs pos="0">
                <a:srgbClr val="F1992A"/>
              </a:gs>
              <a:gs pos="50000">
                <a:srgbClr val="F5A926"/>
              </a:gs>
              <a:gs pos="100000">
                <a:srgbClr val="F6B12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48" name="683ae7dc-b5ab-4ff3-a861-ec68902b1d7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246053">
            <a:off x="8317723" y="149185"/>
            <a:ext cx="4386826" cy="3241846"/>
            <a:chOff x="3899413" y="2063665"/>
            <a:chExt cx="4386826" cy="3241846"/>
          </a:xfrm>
        </p:grpSpPr>
        <p:sp>
          <p:nvSpPr>
            <p:cNvPr id="149" name="iṩľiďé"/>
            <p:cNvSpPr/>
            <p:nvPr/>
          </p:nvSpPr>
          <p:spPr bwMode="auto">
            <a:xfrm>
              <a:off x="3899413" y="3852269"/>
              <a:ext cx="4386826" cy="1453242"/>
            </a:xfrm>
            <a:custGeom>
              <a:avLst/>
              <a:gdLst>
                <a:gd name="T0" fmla="*/ 610 w 623"/>
                <a:gd name="T1" fmla="*/ 81 h 207"/>
                <a:gd name="T2" fmla="*/ 595 w 623"/>
                <a:gd name="T3" fmla="*/ 83 h 207"/>
                <a:gd name="T4" fmla="*/ 610 w 623"/>
                <a:gd name="T5" fmla="*/ 68 h 207"/>
                <a:gd name="T6" fmla="*/ 586 w 623"/>
                <a:gd name="T7" fmla="*/ 72 h 207"/>
                <a:gd name="T8" fmla="*/ 572 w 623"/>
                <a:gd name="T9" fmla="*/ 67 h 207"/>
                <a:gd name="T10" fmla="*/ 577 w 623"/>
                <a:gd name="T11" fmla="*/ 59 h 207"/>
                <a:gd name="T12" fmla="*/ 581 w 623"/>
                <a:gd name="T13" fmla="*/ 51 h 207"/>
                <a:gd name="T14" fmla="*/ 561 w 623"/>
                <a:gd name="T15" fmla="*/ 61 h 207"/>
                <a:gd name="T16" fmla="*/ 557 w 623"/>
                <a:gd name="T17" fmla="*/ 69 h 207"/>
                <a:gd name="T18" fmla="*/ 523 w 623"/>
                <a:gd name="T19" fmla="*/ 82 h 207"/>
                <a:gd name="T20" fmla="*/ 500 w 623"/>
                <a:gd name="T21" fmla="*/ 72 h 207"/>
                <a:gd name="T22" fmla="*/ 456 w 623"/>
                <a:gd name="T23" fmla="*/ 64 h 207"/>
                <a:gd name="T24" fmla="*/ 411 w 623"/>
                <a:gd name="T25" fmla="*/ 12 h 207"/>
                <a:gd name="T26" fmla="*/ 349 w 623"/>
                <a:gd name="T27" fmla="*/ 1 h 207"/>
                <a:gd name="T28" fmla="*/ 259 w 623"/>
                <a:gd name="T29" fmla="*/ 5 h 207"/>
                <a:gd name="T30" fmla="*/ 218 w 623"/>
                <a:gd name="T31" fmla="*/ 6 h 207"/>
                <a:gd name="T32" fmla="*/ 179 w 623"/>
                <a:gd name="T33" fmla="*/ 6 h 207"/>
                <a:gd name="T34" fmla="*/ 158 w 623"/>
                <a:gd name="T35" fmla="*/ 31 h 207"/>
                <a:gd name="T36" fmla="*/ 142 w 623"/>
                <a:gd name="T37" fmla="*/ 43 h 207"/>
                <a:gd name="T38" fmla="*/ 121 w 623"/>
                <a:gd name="T39" fmla="*/ 44 h 207"/>
                <a:gd name="T40" fmla="*/ 98 w 623"/>
                <a:gd name="T41" fmla="*/ 66 h 207"/>
                <a:gd name="T42" fmla="*/ 63 w 623"/>
                <a:gd name="T43" fmla="*/ 69 h 207"/>
                <a:gd name="T44" fmla="*/ 46 w 623"/>
                <a:gd name="T45" fmla="*/ 61 h 207"/>
                <a:gd name="T46" fmla="*/ 42 w 623"/>
                <a:gd name="T47" fmla="*/ 37 h 207"/>
                <a:gd name="T48" fmla="*/ 38 w 623"/>
                <a:gd name="T49" fmla="*/ 61 h 207"/>
                <a:gd name="T50" fmla="*/ 17 w 623"/>
                <a:gd name="T51" fmla="*/ 65 h 207"/>
                <a:gd name="T52" fmla="*/ 12 w 623"/>
                <a:gd name="T53" fmla="*/ 74 h 207"/>
                <a:gd name="T54" fmla="*/ 18 w 623"/>
                <a:gd name="T55" fmla="*/ 83 h 207"/>
                <a:gd name="T56" fmla="*/ 17 w 623"/>
                <a:gd name="T57" fmla="*/ 92 h 207"/>
                <a:gd name="T58" fmla="*/ 18 w 623"/>
                <a:gd name="T59" fmla="*/ 98 h 207"/>
                <a:gd name="T60" fmla="*/ 18 w 623"/>
                <a:gd name="T61" fmla="*/ 110 h 207"/>
                <a:gd name="T62" fmla="*/ 28 w 623"/>
                <a:gd name="T63" fmla="*/ 101 h 207"/>
                <a:gd name="T64" fmla="*/ 34 w 623"/>
                <a:gd name="T65" fmla="*/ 117 h 207"/>
                <a:gd name="T66" fmla="*/ 45 w 623"/>
                <a:gd name="T67" fmla="*/ 105 h 207"/>
                <a:gd name="T68" fmla="*/ 76 w 623"/>
                <a:gd name="T69" fmla="*/ 81 h 207"/>
                <a:gd name="T70" fmla="*/ 130 w 623"/>
                <a:gd name="T71" fmla="*/ 85 h 207"/>
                <a:gd name="T72" fmla="*/ 145 w 623"/>
                <a:gd name="T73" fmla="*/ 59 h 207"/>
                <a:gd name="T74" fmla="*/ 150 w 623"/>
                <a:gd name="T75" fmla="*/ 54 h 207"/>
                <a:gd name="T76" fmla="*/ 175 w 623"/>
                <a:gd name="T77" fmla="*/ 36 h 207"/>
                <a:gd name="T78" fmla="*/ 176 w 623"/>
                <a:gd name="T79" fmla="*/ 71 h 207"/>
                <a:gd name="T80" fmla="*/ 262 w 623"/>
                <a:gd name="T81" fmla="*/ 205 h 207"/>
                <a:gd name="T82" fmla="*/ 337 w 623"/>
                <a:gd name="T83" fmla="*/ 196 h 207"/>
                <a:gd name="T84" fmla="*/ 375 w 623"/>
                <a:gd name="T85" fmla="*/ 175 h 207"/>
                <a:gd name="T86" fmla="*/ 411 w 623"/>
                <a:gd name="T87" fmla="*/ 67 h 207"/>
                <a:gd name="T88" fmla="*/ 443 w 623"/>
                <a:gd name="T89" fmla="*/ 68 h 207"/>
                <a:gd name="T90" fmla="*/ 462 w 623"/>
                <a:gd name="T91" fmla="*/ 98 h 207"/>
                <a:gd name="T92" fmla="*/ 503 w 623"/>
                <a:gd name="T93" fmla="*/ 95 h 207"/>
                <a:gd name="T94" fmla="*/ 569 w 623"/>
                <a:gd name="T95" fmla="*/ 111 h 207"/>
                <a:gd name="T96" fmla="*/ 584 w 623"/>
                <a:gd name="T97" fmla="*/ 125 h 207"/>
                <a:gd name="T98" fmla="*/ 582 w 623"/>
                <a:gd name="T99" fmla="*/ 107 h 207"/>
                <a:gd name="T100" fmla="*/ 605 w 623"/>
                <a:gd name="T101" fmla="*/ 114 h 207"/>
                <a:gd name="T102" fmla="*/ 608 w 623"/>
                <a:gd name="T103" fmla="*/ 102 h 207"/>
                <a:gd name="T104" fmla="*/ 603 w 623"/>
                <a:gd name="T105" fmla="*/ 9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3" h="207">
                  <a:moveTo>
                    <a:pt x="614" y="81"/>
                  </a:moveTo>
                  <a:cubicBezTo>
                    <a:pt x="613" y="81"/>
                    <a:pt x="612" y="81"/>
                    <a:pt x="611" y="81"/>
                  </a:cubicBezTo>
                  <a:cubicBezTo>
                    <a:pt x="611" y="81"/>
                    <a:pt x="611" y="81"/>
                    <a:pt x="610" y="81"/>
                  </a:cubicBezTo>
                  <a:cubicBezTo>
                    <a:pt x="610" y="82"/>
                    <a:pt x="610" y="82"/>
                    <a:pt x="609" y="82"/>
                  </a:cubicBezTo>
                  <a:cubicBezTo>
                    <a:pt x="607" y="82"/>
                    <a:pt x="604" y="82"/>
                    <a:pt x="602" y="82"/>
                  </a:cubicBezTo>
                  <a:cubicBezTo>
                    <a:pt x="600" y="82"/>
                    <a:pt x="598" y="82"/>
                    <a:pt x="595" y="83"/>
                  </a:cubicBezTo>
                  <a:cubicBezTo>
                    <a:pt x="595" y="82"/>
                    <a:pt x="595" y="81"/>
                    <a:pt x="594" y="80"/>
                  </a:cubicBezTo>
                  <a:cubicBezTo>
                    <a:pt x="595" y="79"/>
                    <a:pt x="596" y="79"/>
                    <a:pt x="597" y="78"/>
                  </a:cubicBezTo>
                  <a:cubicBezTo>
                    <a:pt x="602" y="75"/>
                    <a:pt x="607" y="73"/>
                    <a:pt x="610" y="68"/>
                  </a:cubicBezTo>
                  <a:cubicBezTo>
                    <a:pt x="614" y="62"/>
                    <a:pt x="605" y="55"/>
                    <a:pt x="600" y="60"/>
                  </a:cubicBezTo>
                  <a:cubicBezTo>
                    <a:pt x="597" y="63"/>
                    <a:pt x="594" y="65"/>
                    <a:pt x="590" y="68"/>
                  </a:cubicBezTo>
                  <a:cubicBezTo>
                    <a:pt x="589" y="69"/>
                    <a:pt x="587" y="70"/>
                    <a:pt x="586" y="72"/>
                  </a:cubicBezTo>
                  <a:cubicBezTo>
                    <a:pt x="583" y="71"/>
                    <a:pt x="581" y="70"/>
                    <a:pt x="579" y="69"/>
                  </a:cubicBezTo>
                  <a:cubicBezTo>
                    <a:pt x="577" y="69"/>
                    <a:pt x="574" y="68"/>
                    <a:pt x="571" y="68"/>
                  </a:cubicBezTo>
                  <a:cubicBezTo>
                    <a:pt x="572" y="67"/>
                    <a:pt x="572" y="67"/>
                    <a:pt x="572" y="67"/>
                  </a:cubicBezTo>
                  <a:cubicBezTo>
                    <a:pt x="573" y="66"/>
                    <a:pt x="574" y="64"/>
                    <a:pt x="575" y="62"/>
                  </a:cubicBezTo>
                  <a:cubicBezTo>
                    <a:pt x="576" y="61"/>
                    <a:pt x="576" y="61"/>
                    <a:pt x="576" y="60"/>
                  </a:cubicBezTo>
                  <a:cubicBezTo>
                    <a:pt x="577" y="60"/>
                    <a:pt x="577" y="60"/>
                    <a:pt x="577" y="59"/>
                  </a:cubicBezTo>
                  <a:cubicBezTo>
                    <a:pt x="577" y="59"/>
                    <a:pt x="578" y="59"/>
                    <a:pt x="578" y="59"/>
                  </a:cubicBezTo>
                  <a:cubicBezTo>
                    <a:pt x="578" y="59"/>
                    <a:pt x="578" y="59"/>
                    <a:pt x="578" y="59"/>
                  </a:cubicBezTo>
                  <a:cubicBezTo>
                    <a:pt x="580" y="57"/>
                    <a:pt x="582" y="54"/>
                    <a:pt x="581" y="51"/>
                  </a:cubicBezTo>
                  <a:cubicBezTo>
                    <a:pt x="580" y="48"/>
                    <a:pt x="576" y="45"/>
                    <a:pt x="573" y="47"/>
                  </a:cubicBezTo>
                  <a:cubicBezTo>
                    <a:pt x="567" y="49"/>
                    <a:pt x="565" y="54"/>
                    <a:pt x="562" y="59"/>
                  </a:cubicBezTo>
                  <a:cubicBezTo>
                    <a:pt x="562" y="60"/>
                    <a:pt x="561" y="61"/>
                    <a:pt x="561" y="61"/>
                  </a:cubicBezTo>
                  <a:cubicBezTo>
                    <a:pt x="560" y="62"/>
                    <a:pt x="560" y="63"/>
                    <a:pt x="560" y="63"/>
                  </a:cubicBezTo>
                  <a:cubicBezTo>
                    <a:pt x="561" y="62"/>
                    <a:pt x="560" y="64"/>
                    <a:pt x="560" y="64"/>
                  </a:cubicBezTo>
                  <a:cubicBezTo>
                    <a:pt x="559" y="66"/>
                    <a:pt x="558" y="67"/>
                    <a:pt x="557" y="69"/>
                  </a:cubicBezTo>
                  <a:cubicBezTo>
                    <a:pt x="552" y="71"/>
                    <a:pt x="549" y="75"/>
                    <a:pt x="547" y="79"/>
                  </a:cubicBezTo>
                  <a:cubicBezTo>
                    <a:pt x="547" y="79"/>
                    <a:pt x="547" y="79"/>
                    <a:pt x="547" y="79"/>
                  </a:cubicBezTo>
                  <a:cubicBezTo>
                    <a:pt x="539" y="80"/>
                    <a:pt x="531" y="80"/>
                    <a:pt x="523" y="82"/>
                  </a:cubicBezTo>
                  <a:cubicBezTo>
                    <a:pt x="519" y="82"/>
                    <a:pt x="514" y="83"/>
                    <a:pt x="510" y="84"/>
                  </a:cubicBezTo>
                  <a:cubicBezTo>
                    <a:pt x="508" y="84"/>
                    <a:pt x="507" y="84"/>
                    <a:pt x="505" y="84"/>
                  </a:cubicBezTo>
                  <a:cubicBezTo>
                    <a:pt x="505" y="79"/>
                    <a:pt x="503" y="75"/>
                    <a:pt x="500" y="72"/>
                  </a:cubicBezTo>
                  <a:cubicBezTo>
                    <a:pt x="494" y="65"/>
                    <a:pt x="485" y="65"/>
                    <a:pt x="477" y="66"/>
                  </a:cubicBezTo>
                  <a:cubicBezTo>
                    <a:pt x="472" y="64"/>
                    <a:pt x="467" y="66"/>
                    <a:pt x="463" y="70"/>
                  </a:cubicBezTo>
                  <a:cubicBezTo>
                    <a:pt x="461" y="68"/>
                    <a:pt x="458" y="66"/>
                    <a:pt x="456" y="64"/>
                  </a:cubicBezTo>
                  <a:cubicBezTo>
                    <a:pt x="449" y="58"/>
                    <a:pt x="444" y="50"/>
                    <a:pt x="438" y="43"/>
                  </a:cubicBezTo>
                  <a:cubicBezTo>
                    <a:pt x="429" y="34"/>
                    <a:pt x="417" y="27"/>
                    <a:pt x="411" y="15"/>
                  </a:cubicBezTo>
                  <a:cubicBezTo>
                    <a:pt x="411" y="14"/>
                    <a:pt x="411" y="13"/>
                    <a:pt x="411" y="12"/>
                  </a:cubicBezTo>
                  <a:cubicBezTo>
                    <a:pt x="415" y="8"/>
                    <a:pt x="414" y="0"/>
                    <a:pt x="407" y="0"/>
                  </a:cubicBezTo>
                  <a:cubicBezTo>
                    <a:pt x="397" y="0"/>
                    <a:pt x="388" y="1"/>
                    <a:pt x="379" y="1"/>
                  </a:cubicBezTo>
                  <a:cubicBezTo>
                    <a:pt x="369" y="2"/>
                    <a:pt x="358" y="1"/>
                    <a:pt x="349" y="1"/>
                  </a:cubicBezTo>
                  <a:cubicBezTo>
                    <a:pt x="338" y="2"/>
                    <a:pt x="328" y="3"/>
                    <a:pt x="318" y="3"/>
                  </a:cubicBezTo>
                  <a:cubicBezTo>
                    <a:pt x="308" y="3"/>
                    <a:pt x="298" y="3"/>
                    <a:pt x="288" y="3"/>
                  </a:cubicBezTo>
                  <a:cubicBezTo>
                    <a:pt x="279" y="4"/>
                    <a:pt x="269" y="4"/>
                    <a:pt x="259" y="5"/>
                  </a:cubicBezTo>
                  <a:cubicBezTo>
                    <a:pt x="254" y="5"/>
                    <a:pt x="250" y="5"/>
                    <a:pt x="245" y="5"/>
                  </a:cubicBezTo>
                  <a:cubicBezTo>
                    <a:pt x="240" y="5"/>
                    <a:pt x="235" y="6"/>
                    <a:pt x="230" y="6"/>
                  </a:cubicBezTo>
                  <a:cubicBezTo>
                    <a:pt x="226" y="7"/>
                    <a:pt x="222" y="6"/>
                    <a:pt x="218" y="6"/>
                  </a:cubicBezTo>
                  <a:cubicBezTo>
                    <a:pt x="214" y="6"/>
                    <a:pt x="210" y="7"/>
                    <a:pt x="205" y="7"/>
                  </a:cubicBezTo>
                  <a:cubicBezTo>
                    <a:pt x="198" y="7"/>
                    <a:pt x="190" y="6"/>
                    <a:pt x="182" y="5"/>
                  </a:cubicBezTo>
                  <a:cubicBezTo>
                    <a:pt x="181" y="5"/>
                    <a:pt x="180" y="5"/>
                    <a:pt x="179" y="6"/>
                  </a:cubicBezTo>
                  <a:cubicBezTo>
                    <a:pt x="177" y="10"/>
                    <a:pt x="176" y="14"/>
                    <a:pt x="176" y="18"/>
                  </a:cubicBezTo>
                  <a:cubicBezTo>
                    <a:pt x="173" y="21"/>
                    <a:pt x="169" y="24"/>
                    <a:pt x="165" y="26"/>
                  </a:cubicBezTo>
                  <a:cubicBezTo>
                    <a:pt x="162" y="28"/>
                    <a:pt x="160" y="30"/>
                    <a:pt x="158" y="31"/>
                  </a:cubicBezTo>
                  <a:cubicBezTo>
                    <a:pt x="160" y="30"/>
                    <a:pt x="158" y="32"/>
                    <a:pt x="157" y="32"/>
                  </a:cubicBezTo>
                  <a:cubicBezTo>
                    <a:pt x="156" y="33"/>
                    <a:pt x="155" y="33"/>
                    <a:pt x="155" y="34"/>
                  </a:cubicBezTo>
                  <a:cubicBezTo>
                    <a:pt x="150" y="37"/>
                    <a:pt x="146" y="40"/>
                    <a:pt x="142" y="43"/>
                  </a:cubicBezTo>
                  <a:cubicBezTo>
                    <a:pt x="141" y="44"/>
                    <a:pt x="138" y="46"/>
                    <a:pt x="136" y="48"/>
                  </a:cubicBezTo>
                  <a:cubicBezTo>
                    <a:pt x="132" y="45"/>
                    <a:pt x="128" y="44"/>
                    <a:pt x="124" y="44"/>
                  </a:cubicBezTo>
                  <a:cubicBezTo>
                    <a:pt x="123" y="44"/>
                    <a:pt x="122" y="44"/>
                    <a:pt x="121" y="44"/>
                  </a:cubicBezTo>
                  <a:cubicBezTo>
                    <a:pt x="120" y="43"/>
                    <a:pt x="119" y="43"/>
                    <a:pt x="118" y="43"/>
                  </a:cubicBezTo>
                  <a:cubicBezTo>
                    <a:pt x="110" y="42"/>
                    <a:pt x="102" y="50"/>
                    <a:pt x="99" y="58"/>
                  </a:cubicBezTo>
                  <a:cubicBezTo>
                    <a:pt x="98" y="60"/>
                    <a:pt x="98" y="63"/>
                    <a:pt x="98" y="66"/>
                  </a:cubicBezTo>
                  <a:cubicBezTo>
                    <a:pt x="95" y="66"/>
                    <a:pt x="93" y="66"/>
                    <a:pt x="91" y="66"/>
                  </a:cubicBezTo>
                  <a:cubicBezTo>
                    <a:pt x="85" y="67"/>
                    <a:pt x="80" y="67"/>
                    <a:pt x="75" y="67"/>
                  </a:cubicBezTo>
                  <a:cubicBezTo>
                    <a:pt x="71" y="68"/>
                    <a:pt x="67" y="69"/>
                    <a:pt x="63" y="69"/>
                  </a:cubicBezTo>
                  <a:cubicBezTo>
                    <a:pt x="62" y="69"/>
                    <a:pt x="62" y="69"/>
                    <a:pt x="61" y="69"/>
                  </a:cubicBezTo>
                  <a:cubicBezTo>
                    <a:pt x="58" y="66"/>
                    <a:pt x="54" y="64"/>
                    <a:pt x="51" y="62"/>
                  </a:cubicBezTo>
                  <a:cubicBezTo>
                    <a:pt x="49" y="62"/>
                    <a:pt x="48" y="61"/>
                    <a:pt x="46" y="61"/>
                  </a:cubicBezTo>
                  <a:cubicBezTo>
                    <a:pt x="46" y="59"/>
                    <a:pt x="46" y="56"/>
                    <a:pt x="47" y="53"/>
                  </a:cubicBezTo>
                  <a:cubicBezTo>
                    <a:pt x="47" y="50"/>
                    <a:pt x="48" y="45"/>
                    <a:pt x="48" y="41"/>
                  </a:cubicBezTo>
                  <a:cubicBezTo>
                    <a:pt x="48" y="39"/>
                    <a:pt x="45" y="36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39" y="38"/>
                    <a:pt x="38" y="41"/>
                    <a:pt x="39" y="43"/>
                  </a:cubicBezTo>
                  <a:cubicBezTo>
                    <a:pt x="38" y="48"/>
                    <a:pt x="36" y="55"/>
                    <a:pt x="38" y="61"/>
                  </a:cubicBezTo>
                  <a:cubicBezTo>
                    <a:pt x="32" y="62"/>
                    <a:pt x="27" y="64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1" y="67"/>
                    <a:pt x="19" y="65"/>
                    <a:pt x="17" y="65"/>
                  </a:cubicBezTo>
                  <a:cubicBezTo>
                    <a:pt x="14" y="64"/>
                    <a:pt x="10" y="62"/>
                    <a:pt x="7" y="63"/>
                  </a:cubicBezTo>
                  <a:cubicBezTo>
                    <a:pt x="5" y="63"/>
                    <a:pt x="4" y="65"/>
                    <a:pt x="3" y="66"/>
                  </a:cubicBezTo>
                  <a:cubicBezTo>
                    <a:pt x="2" y="72"/>
                    <a:pt x="8" y="72"/>
                    <a:pt x="12" y="74"/>
                  </a:cubicBezTo>
                  <a:cubicBezTo>
                    <a:pt x="14" y="74"/>
                    <a:pt x="17" y="76"/>
                    <a:pt x="20" y="77"/>
                  </a:cubicBezTo>
                  <a:cubicBezTo>
                    <a:pt x="19" y="79"/>
                    <a:pt x="19" y="81"/>
                    <a:pt x="19" y="83"/>
                  </a:cubicBezTo>
                  <a:cubicBezTo>
                    <a:pt x="19" y="83"/>
                    <a:pt x="18" y="83"/>
                    <a:pt x="18" y="83"/>
                  </a:cubicBezTo>
                  <a:cubicBezTo>
                    <a:pt x="14" y="82"/>
                    <a:pt x="10" y="82"/>
                    <a:pt x="7" y="83"/>
                  </a:cubicBezTo>
                  <a:cubicBezTo>
                    <a:pt x="0" y="83"/>
                    <a:pt x="0" y="92"/>
                    <a:pt x="7" y="92"/>
                  </a:cubicBezTo>
                  <a:cubicBezTo>
                    <a:pt x="10" y="92"/>
                    <a:pt x="14" y="92"/>
                    <a:pt x="17" y="92"/>
                  </a:cubicBezTo>
                  <a:cubicBezTo>
                    <a:pt x="18" y="92"/>
                    <a:pt x="19" y="92"/>
                    <a:pt x="21" y="91"/>
                  </a:cubicBezTo>
                  <a:cubicBezTo>
                    <a:pt x="21" y="93"/>
                    <a:pt x="22" y="94"/>
                    <a:pt x="23" y="95"/>
                  </a:cubicBezTo>
                  <a:cubicBezTo>
                    <a:pt x="21" y="96"/>
                    <a:pt x="19" y="97"/>
                    <a:pt x="18" y="98"/>
                  </a:cubicBezTo>
                  <a:cubicBezTo>
                    <a:pt x="14" y="102"/>
                    <a:pt x="7" y="104"/>
                    <a:pt x="7" y="110"/>
                  </a:cubicBezTo>
                  <a:cubicBezTo>
                    <a:pt x="7" y="113"/>
                    <a:pt x="11" y="116"/>
                    <a:pt x="14" y="114"/>
                  </a:cubicBezTo>
                  <a:cubicBezTo>
                    <a:pt x="16" y="113"/>
                    <a:pt x="17" y="111"/>
                    <a:pt x="18" y="110"/>
                  </a:cubicBezTo>
                  <a:cubicBezTo>
                    <a:pt x="20" y="109"/>
                    <a:pt x="22" y="107"/>
                    <a:pt x="24" y="106"/>
                  </a:cubicBezTo>
                  <a:cubicBezTo>
                    <a:pt x="25" y="104"/>
                    <a:pt x="27" y="103"/>
                    <a:pt x="28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31" y="103"/>
                    <a:pt x="33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4" y="109"/>
                    <a:pt x="33" y="113"/>
                    <a:pt x="34" y="117"/>
                  </a:cubicBezTo>
                  <a:cubicBezTo>
                    <a:pt x="35" y="121"/>
                    <a:pt x="40" y="120"/>
                    <a:pt x="42" y="117"/>
                  </a:cubicBezTo>
                  <a:cubicBezTo>
                    <a:pt x="43" y="114"/>
                    <a:pt x="43" y="111"/>
                    <a:pt x="44" y="108"/>
                  </a:cubicBezTo>
                  <a:cubicBezTo>
                    <a:pt x="44" y="107"/>
                    <a:pt x="45" y="106"/>
                    <a:pt x="45" y="105"/>
                  </a:cubicBezTo>
                  <a:cubicBezTo>
                    <a:pt x="46" y="105"/>
                    <a:pt x="48" y="104"/>
                    <a:pt x="49" y="104"/>
                  </a:cubicBezTo>
                  <a:cubicBezTo>
                    <a:pt x="58" y="100"/>
                    <a:pt x="65" y="92"/>
                    <a:pt x="65" y="82"/>
                  </a:cubicBezTo>
                  <a:cubicBezTo>
                    <a:pt x="69" y="82"/>
                    <a:pt x="72" y="82"/>
                    <a:pt x="76" y="81"/>
                  </a:cubicBezTo>
                  <a:cubicBezTo>
                    <a:pt x="84" y="79"/>
                    <a:pt x="93" y="80"/>
                    <a:pt x="101" y="77"/>
                  </a:cubicBezTo>
                  <a:cubicBezTo>
                    <a:pt x="102" y="78"/>
                    <a:pt x="103" y="80"/>
                    <a:pt x="105" y="82"/>
                  </a:cubicBezTo>
                  <a:cubicBezTo>
                    <a:pt x="111" y="89"/>
                    <a:pt x="121" y="89"/>
                    <a:pt x="130" y="85"/>
                  </a:cubicBezTo>
                  <a:cubicBezTo>
                    <a:pt x="139" y="81"/>
                    <a:pt x="144" y="70"/>
                    <a:pt x="142" y="60"/>
                  </a:cubicBezTo>
                  <a:cubicBezTo>
                    <a:pt x="143" y="60"/>
                    <a:pt x="143" y="60"/>
                    <a:pt x="143" y="60"/>
                  </a:cubicBezTo>
                  <a:cubicBezTo>
                    <a:pt x="143" y="60"/>
                    <a:pt x="147" y="56"/>
                    <a:pt x="145" y="59"/>
                  </a:cubicBezTo>
                  <a:cubicBezTo>
                    <a:pt x="145" y="58"/>
                    <a:pt x="146" y="57"/>
                    <a:pt x="146" y="57"/>
                  </a:cubicBezTo>
                  <a:cubicBezTo>
                    <a:pt x="147" y="56"/>
                    <a:pt x="148" y="56"/>
                    <a:pt x="149" y="55"/>
                  </a:cubicBezTo>
                  <a:cubicBezTo>
                    <a:pt x="149" y="55"/>
                    <a:pt x="149" y="54"/>
                    <a:pt x="150" y="54"/>
                  </a:cubicBezTo>
                  <a:cubicBezTo>
                    <a:pt x="150" y="54"/>
                    <a:pt x="151" y="53"/>
                    <a:pt x="151" y="53"/>
                  </a:cubicBezTo>
                  <a:cubicBezTo>
                    <a:pt x="155" y="50"/>
                    <a:pt x="159" y="47"/>
                    <a:pt x="163" y="44"/>
                  </a:cubicBezTo>
                  <a:cubicBezTo>
                    <a:pt x="167" y="41"/>
                    <a:pt x="171" y="39"/>
                    <a:pt x="175" y="36"/>
                  </a:cubicBezTo>
                  <a:cubicBezTo>
                    <a:pt x="175" y="36"/>
                    <a:pt x="176" y="35"/>
                    <a:pt x="176" y="35"/>
                  </a:cubicBezTo>
                  <a:cubicBezTo>
                    <a:pt x="176" y="36"/>
                    <a:pt x="176" y="37"/>
                    <a:pt x="176" y="38"/>
                  </a:cubicBezTo>
                  <a:cubicBezTo>
                    <a:pt x="176" y="49"/>
                    <a:pt x="177" y="60"/>
                    <a:pt x="176" y="71"/>
                  </a:cubicBezTo>
                  <a:cubicBezTo>
                    <a:pt x="176" y="91"/>
                    <a:pt x="175" y="112"/>
                    <a:pt x="182" y="132"/>
                  </a:cubicBezTo>
                  <a:cubicBezTo>
                    <a:pt x="187" y="150"/>
                    <a:pt x="199" y="166"/>
                    <a:pt x="212" y="179"/>
                  </a:cubicBezTo>
                  <a:cubicBezTo>
                    <a:pt x="226" y="192"/>
                    <a:pt x="243" y="202"/>
                    <a:pt x="262" y="205"/>
                  </a:cubicBezTo>
                  <a:cubicBezTo>
                    <a:pt x="275" y="207"/>
                    <a:pt x="288" y="207"/>
                    <a:pt x="301" y="205"/>
                  </a:cubicBezTo>
                  <a:cubicBezTo>
                    <a:pt x="308" y="204"/>
                    <a:pt x="315" y="203"/>
                    <a:pt x="322" y="201"/>
                  </a:cubicBezTo>
                  <a:cubicBezTo>
                    <a:pt x="327" y="200"/>
                    <a:pt x="332" y="199"/>
                    <a:pt x="337" y="196"/>
                  </a:cubicBezTo>
                  <a:cubicBezTo>
                    <a:pt x="340" y="197"/>
                    <a:pt x="343" y="197"/>
                    <a:pt x="346" y="195"/>
                  </a:cubicBezTo>
                  <a:cubicBezTo>
                    <a:pt x="350" y="194"/>
                    <a:pt x="354" y="192"/>
                    <a:pt x="357" y="190"/>
                  </a:cubicBezTo>
                  <a:cubicBezTo>
                    <a:pt x="364" y="186"/>
                    <a:pt x="370" y="181"/>
                    <a:pt x="375" y="175"/>
                  </a:cubicBezTo>
                  <a:cubicBezTo>
                    <a:pt x="380" y="170"/>
                    <a:pt x="384" y="163"/>
                    <a:pt x="387" y="156"/>
                  </a:cubicBezTo>
                  <a:cubicBezTo>
                    <a:pt x="392" y="146"/>
                    <a:pt x="395" y="136"/>
                    <a:pt x="399" y="126"/>
                  </a:cubicBezTo>
                  <a:cubicBezTo>
                    <a:pt x="405" y="107"/>
                    <a:pt x="408" y="87"/>
                    <a:pt x="411" y="67"/>
                  </a:cubicBezTo>
                  <a:cubicBezTo>
                    <a:pt x="413" y="56"/>
                    <a:pt x="413" y="46"/>
                    <a:pt x="413" y="35"/>
                  </a:cubicBezTo>
                  <a:cubicBezTo>
                    <a:pt x="417" y="40"/>
                    <a:pt x="421" y="44"/>
                    <a:pt x="426" y="48"/>
                  </a:cubicBezTo>
                  <a:cubicBezTo>
                    <a:pt x="432" y="54"/>
                    <a:pt x="437" y="62"/>
                    <a:pt x="443" y="68"/>
                  </a:cubicBezTo>
                  <a:cubicBezTo>
                    <a:pt x="446" y="71"/>
                    <a:pt x="448" y="74"/>
                    <a:pt x="451" y="76"/>
                  </a:cubicBezTo>
                  <a:cubicBezTo>
                    <a:pt x="453" y="79"/>
                    <a:pt x="454" y="82"/>
                    <a:pt x="457" y="84"/>
                  </a:cubicBezTo>
                  <a:cubicBezTo>
                    <a:pt x="457" y="89"/>
                    <a:pt x="459" y="94"/>
                    <a:pt x="462" y="98"/>
                  </a:cubicBezTo>
                  <a:cubicBezTo>
                    <a:pt x="467" y="105"/>
                    <a:pt x="476" y="110"/>
                    <a:pt x="484" y="109"/>
                  </a:cubicBezTo>
                  <a:cubicBezTo>
                    <a:pt x="492" y="108"/>
                    <a:pt x="500" y="103"/>
                    <a:pt x="503" y="95"/>
                  </a:cubicBezTo>
                  <a:cubicBezTo>
                    <a:pt x="503" y="95"/>
                    <a:pt x="503" y="95"/>
                    <a:pt x="503" y="95"/>
                  </a:cubicBezTo>
                  <a:cubicBezTo>
                    <a:pt x="509" y="96"/>
                    <a:pt x="515" y="95"/>
                    <a:pt x="521" y="95"/>
                  </a:cubicBezTo>
                  <a:cubicBezTo>
                    <a:pt x="529" y="94"/>
                    <a:pt x="537" y="93"/>
                    <a:pt x="545" y="93"/>
                  </a:cubicBezTo>
                  <a:cubicBezTo>
                    <a:pt x="547" y="104"/>
                    <a:pt x="558" y="111"/>
                    <a:pt x="569" y="111"/>
                  </a:cubicBezTo>
                  <a:cubicBezTo>
                    <a:pt x="571" y="111"/>
                    <a:pt x="572" y="111"/>
                    <a:pt x="573" y="110"/>
                  </a:cubicBezTo>
                  <a:cubicBezTo>
                    <a:pt x="574" y="112"/>
                    <a:pt x="575" y="114"/>
                    <a:pt x="577" y="116"/>
                  </a:cubicBezTo>
                  <a:cubicBezTo>
                    <a:pt x="579" y="119"/>
                    <a:pt x="581" y="123"/>
                    <a:pt x="584" y="125"/>
                  </a:cubicBezTo>
                  <a:cubicBezTo>
                    <a:pt x="590" y="128"/>
                    <a:pt x="597" y="120"/>
                    <a:pt x="592" y="115"/>
                  </a:cubicBezTo>
                  <a:cubicBezTo>
                    <a:pt x="589" y="113"/>
                    <a:pt x="587" y="112"/>
                    <a:pt x="585" y="110"/>
                  </a:cubicBezTo>
                  <a:cubicBezTo>
                    <a:pt x="584" y="109"/>
                    <a:pt x="583" y="108"/>
                    <a:pt x="582" y="107"/>
                  </a:cubicBezTo>
                  <a:cubicBezTo>
                    <a:pt x="583" y="107"/>
                    <a:pt x="584" y="106"/>
                    <a:pt x="585" y="106"/>
                  </a:cubicBezTo>
                  <a:cubicBezTo>
                    <a:pt x="587" y="107"/>
                    <a:pt x="590" y="108"/>
                    <a:pt x="591" y="109"/>
                  </a:cubicBezTo>
                  <a:cubicBezTo>
                    <a:pt x="595" y="112"/>
                    <a:pt x="600" y="114"/>
                    <a:pt x="605" y="114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7" y="115"/>
                    <a:pt x="609" y="115"/>
                    <a:pt x="611" y="113"/>
                  </a:cubicBezTo>
                  <a:cubicBezTo>
                    <a:pt x="615" y="109"/>
                    <a:pt x="613" y="103"/>
                    <a:pt x="608" y="102"/>
                  </a:cubicBezTo>
                  <a:cubicBezTo>
                    <a:pt x="603" y="100"/>
                    <a:pt x="598" y="99"/>
                    <a:pt x="594" y="98"/>
                  </a:cubicBezTo>
                  <a:cubicBezTo>
                    <a:pt x="594" y="96"/>
                    <a:pt x="595" y="95"/>
                    <a:pt x="596" y="94"/>
                  </a:cubicBezTo>
                  <a:cubicBezTo>
                    <a:pt x="598" y="94"/>
                    <a:pt x="601" y="94"/>
                    <a:pt x="603" y="94"/>
                  </a:cubicBezTo>
                  <a:cubicBezTo>
                    <a:pt x="607" y="95"/>
                    <a:pt x="614" y="95"/>
                    <a:pt x="617" y="93"/>
                  </a:cubicBezTo>
                  <a:cubicBezTo>
                    <a:pt x="623" y="90"/>
                    <a:pt x="621" y="81"/>
                    <a:pt x="614" y="8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îṡľíde"/>
            <p:cNvSpPr/>
            <p:nvPr/>
          </p:nvSpPr>
          <p:spPr bwMode="auto">
            <a:xfrm>
              <a:off x="4786941" y="2063665"/>
              <a:ext cx="2300120" cy="1788604"/>
            </a:xfrm>
            <a:custGeom>
              <a:avLst/>
              <a:gdLst>
                <a:gd name="T0" fmla="*/ 8 w 327"/>
                <a:gd name="T1" fmla="*/ 222 h 254"/>
                <a:gd name="T2" fmla="*/ 12 w 327"/>
                <a:gd name="T3" fmla="*/ 224 h 254"/>
                <a:gd name="T4" fmla="*/ 36 w 327"/>
                <a:gd name="T5" fmla="*/ 206 h 254"/>
                <a:gd name="T6" fmla="*/ 49 w 327"/>
                <a:gd name="T7" fmla="*/ 205 h 254"/>
                <a:gd name="T8" fmla="*/ 49 w 327"/>
                <a:gd name="T9" fmla="*/ 227 h 254"/>
                <a:gd name="T10" fmla="*/ 57 w 327"/>
                <a:gd name="T11" fmla="*/ 249 h 254"/>
                <a:gd name="T12" fmla="*/ 80 w 327"/>
                <a:gd name="T13" fmla="*/ 252 h 254"/>
                <a:gd name="T14" fmla="*/ 135 w 327"/>
                <a:gd name="T15" fmla="*/ 254 h 254"/>
                <a:gd name="T16" fmla="*/ 221 w 327"/>
                <a:gd name="T17" fmla="*/ 252 h 254"/>
                <a:gd name="T18" fmla="*/ 262 w 327"/>
                <a:gd name="T19" fmla="*/ 250 h 254"/>
                <a:gd name="T20" fmla="*/ 277 w 327"/>
                <a:gd name="T21" fmla="*/ 248 h 254"/>
                <a:gd name="T22" fmla="*/ 285 w 327"/>
                <a:gd name="T23" fmla="*/ 245 h 254"/>
                <a:gd name="T24" fmla="*/ 285 w 327"/>
                <a:gd name="T25" fmla="*/ 241 h 254"/>
                <a:gd name="T26" fmla="*/ 284 w 327"/>
                <a:gd name="T27" fmla="*/ 200 h 254"/>
                <a:gd name="T28" fmla="*/ 290 w 327"/>
                <a:gd name="T29" fmla="*/ 199 h 254"/>
                <a:gd name="T30" fmla="*/ 308 w 327"/>
                <a:gd name="T31" fmla="*/ 216 h 254"/>
                <a:gd name="T32" fmla="*/ 325 w 327"/>
                <a:gd name="T33" fmla="*/ 198 h 254"/>
                <a:gd name="T34" fmla="*/ 327 w 327"/>
                <a:gd name="T35" fmla="*/ 164 h 254"/>
                <a:gd name="T36" fmla="*/ 313 w 327"/>
                <a:gd name="T37" fmla="*/ 142 h 254"/>
                <a:gd name="T38" fmla="*/ 300 w 327"/>
                <a:gd name="T39" fmla="*/ 143 h 254"/>
                <a:gd name="T40" fmla="*/ 292 w 327"/>
                <a:gd name="T41" fmla="*/ 157 h 254"/>
                <a:gd name="T42" fmla="*/ 277 w 327"/>
                <a:gd name="T43" fmla="*/ 157 h 254"/>
                <a:gd name="T44" fmla="*/ 267 w 327"/>
                <a:gd name="T45" fmla="*/ 148 h 254"/>
                <a:gd name="T46" fmla="*/ 236 w 327"/>
                <a:gd name="T47" fmla="*/ 113 h 254"/>
                <a:gd name="T48" fmla="*/ 197 w 327"/>
                <a:gd name="T49" fmla="*/ 96 h 254"/>
                <a:gd name="T50" fmla="*/ 169 w 327"/>
                <a:gd name="T51" fmla="*/ 92 h 254"/>
                <a:gd name="T52" fmla="*/ 164 w 327"/>
                <a:gd name="T53" fmla="*/ 63 h 254"/>
                <a:gd name="T54" fmla="*/ 125 w 327"/>
                <a:gd name="T55" fmla="*/ 17 h 254"/>
                <a:gd name="T56" fmla="*/ 94 w 327"/>
                <a:gd name="T57" fmla="*/ 6 h 254"/>
                <a:gd name="T58" fmla="*/ 105 w 327"/>
                <a:gd name="T59" fmla="*/ 45 h 254"/>
                <a:gd name="T60" fmla="*/ 133 w 327"/>
                <a:gd name="T61" fmla="*/ 32 h 254"/>
                <a:gd name="T62" fmla="*/ 154 w 327"/>
                <a:gd name="T63" fmla="*/ 64 h 254"/>
                <a:gd name="T64" fmla="*/ 159 w 327"/>
                <a:gd name="T65" fmla="*/ 90 h 254"/>
                <a:gd name="T66" fmla="*/ 140 w 327"/>
                <a:gd name="T67" fmla="*/ 94 h 254"/>
                <a:gd name="T68" fmla="*/ 60 w 327"/>
                <a:gd name="T69" fmla="*/ 152 h 254"/>
                <a:gd name="T70" fmla="*/ 55 w 327"/>
                <a:gd name="T71" fmla="*/ 162 h 254"/>
                <a:gd name="T72" fmla="*/ 22 w 327"/>
                <a:gd name="T73" fmla="*/ 141 h 254"/>
                <a:gd name="T74" fmla="*/ 5 w 327"/>
                <a:gd name="T75" fmla="*/ 150 h 254"/>
                <a:gd name="T76" fmla="*/ 2 w 327"/>
                <a:gd name="T77" fmla="*/ 159 h 254"/>
                <a:gd name="T78" fmla="*/ 0 w 327"/>
                <a:gd name="T79" fmla="*/ 19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7" h="254">
                  <a:moveTo>
                    <a:pt x="1" y="209"/>
                  </a:moveTo>
                  <a:cubicBezTo>
                    <a:pt x="1" y="215"/>
                    <a:pt x="2" y="220"/>
                    <a:pt x="8" y="222"/>
                  </a:cubicBezTo>
                  <a:cubicBezTo>
                    <a:pt x="8" y="222"/>
                    <a:pt x="9" y="222"/>
                    <a:pt x="9" y="222"/>
                  </a:cubicBezTo>
                  <a:cubicBezTo>
                    <a:pt x="10" y="223"/>
                    <a:pt x="11" y="224"/>
                    <a:pt x="12" y="224"/>
                  </a:cubicBezTo>
                  <a:cubicBezTo>
                    <a:pt x="17" y="225"/>
                    <a:pt x="22" y="225"/>
                    <a:pt x="27" y="221"/>
                  </a:cubicBezTo>
                  <a:cubicBezTo>
                    <a:pt x="33" y="218"/>
                    <a:pt x="35" y="212"/>
                    <a:pt x="36" y="206"/>
                  </a:cubicBezTo>
                  <a:cubicBezTo>
                    <a:pt x="39" y="206"/>
                    <a:pt x="41" y="205"/>
                    <a:pt x="44" y="205"/>
                  </a:cubicBezTo>
                  <a:cubicBezTo>
                    <a:pt x="45" y="205"/>
                    <a:pt x="47" y="205"/>
                    <a:pt x="49" y="205"/>
                  </a:cubicBezTo>
                  <a:cubicBezTo>
                    <a:pt x="49" y="207"/>
                    <a:pt x="48" y="208"/>
                    <a:pt x="48" y="210"/>
                  </a:cubicBezTo>
                  <a:cubicBezTo>
                    <a:pt x="48" y="216"/>
                    <a:pt x="48" y="221"/>
                    <a:pt x="49" y="227"/>
                  </a:cubicBezTo>
                  <a:cubicBezTo>
                    <a:pt x="49" y="233"/>
                    <a:pt x="49" y="240"/>
                    <a:pt x="50" y="246"/>
                  </a:cubicBezTo>
                  <a:cubicBezTo>
                    <a:pt x="51" y="250"/>
                    <a:pt x="55" y="250"/>
                    <a:pt x="57" y="249"/>
                  </a:cubicBezTo>
                  <a:cubicBezTo>
                    <a:pt x="60" y="250"/>
                    <a:pt x="63" y="250"/>
                    <a:pt x="66" y="251"/>
                  </a:cubicBezTo>
                  <a:cubicBezTo>
                    <a:pt x="70" y="251"/>
                    <a:pt x="75" y="252"/>
                    <a:pt x="80" y="252"/>
                  </a:cubicBezTo>
                  <a:cubicBezTo>
                    <a:pt x="89" y="253"/>
                    <a:pt x="98" y="253"/>
                    <a:pt x="107" y="253"/>
                  </a:cubicBezTo>
                  <a:cubicBezTo>
                    <a:pt x="117" y="254"/>
                    <a:pt x="126" y="254"/>
                    <a:pt x="135" y="254"/>
                  </a:cubicBezTo>
                  <a:cubicBezTo>
                    <a:pt x="145" y="254"/>
                    <a:pt x="155" y="254"/>
                    <a:pt x="164" y="253"/>
                  </a:cubicBezTo>
                  <a:cubicBezTo>
                    <a:pt x="183" y="253"/>
                    <a:pt x="202" y="253"/>
                    <a:pt x="221" y="252"/>
                  </a:cubicBezTo>
                  <a:cubicBezTo>
                    <a:pt x="230" y="251"/>
                    <a:pt x="239" y="251"/>
                    <a:pt x="248" y="250"/>
                  </a:cubicBezTo>
                  <a:cubicBezTo>
                    <a:pt x="253" y="250"/>
                    <a:pt x="258" y="250"/>
                    <a:pt x="262" y="250"/>
                  </a:cubicBezTo>
                  <a:cubicBezTo>
                    <a:pt x="267" y="249"/>
                    <a:pt x="271" y="249"/>
                    <a:pt x="275" y="247"/>
                  </a:cubicBezTo>
                  <a:cubicBezTo>
                    <a:pt x="276" y="248"/>
                    <a:pt x="277" y="248"/>
                    <a:pt x="277" y="248"/>
                  </a:cubicBezTo>
                  <a:cubicBezTo>
                    <a:pt x="277" y="248"/>
                    <a:pt x="278" y="248"/>
                    <a:pt x="278" y="248"/>
                  </a:cubicBezTo>
                  <a:cubicBezTo>
                    <a:pt x="281" y="249"/>
                    <a:pt x="283" y="248"/>
                    <a:pt x="285" y="245"/>
                  </a:cubicBezTo>
                  <a:cubicBezTo>
                    <a:pt x="285" y="244"/>
                    <a:pt x="285" y="244"/>
                    <a:pt x="285" y="244"/>
                  </a:cubicBezTo>
                  <a:cubicBezTo>
                    <a:pt x="285" y="243"/>
                    <a:pt x="285" y="242"/>
                    <a:pt x="285" y="241"/>
                  </a:cubicBezTo>
                  <a:cubicBezTo>
                    <a:pt x="286" y="234"/>
                    <a:pt x="286" y="227"/>
                    <a:pt x="286" y="220"/>
                  </a:cubicBezTo>
                  <a:cubicBezTo>
                    <a:pt x="286" y="213"/>
                    <a:pt x="285" y="207"/>
                    <a:pt x="284" y="200"/>
                  </a:cubicBezTo>
                  <a:cubicBezTo>
                    <a:pt x="285" y="200"/>
                    <a:pt x="286" y="199"/>
                    <a:pt x="287" y="199"/>
                  </a:cubicBezTo>
                  <a:cubicBezTo>
                    <a:pt x="288" y="199"/>
                    <a:pt x="289" y="199"/>
                    <a:pt x="290" y="199"/>
                  </a:cubicBezTo>
                  <a:cubicBezTo>
                    <a:pt x="291" y="202"/>
                    <a:pt x="291" y="206"/>
                    <a:pt x="293" y="210"/>
                  </a:cubicBezTo>
                  <a:cubicBezTo>
                    <a:pt x="295" y="215"/>
                    <a:pt x="302" y="219"/>
                    <a:pt x="308" y="216"/>
                  </a:cubicBezTo>
                  <a:cubicBezTo>
                    <a:pt x="309" y="216"/>
                    <a:pt x="309" y="216"/>
                    <a:pt x="310" y="217"/>
                  </a:cubicBezTo>
                  <a:cubicBezTo>
                    <a:pt x="321" y="219"/>
                    <a:pt x="325" y="207"/>
                    <a:pt x="325" y="198"/>
                  </a:cubicBezTo>
                  <a:cubicBezTo>
                    <a:pt x="325" y="193"/>
                    <a:pt x="325" y="187"/>
                    <a:pt x="325" y="181"/>
                  </a:cubicBezTo>
                  <a:cubicBezTo>
                    <a:pt x="325" y="176"/>
                    <a:pt x="326" y="170"/>
                    <a:pt x="327" y="164"/>
                  </a:cubicBezTo>
                  <a:cubicBezTo>
                    <a:pt x="327" y="158"/>
                    <a:pt x="326" y="153"/>
                    <a:pt x="323" y="148"/>
                  </a:cubicBezTo>
                  <a:cubicBezTo>
                    <a:pt x="321" y="145"/>
                    <a:pt x="317" y="143"/>
                    <a:pt x="313" y="142"/>
                  </a:cubicBezTo>
                  <a:cubicBezTo>
                    <a:pt x="309" y="141"/>
                    <a:pt x="305" y="141"/>
                    <a:pt x="301" y="142"/>
                  </a:cubicBezTo>
                  <a:cubicBezTo>
                    <a:pt x="301" y="142"/>
                    <a:pt x="300" y="143"/>
                    <a:pt x="300" y="143"/>
                  </a:cubicBezTo>
                  <a:cubicBezTo>
                    <a:pt x="298" y="142"/>
                    <a:pt x="296" y="143"/>
                    <a:pt x="295" y="144"/>
                  </a:cubicBezTo>
                  <a:cubicBezTo>
                    <a:pt x="293" y="148"/>
                    <a:pt x="292" y="153"/>
                    <a:pt x="292" y="157"/>
                  </a:cubicBezTo>
                  <a:cubicBezTo>
                    <a:pt x="289" y="157"/>
                    <a:pt x="287" y="157"/>
                    <a:pt x="284" y="157"/>
                  </a:cubicBezTo>
                  <a:cubicBezTo>
                    <a:pt x="282" y="157"/>
                    <a:pt x="280" y="157"/>
                    <a:pt x="277" y="157"/>
                  </a:cubicBezTo>
                  <a:cubicBezTo>
                    <a:pt x="276" y="157"/>
                    <a:pt x="274" y="157"/>
                    <a:pt x="272" y="157"/>
                  </a:cubicBezTo>
                  <a:cubicBezTo>
                    <a:pt x="270" y="154"/>
                    <a:pt x="269" y="151"/>
                    <a:pt x="267" y="148"/>
                  </a:cubicBezTo>
                  <a:cubicBezTo>
                    <a:pt x="263" y="142"/>
                    <a:pt x="258" y="136"/>
                    <a:pt x="252" y="130"/>
                  </a:cubicBezTo>
                  <a:cubicBezTo>
                    <a:pt x="247" y="124"/>
                    <a:pt x="242" y="118"/>
                    <a:pt x="236" y="113"/>
                  </a:cubicBezTo>
                  <a:cubicBezTo>
                    <a:pt x="231" y="109"/>
                    <a:pt x="224" y="105"/>
                    <a:pt x="218" y="102"/>
                  </a:cubicBezTo>
                  <a:cubicBezTo>
                    <a:pt x="212" y="99"/>
                    <a:pt x="204" y="96"/>
                    <a:pt x="197" y="96"/>
                  </a:cubicBezTo>
                  <a:cubicBezTo>
                    <a:pt x="193" y="94"/>
                    <a:pt x="188" y="93"/>
                    <a:pt x="184" y="93"/>
                  </a:cubicBezTo>
                  <a:cubicBezTo>
                    <a:pt x="179" y="92"/>
                    <a:pt x="174" y="92"/>
                    <a:pt x="169" y="92"/>
                  </a:cubicBezTo>
                  <a:cubicBezTo>
                    <a:pt x="169" y="89"/>
                    <a:pt x="169" y="87"/>
                    <a:pt x="169" y="85"/>
                  </a:cubicBezTo>
                  <a:cubicBezTo>
                    <a:pt x="168" y="77"/>
                    <a:pt x="166" y="70"/>
                    <a:pt x="164" y="63"/>
                  </a:cubicBezTo>
                  <a:cubicBezTo>
                    <a:pt x="162" y="53"/>
                    <a:pt x="158" y="42"/>
                    <a:pt x="152" y="33"/>
                  </a:cubicBezTo>
                  <a:cubicBezTo>
                    <a:pt x="146" y="26"/>
                    <a:pt x="135" y="17"/>
                    <a:pt x="125" y="17"/>
                  </a:cubicBezTo>
                  <a:cubicBezTo>
                    <a:pt x="123" y="11"/>
                    <a:pt x="119" y="5"/>
                    <a:pt x="113" y="3"/>
                  </a:cubicBezTo>
                  <a:cubicBezTo>
                    <a:pt x="107" y="0"/>
                    <a:pt x="98" y="0"/>
                    <a:pt x="94" y="6"/>
                  </a:cubicBezTo>
                  <a:cubicBezTo>
                    <a:pt x="87" y="10"/>
                    <a:pt x="81" y="17"/>
                    <a:pt x="80" y="26"/>
                  </a:cubicBezTo>
                  <a:cubicBezTo>
                    <a:pt x="79" y="40"/>
                    <a:pt x="93" y="48"/>
                    <a:pt x="105" y="45"/>
                  </a:cubicBezTo>
                  <a:cubicBezTo>
                    <a:pt x="113" y="43"/>
                    <a:pt x="121" y="36"/>
                    <a:pt x="124" y="28"/>
                  </a:cubicBezTo>
                  <a:cubicBezTo>
                    <a:pt x="127" y="30"/>
                    <a:pt x="130" y="31"/>
                    <a:pt x="133" y="32"/>
                  </a:cubicBezTo>
                  <a:cubicBezTo>
                    <a:pt x="137" y="34"/>
                    <a:pt x="140" y="37"/>
                    <a:pt x="143" y="41"/>
                  </a:cubicBezTo>
                  <a:cubicBezTo>
                    <a:pt x="148" y="47"/>
                    <a:pt x="151" y="56"/>
                    <a:pt x="154" y="64"/>
                  </a:cubicBezTo>
                  <a:cubicBezTo>
                    <a:pt x="155" y="70"/>
                    <a:pt x="157" y="75"/>
                    <a:pt x="158" y="81"/>
                  </a:cubicBezTo>
                  <a:cubicBezTo>
                    <a:pt x="159" y="84"/>
                    <a:pt x="159" y="87"/>
                    <a:pt x="159" y="90"/>
                  </a:cubicBezTo>
                  <a:cubicBezTo>
                    <a:pt x="159" y="91"/>
                    <a:pt x="159" y="91"/>
                    <a:pt x="160" y="92"/>
                  </a:cubicBezTo>
                  <a:cubicBezTo>
                    <a:pt x="153" y="92"/>
                    <a:pt x="146" y="93"/>
                    <a:pt x="140" y="94"/>
                  </a:cubicBezTo>
                  <a:cubicBezTo>
                    <a:pt x="123" y="97"/>
                    <a:pt x="108" y="104"/>
                    <a:pt x="94" y="113"/>
                  </a:cubicBezTo>
                  <a:cubicBezTo>
                    <a:pt x="79" y="123"/>
                    <a:pt x="68" y="136"/>
                    <a:pt x="60" y="152"/>
                  </a:cubicBezTo>
                  <a:cubicBezTo>
                    <a:pt x="59" y="155"/>
                    <a:pt x="58" y="159"/>
                    <a:pt x="57" y="162"/>
                  </a:cubicBezTo>
                  <a:cubicBezTo>
                    <a:pt x="56" y="162"/>
                    <a:pt x="55" y="162"/>
                    <a:pt x="55" y="162"/>
                  </a:cubicBezTo>
                  <a:cubicBezTo>
                    <a:pt x="50" y="161"/>
                    <a:pt x="45" y="162"/>
                    <a:pt x="40" y="163"/>
                  </a:cubicBezTo>
                  <a:cubicBezTo>
                    <a:pt x="40" y="152"/>
                    <a:pt x="33" y="142"/>
                    <a:pt x="22" y="141"/>
                  </a:cubicBezTo>
                  <a:cubicBezTo>
                    <a:pt x="18" y="140"/>
                    <a:pt x="13" y="140"/>
                    <a:pt x="9" y="143"/>
                  </a:cubicBezTo>
                  <a:cubicBezTo>
                    <a:pt x="7" y="145"/>
                    <a:pt x="5" y="147"/>
                    <a:pt x="5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3" y="153"/>
                    <a:pt x="2" y="156"/>
                    <a:pt x="2" y="159"/>
                  </a:cubicBezTo>
                  <a:cubicBezTo>
                    <a:pt x="2" y="162"/>
                    <a:pt x="1" y="166"/>
                    <a:pt x="1" y="170"/>
                  </a:cubicBezTo>
                  <a:cubicBezTo>
                    <a:pt x="0" y="177"/>
                    <a:pt x="0" y="184"/>
                    <a:pt x="0" y="191"/>
                  </a:cubicBezTo>
                  <a:cubicBezTo>
                    <a:pt x="0" y="197"/>
                    <a:pt x="1" y="203"/>
                    <a:pt x="1" y="20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íšľiḓe"/>
            <p:cNvSpPr/>
            <p:nvPr/>
          </p:nvSpPr>
          <p:spPr bwMode="auto">
            <a:xfrm>
              <a:off x="5210378" y="3950506"/>
              <a:ext cx="1510829" cy="1256766"/>
            </a:xfrm>
            <a:custGeom>
              <a:avLst/>
              <a:gdLst>
                <a:gd name="T0" fmla="*/ 213 w 215"/>
                <a:gd name="T1" fmla="*/ 44 h 179"/>
                <a:gd name="T2" fmla="*/ 213 w 215"/>
                <a:gd name="T3" fmla="*/ 44 h 179"/>
                <a:gd name="T4" fmla="*/ 208 w 215"/>
                <a:gd name="T5" fmla="*/ 73 h 179"/>
                <a:gd name="T6" fmla="*/ 202 w 215"/>
                <a:gd name="T7" fmla="*/ 103 h 179"/>
                <a:gd name="T8" fmla="*/ 192 w 215"/>
                <a:gd name="T9" fmla="*/ 130 h 179"/>
                <a:gd name="T10" fmla="*/ 180 w 215"/>
                <a:gd name="T11" fmla="*/ 150 h 179"/>
                <a:gd name="T12" fmla="*/ 165 w 215"/>
                <a:gd name="T13" fmla="*/ 164 h 179"/>
                <a:gd name="T14" fmla="*/ 156 w 215"/>
                <a:gd name="T15" fmla="*/ 169 h 179"/>
                <a:gd name="T16" fmla="*/ 153 w 215"/>
                <a:gd name="T17" fmla="*/ 171 h 179"/>
                <a:gd name="T18" fmla="*/ 138 w 215"/>
                <a:gd name="T19" fmla="*/ 172 h 179"/>
                <a:gd name="T20" fmla="*/ 122 w 215"/>
                <a:gd name="T21" fmla="*/ 176 h 179"/>
                <a:gd name="T22" fmla="*/ 92 w 215"/>
                <a:gd name="T23" fmla="*/ 179 h 179"/>
                <a:gd name="T24" fmla="*/ 42 w 215"/>
                <a:gd name="T25" fmla="*/ 162 h 179"/>
                <a:gd name="T26" fmla="*/ 9 w 215"/>
                <a:gd name="T27" fmla="*/ 119 h 179"/>
                <a:gd name="T28" fmla="*/ 2 w 215"/>
                <a:gd name="T29" fmla="*/ 59 h 179"/>
                <a:gd name="T30" fmla="*/ 2 w 215"/>
                <a:gd name="T31" fmla="*/ 25 h 179"/>
                <a:gd name="T32" fmla="*/ 1 w 215"/>
                <a:gd name="T33" fmla="*/ 9 h 179"/>
                <a:gd name="T34" fmla="*/ 1 w 215"/>
                <a:gd name="T35" fmla="*/ 3 h 179"/>
                <a:gd name="T36" fmla="*/ 0 w 215"/>
                <a:gd name="T37" fmla="*/ 2 h 179"/>
                <a:gd name="T38" fmla="*/ 0 w 215"/>
                <a:gd name="T39" fmla="*/ 1 h 179"/>
                <a:gd name="T40" fmla="*/ 16 w 215"/>
                <a:gd name="T41" fmla="*/ 4 h 179"/>
                <a:gd name="T42" fmla="*/ 40 w 215"/>
                <a:gd name="T43" fmla="*/ 5 h 179"/>
                <a:gd name="T44" fmla="*/ 54 w 215"/>
                <a:gd name="T45" fmla="*/ 4 h 179"/>
                <a:gd name="T46" fmla="*/ 69 w 215"/>
                <a:gd name="T47" fmla="*/ 4 h 179"/>
                <a:gd name="T48" fmla="*/ 100 w 215"/>
                <a:gd name="T49" fmla="*/ 2 h 179"/>
                <a:gd name="T50" fmla="*/ 160 w 215"/>
                <a:gd name="T51" fmla="*/ 1 h 179"/>
                <a:gd name="T52" fmla="*/ 190 w 215"/>
                <a:gd name="T53" fmla="*/ 1 h 179"/>
                <a:gd name="T54" fmla="*/ 214 w 215"/>
                <a:gd name="T55" fmla="*/ 0 h 179"/>
                <a:gd name="T56" fmla="*/ 214 w 215"/>
                <a:gd name="T57" fmla="*/ 14 h 179"/>
                <a:gd name="T58" fmla="*/ 213 w 215"/>
                <a:gd name="T59" fmla="*/ 44 h 179"/>
                <a:gd name="T60" fmla="*/ 195 w 215"/>
                <a:gd name="T61" fmla="*/ 15 h 179"/>
                <a:gd name="T62" fmla="*/ 170 w 215"/>
                <a:gd name="T63" fmla="*/ 14 h 179"/>
                <a:gd name="T64" fmla="*/ 144 w 215"/>
                <a:gd name="T65" fmla="*/ 14 h 179"/>
                <a:gd name="T66" fmla="*/ 93 w 215"/>
                <a:gd name="T67" fmla="*/ 14 h 179"/>
                <a:gd name="T68" fmla="*/ 68 w 215"/>
                <a:gd name="T69" fmla="*/ 14 h 179"/>
                <a:gd name="T70" fmla="*/ 43 w 215"/>
                <a:gd name="T71" fmla="*/ 14 h 179"/>
                <a:gd name="T72" fmla="*/ 24 w 215"/>
                <a:gd name="T73" fmla="*/ 17 h 179"/>
                <a:gd name="T74" fmla="*/ 20 w 215"/>
                <a:gd name="T75" fmla="*/ 30 h 179"/>
                <a:gd name="T76" fmla="*/ 20 w 215"/>
                <a:gd name="T77" fmla="*/ 30 h 179"/>
                <a:gd name="T78" fmla="*/ 19 w 215"/>
                <a:gd name="T79" fmla="*/ 40 h 179"/>
                <a:gd name="T80" fmla="*/ 20 w 215"/>
                <a:gd name="T81" fmla="*/ 58 h 179"/>
                <a:gd name="T82" fmla="*/ 20 w 215"/>
                <a:gd name="T83" fmla="*/ 76 h 179"/>
                <a:gd name="T84" fmla="*/ 20 w 215"/>
                <a:gd name="T85" fmla="*/ 89 h 179"/>
                <a:gd name="T86" fmla="*/ 20 w 215"/>
                <a:gd name="T87" fmla="*/ 93 h 179"/>
                <a:gd name="T88" fmla="*/ 39 w 215"/>
                <a:gd name="T89" fmla="*/ 97 h 179"/>
                <a:gd name="T90" fmla="*/ 60 w 215"/>
                <a:gd name="T91" fmla="*/ 97 h 179"/>
                <a:gd name="T92" fmla="*/ 106 w 215"/>
                <a:gd name="T93" fmla="*/ 97 h 179"/>
                <a:gd name="T94" fmla="*/ 129 w 215"/>
                <a:gd name="T95" fmla="*/ 96 h 179"/>
                <a:gd name="T96" fmla="*/ 153 w 215"/>
                <a:gd name="T97" fmla="*/ 96 h 179"/>
                <a:gd name="T98" fmla="*/ 177 w 215"/>
                <a:gd name="T99" fmla="*/ 95 h 179"/>
                <a:gd name="T100" fmla="*/ 197 w 215"/>
                <a:gd name="T101" fmla="*/ 90 h 179"/>
                <a:gd name="T102" fmla="*/ 198 w 215"/>
                <a:gd name="T103" fmla="*/ 88 h 179"/>
                <a:gd name="T104" fmla="*/ 200 w 215"/>
                <a:gd name="T105" fmla="*/ 82 h 179"/>
                <a:gd name="T106" fmla="*/ 200 w 215"/>
                <a:gd name="T107" fmla="*/ 72 h 179"/>
                <a:gd name="T108" fmla="*/ 200 w 215"/>
                <a:gd name="T109" fmla="*/ 62 h 179"/>
                <a:gd name="T110" fmla="*/ 200 w 215"/>
                <a:gd name="T111" fmla="*/ 52 h 179"/>
                <a:gd name="T112" fmla="*/ 201 w 215"/>
                <a:gd name="T113" fmla="*/ 33 h 179"/>
                <a:gd name="T114" fmla="*/ 198 w 215"/>
                <a:gd name="T115" fmla="*/ 15 h 179"/>
                <a:gd name="T116" fmla="*/ 195 w 215"/>
                <a:gd name="T117" fmla="*/ 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5" h="179">
                  <a:moveTo>
                    <a:pt x="213" y="44"/>
                  </a:moveTo>
                  <a:cubicBezTo>
                    <a:pt x="213" y="44"/>
                    <a:pt x="213" y="44"/>
                    <a:pt x="213" y="44"/>
                  </a:cubicBezTo>
                  <a:cubicBezTo>
                    <a:pt x="212" y="54"/>
                    <a:pt x="210" y="64"/>
                    <a:pt x="208" y="73"/>
                  </a:cubicBezTo>
                  <a:cubicBezTo>
                    <a:pt x="207" y="83"/>
                    <a:pt x="205" y="93"/>
                    <a:pt x="202" y="103"/>
                  </a:cubicBezTo>
                  <a:cubicBezTo>
                    <a:pt x="199" y="112"/>
                    <a:pt x="196" y="121"/>
                    <a:pt x="192" y="130"/>
                  </a:cubicBezTo>
                  <a:cubicBezTo>
                    <a:pt x="188" y="137"/>
                    <a:pt x="185" y="144"/>
                    <a:pt x="180" y="150"/>
                  </a:cubicBezTo>
                  <a:cubicBezTo>
                    <a:pt x="176" y="156"/>
                    <a:pt x="171" y="160"/>
                    <a:pt x="165" y="164"/>
                  </a:cubicBezTo>
                  <a:cubicBezTo>
                    <a:pt x="162" y="166"/>
                    <a:pt x="159" y="168"/>
                    <a:pt x="156" y="169"/>
                  </a:cubicBezTo>
                  <a:cubicBezTo>
                    <a:pt x="155" y="170"/>
                    <a:pt x="154" y="170"/>
                    <a:pt x="153" y="171"/>
                  </a:cubicBezTo>
                  <a:cubicBezTo>
                    <a:pt x="148" y="170"/>
                    <a:pt x="143" y="171"/>
                    <a:pt x="138" y="172"/>
                  </a:cubicBezTo>
                  <a:cubicBezTo>
                    <a:pt x="133" y="174"/>
                    <a:pt x="128" y="175"/>
                    <a:pt x="122" y="176"/>
                  </a:cubicBezTo>
                  <a:cubicBezTo>
                    <a:pt x="112" y="178"/>
                    <a:pt x="102" y="179"/>
                    <a:pt x="92" y="179"/>
                  </a:cubicBezTo>
                  <a:cubicBezTo>
                    <a:pt x="74" y="179"/>
                    <a:pt x="56" y="173"/>
                    <a:pt x="42" y="162"/>
                  </a:cubicBezTo>
                  <a:cubicBezTo>
                    <a:pt x="28" y="150"/>
                    <a:pt x="16" y="136"/>
                    <a:pt x="9" y="119"/>
                  </a:cubicBezTo>
                  <a:cubicBezTo>
                    <a:pt x="2" y="100"/>
                    <a:pt x="2" y="79"/>
                    <a:pt x="2" y="59"/>
                  </a:cubicBezTo>
                  <a:cubicBezTo>
                    <a:pt x="3" y="48"/>
                    <a:pt x="2" y="37"/>
                    <a:pt x="2" y="25"/>
                  </a:cubicBezTo>
                  <a:cubicBezTo>
                    <a:pt x="1" y="20"/>
                    <a:pt x="1" y="15"/>
                    <a:pt x="1" y="9"/>
                  </a:cubicBezTo>
                  <a:cubicBezTo>
                    <a:pt x="1" y="7"/>
                    <a:pt x="1" y="5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3"/>
                    <a:pt x="11" y="4"/>
                    <a:pt x="16" y="4"/>
                  </a:cubicBezTo>
                  <a:cubicBezTo>
                    <a:pt x="24" y="4"/>
                    <a:pt x="32" y="4"/>
                    <a:pt x="40" y="5"/>
                  </a:cubicBezTo>
                  <a:cubicBezTo>
                    <a:pt x="45" y="5"/>
                    <a:pt x="50" y="5"/>
                    <a:pt x="54" y="4"/>
                  </a:cubicBezTo>
                  <a:cubicBezTo>
                    <a:pt x="59" y="4"/>
                    <a:pt x="64" y="4"/>
                    <a:pt x="69" y="4"/>
                  </a:cubicBezTo>
                  <a:cubicBezTo>
                    <a:pt x="79" y="4"/>
                    <a:pt x="90" y="3"/>
                    <a:pt x="100" y="2"/>
                  </a:cubicBezTo>
                  <a:cubicBezTo>
                    <a:pt x="120" y="2"/>
                    <a:pt x="140" y="2"/>
                    <a:pt x="160" y="1"/>
                  </a:cubicBezTo>
                  <a:cubicBezTo>
                    <a:pt x="170" y="1"/>
                    <a:pt x="180" y="1"/>
                    <a:pt x="190" y="1"/>
                  </a:cubicBezTo>
                  <a:cubicBezTo>
                    <a:pt x="198" y="0"/>
                    <a:pt x="206" y="0"/>
                    <a:pt x="214" y="0"/>
                  </a:cubicBezTo>
                  <a:cubicBezTo>
                    <a:pt x="213" y="4"/>
                    <a:pt x="213" y="9"/>
                    <a:pt x="214" y="14"/>
                  </a:cubicBezTo>
                  <a:cubicBezTo>
                    <a:pt x="215" y="24"/>
                    <a:pt x="214" y="34"/>
                    <a:pt x="213" y="44"/>
                  </a:cubicBezTo>
                  <a:close/>
                  <a:moveTo>
                    <a:pt x="195" y="15"/>
                  </a:moveTo>
                  <a:cubicBezTo>
                    <a:pt x="187" y="15"/>
                    <a:pt x="178" y="14"/>
                    <a:pt x="170" y="14"/>
                  </a:cubicBezTo>
                  <a:cubicBezTo>
                    <a:pt x="161" y="13"/>
                    <a:pt x="153" y="13"/>
                    <a:pt x="144" y="14"/>
                  </a:cubicBezTo>
                  <a:cubicBezTo>
                    <a:pt x="127" y="14"/>
                    <a:pt x="110" y="14"/>
                    <a:pt x="93" y="14"/>
                  </a:cubicBezTo>
                  <a:cubicBezTo>
                    <a:pt x="85" y="15"/>
                    <a:pt x="76" y="14"/>
                    <a:pt x="68" y="14"/>
                  </a:cubicBezTo>
                  <a:cubicBezTo>
                    <a:pt x="60" y="14"/>
                    <a:pt x="51" y="14"/>
                    <a:pt x="43" y="14"/>
                  </a:cubicBezTo>
                  <a:cubicBezTo>
                    <a:pt x="37" y="14"/>
                    <a:pt x="30" y="14"/>
                    <a:pt x="24" y="17"/>
                  </a:cubicBezTo>
                  <a:cubicBezTo>
                    <a:pt x="20" y="20"/>
                    <a:pt x="18" y="25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3"/>
                    <a:pt x="19" y="36"/>
                    <a:pt x="19" y="40"/>
                  </a:cubicBezTo>
                  <a:cubicBezTo>
                    <a:pt x="19" y="46"/>
                    <a:pt x="19" y="52"/>
                    <a:pt x="20" y="58"/>
                  </a:cubicBezTo>
                  <a:cubicBezTo>
                    <a:pt x="20" y="64"/>
                    <a:pt x="20" y="70"/>
                    <a:pt x="20" y="76"/>
                  </a:cubicBezTo>
                  <a:cubicBezTo>
                    <a:pt x="20" y="80"/>
                    <a:pt x="19" y="85"/>
                    <a:pt x="20" y="89"/>
                  </a:cubicBezTo>
                  <a:cubicBezTo>
                    <a:pt x="19" y="90"/>
                    <a:pt x="19" y="92"/>
                    <a:pt x="20" y="93"/>
                  </a:cubicBezTo>
                  <a:cubicBezTo>
                    <a:pt x="25" y="97"/>
                    <a:pt x="33" y="97"/>
                    <a:pt x="39" y="97"/>
                  </a:cubicBezTo>
                  <a:cubicBezTo>
                    <a:pt x="46" y="96"/>
                    <a:pt x="52" y="97"/>
                    <a:pt x="60" y="97"/>
                  </a:cubicBezTo>
                  <a:cubicBezTo>
                    <a:pt x="75" y="98"/>
                    <a:pt x="90" y="98"/>
                    <a:pt x="106" y="97"/>
                  </a:cubicBezTo>
                  <a:cubicBezTo>
                    <a:pt x="114" y="97"/>
                    <a:pt x="121" y="97"/>
                    <a:pt x="129" y="96"/>
                  </a:cubicBezTo>
                  <a:cubicBezTo>
                    <a:pt x="137" y="96"/>
                    <a:pt x="145" y="96"/>
                    <a:pt x="153" y="96"/>
                  </a:cubicBezTo>
                  <a:cubicBezTo>
                    <a:pt x="161" y="97"/>
                    <a:pt x="169" y="96"/>
                    <a:pt x="177" y="95"/>
                  </a:cubicBezTo>
                  <a:cubicBezTo>
                    <a:pt x="184" y="94"/>
                    <a:pt x="192" y="95"/>
                    <a:pt x="197" y="90"/>
                  </a:cubicBezTo>
                  <a:cubicBezTo>
                    <a:pt x="198" y="90"/>
                    <a:pt x="198" y="89"/>
                    <a:pt x="198" y="88"/>
                  </a:cubicBezTo>
                  <a:cubicBezTo>
                    <a:pt x="200" y="87"/>
                    <a:pt x="200" y="84"/>
                    <a:pt x="200" y="82"/>
                  </a:cubicBezTo>
                  <a:cubicBezTo>
                    <a:pt x="200" y="79"/>
                    <a:pt x="200" y="75"/>
                    <a:pt x="200" y="72"/>
                  </a:cubicBezTo>
                  <a:cubicBezTo>
                    <a:pt x="201" y="68"/>
                    <a:pt x="200" y="65"/>
                    <a:pt x="200" y="62"/>
                  </a:cubicBezTo>
                  <a:cubicBezTo>
                    <a:pt x="200" y="58"/>
                    <a:pt x="200" y="55"/>
                    <a:pt x="200" y="52"/>
                  </a:cubicBezTo>
                  <a:cubicBezTo>
                    <a:pt x="201" y="45"/>
                    <a:pt x="201" y="39"/>
                    <a:pt x="201" y="33"/>
                  </a:cubicBezTo>
                  <a:cubicBezTo>
                    <a:pt x="202" y="27"/>
                    <a:pt x="202" y="20"/>
                    <a:pt x="198" y="15"/>
                  </a:cubicBezTo>
                  <a:cubicBezTo>
                    <a:pt x="198" y="15"/>
                    <a:pt x="196" y="14"/>
                    <a:pt x="195" y="15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iṡ1îďè"/>
            <p:cNvSpPr/>
            <p:nvPr/>
          </p:nvSpPr>
          <p:spPr bwMode="auto">
            <a:xfrm>
              <a:off x="5210378" y="3957281"/>
              <a:ext cx="491190" cy="1229666"/>
            </a:xfrm>
            <a:custGeom>
              <a:avLst/>
              <a:gdLst>
                <a:gd name="T0" fmla="*/ 70 w 70"/>
                <a:gd name="T1" fmla="*/ 175 h 175"/>
                <a:gd name="T2" fmla="*/ 42 w 70"/>
                <a:gd name="T3" fmla="*/ 161 h 175"/>
                <a:gd name="T4" fmla="*/ 9 w 70"/>
                <a:gd name="T5" fmla="*/ 118 h 175"/>
                <a:gd name="T6" fmla="*/ 2 w 70"/>
                <a:gd name="T7" fmla="*/ 58 h 175"/>
                <a:gd name="T8" fmla="*/ 2 w 70"/>
                <a:gd name="T9" fmla="*/ 24 h 175"/>
                <a:gd name="T10" fmla="*/ 1 w 70"/>
                <a:gd name="T11" fmla="*/ 8 h 175"/>
                <a:gd name="T12" fmla="*/ 1 w 70"/>
                <a:gd name="T13" fmla="*/ 2 h 175"/>
                <a:gd name="T14" fmla="*/ 0 w 70"/>
                <a:gd name="T15" fmla="*/ 1 h 175"/>
                <a:gd name="T16" fmla="*/ 0 w 70"/>
                <a:gd name="T17" fmla="*/ 0 h 175"/>
                <a:gd name="T18" fmla="*/ 7 w 70"/>
                <a:gd name="T19" fmla="*/ 2 h 175"/>
                <a:gd name="T20" fmla="*/ 70 w 70"/>
                <a:gd name="T21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175">
                  <a:moveTo>
                    <a:pt x="70" y="175"/>
                  </a:moveTo>
                  <a:cubicBezTo>
                    <a:pt x="60" y="173"/>
                    <a:pt x="50" y="168"/>
                    <a:pt x="42" y="161"/>
                  </a:cubicBezTo>
                  <a:cubicBezTo>
                    <a:pt x="28" y="149"/>
                    <a:pt x="16" y="135"/>
                    <a:pt x="9" y="118"/>
                  </a:cubicBezTo>
                  <a:cubicBezTo>
                    <a:pt x="2" y="99"/>
                    <a:pt x="2" y="78"/>
                    <a:pt x="2" y="58"/>
                  </a:cubicBezTo>
                  <a:cubicBezTo>
                    <a:pt x="3" y="47"/>
                    <a:pt x="2" y="36"/>
                    <a:pt x="2" y="24"/>
                  </a:cubicBezTo>
                  <a:cubicBezTo>
                    <a:pt x="1" y="19"/>
                    <a:pt x="1" y="14"/>
                    <a:pt x="1" y="8"/>
                  </a:cubicBezTo>
                  <a:cubicBezTo>
                    <a:pt x="1" y="6"/>
                    <a:pt x="1" y="4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5" y="2"/>
                    <a:pt x="7" y="2"/>
                  </a:cubicBezTo>
                  <a:cubicBezTo>
                    <a:pt x="5" y="41"/>
                    <a:pt x="5" y="152"/>
                    <a:pt x="70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îṧ1íḑè"/>
            <p:cNvSpPr/>
            <p:nvPr/>
          </p:nvSpPr>
          <p:spPr bwMode="auto">
            <a:xfrm>
              <a:off x="6067419" y="3950506"/>
              <a:ext cx="653790" cy="1236441"/>
            </a:xfrm>
            <a:custGeom>
              <a:avLst/>
              <a:gdLst>
                <a:gd name="T0" fmla="*/ 91 w 93"/>
                <a:gd name="T1" fmla="*/ 44 h 176"/>
                <a:gd name="T2" fmla="*/ 91 w 93"/>
                <a:gd name="T3" fmla="*/ 44 h 176"/>
                <a:gd name="T4" fmla="*/ 86 w 93"/>
                <a:gd name="T5" fmla="*/ 73 h 176"/>
                <a:gd name="T6" fmla="*/ 80 w 93"/>
                <a:gd name="T7" fmla="*/ 103 h 176"/>
                <a:gd name="T8" fmla="*/ 70 w 93"/>
                <a:gd name="T9" fmla="*/ 130 h 176"/>
                <a:gd name="T10" fmla="*/ 58 w 93"/>
                <a:gd name="T11" fmla="*/ 150 h 176"/>
                <a:gd name="T12" fmla="*/ 43 w 93"/>
                <a:gd name="T13" fmla="*/ 164 h 176"/>
                <a:gd name="T14" fmla="*/ 34 w 93"/>
                <a:gd name="T15" fmla="*/ 169 h 176"/>
                <a:gd name="T16" fmla="*/ 31 w 93"/>
                <a:gd name="T17" fmla="*/ 171 h 176"/>
                <a:gd name="T18" fmla="*/ 16 w 93"/>
                <a:gd name="T19" fmla="*/ 172 h 176"/>
                <a:gd name="T20" fmla="*/ 0 w 93"/>
                <a:gd name="T21" fmla="*/ 176 h 176"/>
                <a:gd name="T22" fmla="*/ 54 w 93"/>
                <a:gd name="T23" fmla="*/ 95 h 176"/>
                <a:gd name="T24" fmla="*/ 55 w 93"/>
                <a:gd name="T25" fmla="*/ 95 h 176"/>
                <a:gd name="T26" fmla="*/ 75 w 93"/>
                <a:gd name="T27" fmla="*/ 90 h 176"/>
                <a:gd name="T28" fmla="*/ 76 w 93"/>
                <a:gd name="T29" fmla="*/ 88 h 176"/>
                <a:gd name="T30" fmla="*/ 78 w 93"/>
                <a:gd name="T31" fmla="*/ 82 h 176"/>
                <a:gd name="T32" fmla="*/ 78 w 93"/>
                <a:gd name="T33" fmla="*/ 72 h 176"/>
                <a:gd name="T34" fmla="*/ 78 w 93"/>
                <a:gd name="T35" fmla="*/ 62 h 176"/>
                <a:gd name="T36" fmla="*/ 78 w 93"/>
                <a:gd name="T37" fmla="*/ 52 h 176"/>
                <a:gd name="T38" fmla="*/ 79 w 93"/>
                <a:gd name="T39" fmla="*/ 33 h 176"/>
                <a:gd name="T40" fmla="*/ 76 w 93"/>
                <a:gd name="T41" fmla="*/ 15 h 176"/>
                <a:gd name="T42" fmla="*/ 73 w 93"/>
                <a:gd name="T43" fmla="*/ 15 h 176"/>
                <a:gd name="T44" fmla="*/ 67 w 93"/>
                <a:gd name="T45" fmla="*/ 15 h 176"/>
                <a:gd name="T46" fmla="*/ 67 w 93"/>
                <a:gd name="T47" fmla="*/ 1 h 176"/>
                <a:gd name="T48" fmla="*/ 68 w 93"/>
                <a:gd name="T49" fmla="*/ 1 h 176"/>
                <a:gd name="T50" fmla="*/ 92 w 93"/>
                <a:gd name="T51" fmla="*/ 0 h 176"/>
                <a:gd name="T52" fmla="*/ 92 w 93"/>
                <a:gd name="T53" fmla="*/ 14 h 176"/>
                <a:gd name="T54" fmla="*/ 91 w 93"/>
                <a:gd name="T55" fmla="*/ 4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3" h="176">
                  <a:moveTo>
                    <a:pt x="91" y="44"/>
                  </a:moveTo>
                  <a:cubicBezTo>
                    <a:pt x="91" y="44"/>
                    <a:pt x="91" y="44"/>
                    <a:pt x="91" y="44"/>
                  </a:cubicBezTo>
                  <a:cubicBezTo>
                    <a:pt x="90" y="54"/>
                    <a:pt x="88" y="64"/>
                    <a:pt x="86" y="73"/>
                  </a:cubicBezTo>
                  <a:cubicBezTo>
                    <a:pt x="85" y="83"/>
                    <a:pt x="83" y="93"/>
                    <a:pt x="80" y="103"/>
                  </a:cubicBezTo>
                  <a:cubicBezTo>
                    <a:pt x="77" y="112"/>
                    <a:pt x="74" y="121"/>
                    <a:pt x="70" y="130"/>
                  </a:cubicBezTo>
                  <a:cubicBezTo>
                    <a:pt x="66" y="137"/>
                    <a:pt x="63" y="144"/>
                    <a:pt x="58" y="150"/>
                  </a:cubicBezTo>
                  <a:cubicBezTo>
                    <a:pt x="54" y="156"/>
                    <a:pt x="49" y="160"/>
                    <a:pt x="43" y="164"/>
                  </a:cubicBezTo>
                  <a:cubicBezTo>
                    <a:pt x="40" y="166"/>
                    <a:pt x="37" y="168"/>
                    <a:pt x="34" y="169"/>
                  </a:cubicBezTo>
                  <a:cubicBezTo>
                    <a:pt x="33" y="170"/>
                    <a:pt x="32" y="170"/>
                    <a:pt x="31" y="171"/>
                  </a:cubicBezTo>
                  <a:cubicBezTo>
                    <a:pt x="26" y="170"/>
                    <a:pt x="21" y="171"/>
                    <a:pt x="16" y="172"/>
                  </a:cubicBezTo>
                  <a:cubicBezTo>
                    <a:pt x="11" y="174"/>
                    <a:pt x="6" y="175"/>
                    <a:pt x="0" y="176"/>
                  </a:cubicBezTo>
                  <a:cubicBezTo>
                    <a:pt x="28" y="155"/>
                    <a:pt x="44" y="125"/>
                    <a:pt x="54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62" y="94"/>
                    <a:pt x="70" y="95"/>
                    <a:pt x="75" y="90"/>
                  </a:cubicBezTo>
                  <a:cubicBezTo>
                    <a:pt x="76" y="90"/>
                    <a:pt x="76" y="89"/>
                    <a:pt x="76" y="88"/>
                  </a:cubicBezTo>
                  <a:cubicBezTo>
                    <a:pt x="78" y="87"/>
                    <a:pt x="78" y="84"/>
                    <a:pt x="78" y="82"/>
                  </a:cubicBezTo>
                  <a:cubicBezTo>
                    <a:pt x="78" y="79"/>
                    <a:pt x="78" y="75"/>
                    <a:pt x="78" y="72"/>
                  </a:cubicBezTo>
                  <a:cubicBezTo>
                    <a:pt x="79" y="68"/>
                    <a:pt x="78" y="65"/>
                    <a:pt x="78" y="62"/>
                  </a:cubicBezTo>
                  <a:cubicBezTo>
                    <a:pt x="78" y="58"/>
                    <a:pt x="78" y="55"/>
                    <a:pt x="78" y="52"/>
                  </a:cubicBezTo>
                  <a:cubicBezTo>
                    <a:pt x="79" y="45"/>
                    <a:pt x="79" y="39"/>
                    <a:pt x="79" y="33"/>
                  </a:cubicBezTo>
                  <a:cubicBezTo>
                    <a:pt x="80" y="27"/>
                    <a:pt x="80" y="20"/>
                    <a:pt x="76" y="15"/>
                  </a:cubicBezTo>
                  <a:cubicBezTo>
                    <a:pt x="76" y="15"/>
                    <a:pt x="74" y="14"/>
                    <a:pt x="73" y="15"/>
                  </a:cubicBezTo>
                  <a:cubicBezTo>
                    <a:pt x="71" y="15"/>
                    <a:pt x="69" y="15"/>
                    <a:pt x="67" y="15"/>
                  </a:cubicBezTo>
                  <a:cubicBezTo>
                    <a:pt x="67" y="10"/>
                    <a:pt x="67" y="5"/>
                    <a:pt x="67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76" y="0"/>
                    <a:pt x="84" y="0"/>
                    <a:pt x="92" y="0"/>
                  </a:cubicBezTo>
                  <a:cubicBezTo>
                    <a:pt x="91" y="4"/>
                    <a:pt x="91" y="9"/>
                    <a:pt x="92" y="14"/>
                  </a:cubicBezTo>
                  <a:cubicBezTo>
                    <a:pt x="93" y="24"/>
                    <a:pt x="92" y="34"/>
                    <a:pt x="91" y="44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iṥlïḓè"/>
            <p:cNvSpPr/>
            <p:nvPr/>
          </p:nvSpPr>
          <p:spPr bwMode="auto">
            <a:xfrm>
              <a:off x="5210378" y="2781817"/>
              <a:ext cx="1490504" cy="992541"/>
            </a:xfrm>
            <a:custGeom>
              <a:avLst/>
              <a:gdLst>
                <a:gd name="T0" fmla="*/ 24 w 212"/>
                <a:gd name="T1" fmla="*/ 35 h 141"/>
                <a:gd name="T2" fmla="*/ 24 w 212"/>
                <a:gd name="T3" fmla="*/ 35 h 141"/>
                <a:gd name="T4" fmla="*/ 116 w 212"/>
                <a:gd name="T5" fmla="*/ 1 h 141"/>
                <a:gd name="T6" fmla="*/ 135 w 212"/>
                <a:gd name="T7" fmla="*/ 1 h 141"/>
                <a:gd name="T8" fmla="*/ 150 w 212"/>
                <a:gd name="T9" fmla="*/ 10 h 141"/>
                <a:gd name="T10" fmla="*/ 167 w 212"/>
                <a:gd name="T11" fmla="*/ 21 h 141"/>
                <a:gd name="T12" fmla="*/ 182 w 212"/>
                <a:gd name="T13" fmla="*/ 36 h 141"/>
                <a:gd name="T14" fmla="*/ 195 w 212"/>
                <a:gd name="T15" fmla="*/ 53 h 141"/>
                <a:gd name="T16" fmla="*/ 209 w 212"/>
                <a:gd name="T17" fmla="*/ 95 h 141"/>
                <a:gd name="T18" fmla="*/ 212 w 212"/>
                <a:gd name="T19" fmla="*/ 118 h 141"/>
                <a:gd name="T20" fmla="*/ 212 w 212"/>
                <a:gd name="T21" fmla="*/ 134 h 141"/>
                <a:gd name="T22" fmla="*/ 202 w 212"/>
                <a:gd name="T23" fmla="*/ 135 h 141"/>
                <a:gd name="T24" fmla="*/ 188 w 212"/>
                <a:gd name="T25" fmla="*/ 135 h 141"/>
                <a:gd name="T26" fmla="*/ 161 w 212"/>
                <a:gd name="T27" fmla="*/ 137 h 141"/>
                <a:gd name="T28" fmla="*/ 104 w 212"/>
                <a:gd name="T29" fmla="*/ 138 h 141"/>
                <a:gd name="T30" fmla="*/ 76 w 212"/>
                <a:gd name="T31" fmla="*/ 140 h 141"/>
                <a:gd name="T32" fmla="*/ 49 w 212"/>
                <a:gd name="T33" fmla="*/ 139 h 141"/>
                <a:gd name="T34" fmla="*/ 21 w 212"/>
                <a:gd name="T35" fmla="*/ 140 h 141"/>
                <a:gd name="T36" fmla="*/ 7 w 212"/>
                <a:gd name="T37" fmla="*/ 141 h 141"/>
                <a:gd name="T38" fmla="*/ 0 w 212"/>
                <a:gd name="T39" fmla="*/ 141 h 141"/>
                <a:gd name="T40" fmla="*/ 0 w 212"/>
                <a:gd name="T41" fmla="*/ 114 h 141"/>
                <a:gd name="T42" fmla="*/ 0 w 212"/>
                <a:gd name="T43" fmla="*/ 101 h 141"/>
                <a:gd name="T44" fmla="*/ 1 w 212"/>
                <a:gd name="T45" fmla="*/ 96 h 141"/>
                <a:gd name="T46" fmla="*/ 2 w 212"/>
                <a:gd name="T47" fmla="*/ 85 h 141"/>
                <a:gd name="T48" fmla="*/ 24 w 212"/>
                <a:gd name="T49" fmla="*/ 3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2" h="141"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46" y="9"/>
                    <a:pt x="82" y="0"/>
                    <a:pt x="116" y="1"/>
                  </a:cubicBezTo>
                  <a:cubicBezTo>
                    <a:pt x="122" y="1"/>
                    <a:pt x="129" y="2"/>
                    <a:pt x="135" y="1"/>
                  </a:cubicBezTo>
                  <a:cubicBezTo>
                    <a:pt x="139" y="5"/>
                    <a:pt x="145" y="7"/>
                    <a:pt x="150" y="10"/>
                  </a:cubicBezTo>
                  <a:cubicBezTo>
                    <a:pt x="156" y="13"/>
                    <a:pt x="162" y="17"/>
                    <a:pt x="167" y="21"/>
                  </a:cubicBezTo>
                  <a:cubicBezTo>
                    <a:pt x="172" y="26"/>
                    <a:pt x="177" y="31"/>
                    <a:pt x="182" y="36"/>
                  </a:cubicBezTo>
                  <a:cubicBezTo>
                    <a:pt x="187" y="42"/>
                    <a:pt x="191" y="47"/>
                    <a:pt x="195" y="53"/>
                  </a:cubicBezTo>
                  <a:cubicBezTo>
                    <a:pt x="204" y="66"/>
                    <a:pt x="206" y="80"/>
                    <a:pt x="209" y="95"/>
                  </a:cubicBezTo>
                  <a:cubicBezTo>
                    <a:pt x="211" y="102"/>
                    <a:pt x="212" y="110"/>
                    <a:pt x="212" y="118"/>
                  </a:cubicBezTo>
                  <a:cubicBezTo>
                    <a:pt x="212" y="123"/>
                    <a:pt x="212" y="129"/>
                    <a:pt x="212" y="134"/>
                  </a:cubicBezTo>
                  <a:cubicBezTo>
                    <a:pt x="209" y="134"/>
                    <a:pt x="206" y="134"/>
                    <a:pt x="202" y="135"/>
                  </a:cubicBezTo>
                  <a:cubicBezTo>
                    <a:pt x="198" y="135"/>
                    <a:pt x="193" y="135"/>
                    <a:pt x="188" y="135"/>
                  </a:cubicBezTo>
                  <a:cubicBezTo>
                    <a:pt x="179" y="136"/>
                    <a:pt x="170" y="136"/>
                    <a:pt x="161" y="137"/>
                  </a:cubicBezTo>
                  <a:cubicBezTo>
                    <a:pt x="142" y="138"/>
                    <a:pt x="123" y="138"/>
                    <a:pt x="104" y="138"/>
                  </a:cubicBezTo>
                  <a:cubicBezTo>
                    <a:pt x="95" y="139"/>
                    <a:pt x="86" y="140"/>
                    <a:pt x="76" y="140"/>
                  </a:cubicBezTo>
                  <a:cubicBezTo>
                    <a:pt x="67" y="140"/>
                    <a:pt x="58" y="140"/>
                    <a:pt x="49" y="139"/>
                  </a:cubicBezTo>
                  <a:cubicBezTo>
                    <a:pt x="39" y="139"/>
                    <a:pt x="30" y="140"/>
                    <a:pt x="21" y="140"/>
                  </a:cubicBezTo>
                  <a:cubicBezTo>
                    <a:pt x="16" y="140"/>
                    <a:pt x="12" y="140"/>
                    <a:pt x="7" y="141"/>
                  </a:cubicBezTo>
                  <a:cubicBezTo>
                    <a:pt x="5" y="141"/>
                    <a:pt x="2" y="141"/>
                    <a:pt x="0" y="141"/>
                  </a:cubicBezTo>
                  <a:cubicBezTo>
                    <a:pt x="0" y="132"/>
                    <a:pt x="0" y="123"/>
                    <a:pt x="0" y="114"/>
                  </a:cubicBezTo>
                  <a:cubicBezTo>
                    <a:pt x="0" y="109"/>
                    <a:pt x="0" y="105"/>
                    <a:pt x="0" y="101"/>
                  </a:cubicBezTo>
                  <a:cubicBezTo>
                    <a:pt x="1" y="99"/>
                    <a:pt x="1" y="97"/>
                    <a:pt x="1" y="96"/>
                  </a:cubicBezTo>
                  <a:cubicBezTo>
                    <a:pt x="1" y="92"/>
                    <a:pt x="1" y="88"/>
                    <a:pt x="2" y="85"/>
                  </a:cubicBezTo>
                  <a:cubicBezTo>
                    <a:pt x="5" y="67"/>
                    <a:pt x="12" y="49"/>
                    <a:pt x="24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íṡľiḋê"/>
            <p:cNvSpPr/>
            <p:nvPr/>
          </p:nvSpPr>
          <p:spPr bwMode="auto">
            <a:xfrm>
              <a:off x="5969180" y="2788592"/>
              <a:ext cx="731702" cy="941727"/>
            </a:xfrm>
            <a:custGeom>
              <a:avLst/>
              <a:gdLst>
                <a:gd name="T0" fmla="*/ 0 w 104"/>
                <a:gd name="T1" fmla="*/ 0 h 134"/>
                <a:gd name="T2" fmla="*/ 8 w 104"/>
                <a:gd name="T3" fmla="*/ 0 h 134"/>
                <a:gd name="T4" fmla="*/ 27 w 104"/>
                <a:gd name="T5" fmla="*/ 0 h 134"/>
                <a:gd name="T6" fmla="*/ 42 w 104"/>
                <a:gd name="T7" fmla="*/ 9 h 134"/>
                <a:gd name="T8" fmla="*/ 59 w 104"/>
                <a:gd name="T9" fmla="*/ 20 h 134"/>
                <a:gd name="T10" fmla="*/ 74 w 104"/>
                <a:gd name="T11" fmla="*/ 35 h 134"/>
                <a:gd name="T12" fmla="*/ 87 w 104"/>
                <a:gd name="T13" fmla="*/ 52 h 134"/>
                <a:gd name="T14" fmla="*/ 101 w 104"/>
                <a:gd name="T15" fmla="*/ 94 h 134"/>
                <a:gd name="T16" fmla="*/ 104 w 104"/>
                <a:gd name="T17" fmla="*/ 117 h 134"/>
                <a:gd name="T18" fmla="*/ 104 w 104"/>
                <a:gd name="T19" fmla="*/ 133 h 134"/>
                <a:gd name="T20" fmla="*/ 94 w 104"/>
                <a:gd name="T21" fmla="*/ 134 h 134"/>
                <a:gd name="T22" fmla="*/ 81 w 104"/>
                <a:gd name="T23" fmla="*/ 134 h 134"/>
                <a:gd name="T24" fmla="*/ 0 w 104"/>
                <a:gd name="T25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34">
                  <a:moveTo>
                    <a:pt x="0" y="0"/>
                  </a:moveTo>
                  <a:cubicBezTo>
                    <a:pt x="3" y="0"/>
                    <a:pt x="5" y="0"/>
                    <a:pt x="8" y="0"/>
                  </a:cubicBezTo>
                  <a:cubicBezTo>
                    <a:pt x="14" y="0"/>
                    <a:pt x="21" y="1"/>
                    <a:pt x="27" y="0"/>
                  </a:cubicBezTo>
                  <a:cubicBezTo>
                    <a:pt x="31" y="4"/>
                    <a:pt x="37" y="6"/>
                    <a:pt x="42" y="9"/>
                  </a:cubicBezTo>
                  <a:cubicBezTo>
                    <a:pt x="48" y="12"/>
                    <a:pt x="54" y="16"/>
                    <a:pt x="59" y="20"/>
                  </a:cubicBezTo>
                  <a:cubicBezTo>
                    <a:pt x="64" y="25"/>
                    <a:pt x="69" y="30"/>
                    <a:pt x="74" y="35"/>
                  </a:cubicBezTo>
                  <a:cubicBezTo>
                    <a:pt x="79" y="41"/>
                    <a:pt x="83" y="46"/>
                    <a:pt x="87" y="52"/>
                  </a:cubicBezTo>
                  <a:cubicBezTo>
                    <a:pt x="96" y="65"/>
                    <a:pt x="98" y="79"/>
                    <a:pt x="101" y="94"/>
                  </a:cubicBezTo>
                  <a:cubicBezTo>
                    <a:pt x="103" y="101"/>
                    <a:pt x="104" y="109"/>
                    <a:pt x="104" y="117"/>
                  </a:cubicBezTo>
                  <a:cubicBezTo>
                    <a:pt x="104" y="122"/>
                    <a:pt x="104" y="128"/>
                    <a:pt x="104" y="133"/>
                  </a:cubicBezTo>
                  <a:cubicBezTo>
                    <a:pt x="101" y="133"/>
                    <a:pt x="98" y="133"/>
                    <a:pt x="94" y="134"/>
                  </a:cubicBezTo>
                  <a:cubicBezTo>
                    <a:pt x="90" y="134"/>
                    <a:pt x="86" y="134"/>
                    <a:pt x="81" y="134"/>
                  </a:cubicBezTo>
                  <a:cubicBezTo>
                    <a:pt x="88" y="2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îṧḻíḓé"/>
            <p:cNvSpPr/>
            <p:nvPr/>
          </p:nvSpPr>
          <p:spPr bwMode="auto">
            <a:xfrm>
              <a:off x="4786941" y="2063665"/>
              <a:ext cx="2300120" cy="1788604"/>
            </a:xfrm>
            <a:custGeom>
              <a:avLst/>
              <a:gdLst>
                <a:gd name="T0" fmla="*/ 12 w 327"/>
                <a:gd name="T1" fmla="*/ 224 h 254"/>
                <a:gd name="T2" fmla="*/ 49 w 327"/>
                <a:gd name="T3" fmla="*/ 205 h 254"/>
                <a:gd name="T4" fmla="*/ 57 w 327"/>
                <a:gd name="T5" fmla="*/ 249 h 254"/>
                <a:gd name="T6" fmla="*/ 135 w 327"/>
                <a:gd name="T7" fmla="*/ 254 h 254"/>
                <a:gd name="T8" fmla="*/ 262 w 327"/>
                <a:gd name="T9" fmla="*/ 250 h 254"/>
                <a:gd name="T10" fmla="*/ 285 w 327"/>
                <a:gd name="T11" fmla="*/ 245 h 254"/>
                <a:gd name="T12" fmla="*/ 284 w 327"/>
                <a:gd name="T13" fmla="*/ 200 h 254"/>
                <a:gd name="T14" fmla="*/ 308 w 327"/>
                <a:gd name="T15" fmla="*/ 216 h 254"/>
                <a:gd name="T16" fmla="*/ 327 w 327"/>
                <a:gd name="T17" fmla="*/ 164 h 254"/>
                <a:gd name="T18" fmla="*/ 300 w 327"/>
                <a:gd name="T19" fmla="*/ 143 h 254"/>
                <a:gd name="T20" fmla="*/ 277 w 327"/>
                <a:gd name="T21" fmla="*/ 157 h 254"/>
                <a:gd name="T22" fmla="*/ 236 w 327"/>
                <a:gd name="T23" fmla="*/ 113 h 254"/>
                <a:gd name="T24" fmla="*/ 169 w 327"/>
                <a:gd name="T25" fmla="*/ 92 h 254"/>
                <a:gd name="T26" fmla="*/ 125 w 327"/>
                <a:gd name="T27" fmla="*/ 17 h 254"/>
                <a:gd name="T28" fmla="*/ 105 w 327"/>
                <a:gd name="T29" fmla="*/ 45 h 254"/>
                <a:gd name="T30" fmla="*/ 154 w 327"/>
                <a:gd name="T31" fmla="*/ 64 h 254"/>
                <a:gd name="T32" fmla="*/ 140 w 327"/>
                <a:gd name="T33" fmla="*/ 94 h 254"/>
                <a:gd name="T34" fmla="*/ 55 w 327"/>
                <a:gd name="T35" fmla="*/ 162 h 254"/>
                <a:gd name="T36" fmla="*/ 5 w 327"/>
                <a:gd name="T37" fmla="*/ 150 h 254"/>
                <a:gd name="T38" fmla="*/ 0 w 327"/>
                <a:gd name="T39" fmla="*/ 191 h 254"/>
                <a:gd name="T40" fmla="*/ 91 w 327"/>
                <a:gd name="T41" fmla="*/ 25 h 254"/>
                <a:gd name="T42" fmla="*/ 103 w 327"/>
                <a:gd name="T43" fmla="*/ 34 h 254"/>
                <a:gd name="T44" fmla="*/ 305 w 327"/>
                <a:gd name="T45" fmla="*/ 204 h 254"/>
                <a:gd name="T46" fmla="*/ 312 w 327"/>
                <a:gd name="T47" fmla="*/ 155 h 254"/>
                <a:gd name="T48" fmla="*/ 305 w 327"/>
                <a:gd name="T49" fmla="*/ 152 h 254"/>
                <a:gd name="T50" fmla="*/ 312 w 327"/>
                <a:gd name="T51" fmla="*/ 155 h 254"/>
                <a:gd name="T52" fmla="*/ 312 w 327"/>
                <a:gd name="T53" fmla="*/ 196 h 254"/>
                <a:gd name="T54" fmla="*/ 310 w 327"/>
                <a:gd name="T55" fmla="*/ 205 h 254"/>
                <a:gd name="T56" fmla="*/ 304 w 327"/>
                <a:gd name="T57" fmla="*/ 200 h 254"/>
                <a:gd name="T58" fmla="*/ 304 w 327"/>
                <a:gd name="T59" fmla="*/ 170 h 254"/>
                <a:gd name="T60" fmla="*/ 283 w 327"/>
                <a:gd name="T61" fmla="*/ 168 h 254"/>
                <a:gd name="T62" fmla="*/ 290 w 327"/>
                <a:gd name="T63" fmla="*/ 188 h 254"/>
                <a:gd name="T64" fmla="*/ 283 w 327"/>
                <a:gd name="T65" fmla="*/ 168 h 254"/>
                <a:gd name="T66" fmla="*/ 195 w 327"/>
                <a:gd name="T67" fmla="*/ 103 h 254"/>
                <a:gd name="T68" fmla="*/ 255 w 327"/>
                <a:gd name="T69" fmla="*/ 155 h 254"/>
                <a:gd name="T70" fmla="*/ 262 w 327"/>
                <a:gd name="T71" fmla="*/ 237 h 254"/>
                <a:gd name="T72" fmla="*/ 136 w 327"/>
                <a:gd name="T73" fmla="*/ 242 h 254"/>
                <a:gd name="T74" fmla="*/ 60 w 327"/>
                <a:gd name="T75" fmla="*/ 243 h 254"/>
                <a:gd name="T76" fmla="*/ 62 w 327"/>
                <a:gd name="T77" fmla="*/ 187 h 254"/>
                <a:gd name="T78" fmla="*/ 50 w 327"/>
                <a:gd name="T79" fmla="*/ 193 h 254"/>
                <a:gd name="T80" fmla="*/ 40 w 327"/>
                <a:gd name="T81" fmla="*/ 172 h 254"/>
                <a:gd name="T82" fmla="*/ 18 w 327"/>
                <a:gd name="T83" fmla="*/ 152 h 254"/>
                <a:gd name="T84" fmla="*/ 24 w 327"/>
                <a:gd name="T85" fmla="*/ 155 h 254"/>
                <a:gd name="T86" fmla="*/ 25 w 327"/>
                <a:gd name="T87" fmla="*/ 183 h 254"/>
                <a:gd name="T88" fmla="*/ 20 w 327"/>
                <a:gd name="T89" fmla="*/ 210 h 254"/>
                <a:gd name="T90" fmla="*/ 14 w 327"/>
                <a:gd name="T91" fmla="*/ 211 h 254"/>
                <a:gd name="T92" fmla="*/ 13 w 327"/>
                <a:gd name="T93" fmla="*/ 168 h 254"/>
                <a:gd name="T94" fmla="*/ 17 w 327"/>
                <a:gd name="T95" fmla="*/ 152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7" h="254">
                  <a:moveTo>
                    <a:pt x="1" y="209"/>
                  </a:moveTo>
                  <a:cubicBezTo>
                    <a:pt x="1" y="215"/>
                    <a:pt x="2" y="220"/>
                    <a:pt x="8" y="222"/>
                  </a:cubicBezTo>
                  <a:cubicBezTo>
                    <a:pt x="8" y="222"/>
                    <a:pt x="9" y="222"/>
                    <a:pt x="9" y="222"/>
                  </a:cubicBezTo>
                  <a:cubicBezTo>
                    <a:pt x="10" y="223"/>
                    <a:pt x="11" y="224"/>
                    <a:pt x="12" y="224"/>
                  </a:cubicBezTo>
                  <a:cubicBezTo>
                    <a:pt x="17" y="225"/>
                    <a:pt x="22" y="225"/>
                    <a:pt x="27" y="221"/>
                  </a:cubicBezTo>
                  <a:cubicBezTo>
                    <a:pt x="33" y="218"/>
                    <a:pt x="35" y="212"/>
                    <a:pt x="36" y="206"/>
                  </a:cubicBezTo>
                  <a:cubicBezTo>
                    <a:pt x="39" y="206"/>
                    <a:pt x="41" y="205"/>
                    <a:pt x="44" y="205"/>
                  </a:cubicBezTo>
                  <a:cubicBezTo>
                    <a:pt x="45" y="205"/>
                    <a:pt x="47" y="205"/>
                    <a:pt x="49" y="205"/>
                  </a:cubicBezTo>
                  <a:cubicBezTo>
                    <a:pt x="49" y="207"/>
                    <a:pt x="48" y="208"/>
                    <a:pt x="48" y="210"/>
                  </a:cubicBezTo>
                  <a:cubicBezTo>
                    <a:pt x="48" y="216"/>
                    <a:pt x="48" y="221"/>
                    <a:pt x="49" y="227"/>
                  </a:cubicBezTo>
                  <a:cubicBezTo>
                    <a:pt x="49" y="233"/>
                    <a:pt x="49" y="240"/>
                    <a:pt x="50" y="246"/>
                  </a:cubicBezTo>
                  <a:cubicBezTo>
                    <a:pt x="51" y="250"/>
                    <a:pt x="55" y="250"/>
                    <a:pt x="57" y="249"/>
                  </a:cubicBezTo>
                  <a:cubicBezTo>
                    <a:pt x="60" y="250"/>
                    <a:pt x="63" y="250"/>
                    <a:pt x="66" y="251"/>
                  </a:cubicBezTo>
                  <a:cubicBezTo>
                    <a:pt x="70" y="251"/>
                    <a:pt x="75" y="252"/>
                    <a:pt x="80" y="252"/>
                  </a:cubicBezTo>
                  <a:cubicBezTo>
                    <a:pt x="89" y="253"/>
                    <a:pt x="98" y="253"/>
                    <a:pt x="107" y="253"/>
                  </a:cubicBezTo>
                  <a:cubicBezTo>
                    <a:pt x="117" y="254"/>
                    <a:pt x="126" y="254"/>
                    <a:pt x="135" y="254"/>
                  </a:cubicBezTo>
                  <a:cubicBezTo>
                    <a:pt x="145" y="254"/>
                    <a:pt x="155" y="254"/>
                    <a:pt x="164" y="253"/>
                  </a:cubicBezTo>
                  <a:cubicBezTo>
                    <a:pt x="183" y="253"/>
                    <a:pt x="202" y="253"/>
                    <a:pt x="221" y="252"/>
                  </a:cubicBezTo>
                  <a:cubicBezTo>
                    <a:pt x="230" y="251"/>
                    <a:pt x="239" y="251"/>
                    <a:pt x="248" y="250"/>
                  </a:cubicBezTo>
                  <a:cubicBezTo>
                    <a:pt x="253" y="250"/>
                    <a:pt x="258" y="250"/>
                    <a:pt x="262" y="250"/>
                  </a:cubicBezTo>
                  <a:cubicBezTo>
                    <a:pt x="267" y="249"/>
                    <a:pt x="271" y="249"/>
                    <a:pt x="275" y="247"/>
                  </a:cubicBezTo>
                  <a:cubicBezTo>
                    <a:pt x="276" y="248"/>
                    <a:pt x="277" y="248"/>
                    <a:pt x="277" y="248"/>
                  </a:cubicBezTo>
                  <a:cubicBezTo>
                    <a:pt x="277" y="248"/>
                    <a:pt x="278" y="248"/>
                    <a:pt x="278" y="248"/>
                  </a:cubicBezTo>
                  <a:cubicBezTo>
                    <a:pt x="281" y="249"/>
                    <a:pt x="283" y="248"/>
                    <a:pt x="285" y="245"/>
                  </a:cubicBezTo>
                  <a:cubicBezTo>
                    <a:pt x="285" y="244"/>
                    <a:pt x="285" y="244"/>
                    <a:pt x="285" y="244"/>
                  </a:cubicBezTo>
                  <a:cubicBezTo>
                    <a:pt x="285" y="243"/>
                    <a:pt x="285" y="242"/>
                    <a:pt x="285" y="241"/>
                  </a:cubicBezTo>
                  <a:cubicBezTo>
                    <a:pt x="286" y="234"/>
                    <a:pt x="286" y="227"/>
                    <a:pt x="286" y="220"/>
                  </a:cubicBezTo>
                  <a:cubicBezTo>
                    <a:pt x="286" y="213"/>
                    <a:pt x="285" y="207"/>
                    <a:pt x="284" y="200"/>
                  </a:cubicBezTo>
                  <a:cubicBezTo>
                    <a:pt x="285" y="200"/>
                    <a:pt x="286" y="199"/>
                    <a:pt x="287" y="199"/>
                  </a:cubicBezTo>
                  <a:cubicBezTo>
                    <a:pt x="288" y="199"/>
                    <a:pt x="289" y="199"/>
                    <a:pt x="290" y="199"/>
                  </a:cubicBezTo>
                  <a:cubicBezTo>
                    <a:pt x="291" y="202"/>
                    <a:pt x="291" y="206"/>
                    <a:pt x="293" y="210"/>
                  </a:cubicBezTo>
                  <a:cubicBezTo>
                    <a:pt x="295" y="215"/>
                    <a:pt x="302" y="219"/>
                    <a:pt x="308" y="216"/>
                  </a:cubicBezTo>
                  <a:cubicBezTo>
                    <a:pt x="309" y="216"/>
                    <a:pt x="309" y="216"/>
                    <a:pt x="310" y="217"/>
                  </a:cubicBezTo>
                  <a:cubicBezTo>
                    <a:pt x="321" y="219"/>
                    <a:pt x="325" y="207"/>
                    <a:pt x="325" y="198"/>
                  </a:cubicBezTo>
                  <a:cubicBezTo>
                    <a:pt x="325" y="193"/>
                    <a:pt x="325" y="187"/>
                    <a:pt x="325" y="181"/>
                  </a:cubicBezTo>
                  <a:cubicBezTo>
                    <a:pt x="325" y="176"/>
                    <a:pt x="326" y="170"/>
                    <a:pt x="327" y="164"/>
                  </a:cubicBezTo>
                  <a:cubicBezTo>
                    <a:pt x="327" y="158"/>
                    <a:pt x="326" y="153"/>
                    <a:pt x="323" y="148"/>
                  </a:cubicBezTo>
                  <a:cubicBezTo>
                    <a:pt x="321" y="145"/>
                    <a:pt x="317" y="143"/>
                    <a:pt x="313" y="142"/>
                  </a:cubicBezTo>
                  <a:cubicBezTo>
                    <a:pt x="309" y="141"/>
                    <a:pt x="305" y="141"/>
                    <a:pt x="301" y="142"/>
                  </a:cubicBezTo>
                  <a:cubicBezTo>
                    <a:pt x="301" y="142"/>
                    <a:pt x="300" y="143"/>
                    <a:pt x="300" y="143"/>
                  </a:cubicBezTo>
                  <a:cubicBezTo>
                    <a:pt x="298" y="142"/>
                    <a:pt x="296" y="143"/>
                    <a:pt x="295" y="144"/>
                  </a:cubicBezTo>
                  <a:cubicBezTo>
                    <a:pt x="293" y="148"/>
                    <a:pt x="292" y="153"/>
                    <a:pt x="292" y="157"/>
                  </a:cubicBezTo>
                  <a:cubicBezTo>
                    <a:pt x="289" y="157"/>
                    <a:pt x="287" y="157"/>
                    <a:pt x="284" y="157"/>
                  </a:cubicBezTo>
                  <a:cubicBezTo>
                    <a:pt x="282" y="157"/>
                    <a:pt x="280" y="157"/>
                    <a:pt x="277" y="157"/>
                  </a:cubicBezTo>
                  <a:cubicBezTo>
                    <a:pt x="276" y="157"/>
                    <a:pt x="274" y="157"/>
                    <a:pt x="272" y="157"/>
                  </a:cubicBezTo>
                  <a:cubicBezTo>
                    <a:pt x="270" y="154"/>
                    <a:pt x="269" y="151"/>
                    <a:pt x="267" y="148"/>
                  </a:cubicBezTo>
                  <a:cubicBezTo>
                    <a:pt x="263" y="142"/>
                    <a:pt x="258" y="136"/>
                    <a:pt x="252" y="130"/>
                  </a:cubicBezTo>
                  <a:cubicBezTo>
                    <a:pt x="247" y="124"/>
                    <a:pt x="242" y="118"/>
                    <a:pt x="236" y="113"/>
                  </a:cubicBezTo>
                  <a:cubicBezTo>
                    <a:pt x="231" y="109"/>
                    <a:pt x="224" y="105"/>
                    <a:pt x="218" y="102"/>
                  </a:cubicBezTo>
                  <a:cubicBezTo>
                    <a:pt x="212" y="99"/>
                    <a:pt x="204" y="96"/>
                    <a:pt x="197" y="96"/>
                  </a:cubicBezTo>
                  <a:cubicBezTo>
                    <a:pt x="193" y="94"/>
                    <a:pt x="188" y="93"/>
                    <a:pt x="184" y="93"/>
                  </a:cubicBezTo>
                  <a:cubicBezTo>
                    <a:pt x="179" y="92"/>
                    <a:pt x="174" y="92"/>
                    <a:pt x="169" y="92"/>
                  </a:cubicBezTo>
                  <a:cubicBezTo>
                    <a:pt x="169" y="89"/>
                    <a:pt x="169" y="87"/>
                    <a:pt x="169" y="85"/>
                  </a:cubicBezTo>
                  <a:cubicBezTo>
                    <a:pt x="168" y="77"/>
                    <a:pt x="166" y="70"/>
                    <a:pt x="164" y="63"/>
                  </a:cubicBezTo>
                  <a:cubicBezTo>
                    <a:pt x="162" y="53"/>
                    <a:pt x="158" y="42"/>
                    <a:pt x="152" y="33"/>
                  </a:cubicBezTo>
                  <a:cubicBezTo>
                    <a:pt x="146" y="26"/>
                    <a:pt x="135" y="17"/>
                    <a:pt x="125" y="17"/>
                  </a:cubicBezTo>
                  <a:cubicBezTo>
                    <a:pt x="123" y="11"/>
                    <a:pt x="119" y="5"/>
                    <a:pt x="113" y="3"/>
                  </a:cubicBezTo>
                  <a:cubicBezTo>
                    <a:pt x="107" y="0"/>
                    <a:pt x="98" y="0"/>
                    <a:pt x="94" y="6"/>
                  </a:cubicBezTo>
                  <a:cubicBezTo>
                    <a:pt x="87" y="10"/>
                    <a:pt x="81" y="17"/>
                    <a:pt x="80" y="26"/>
                  </a:cubicBezTo>
                  <a:cubicBezTo>
                    <a:pt x="79" y="40"/>
                    <a:pt x="93" y="48"/>
                    <a:pt x="105" y="45"/>
                  </a:cubicBezTo>
                  <a:cubicBezTo>
                    <a:pt x="113" y="43"/>
                    <a:pt x="121" y="36"/>
                    <a:pt x="124" y="28"/>
                  </a:cubicBezTo>
                  <a:cubicBezTo>
                    <a:pt x="127" y="30"/>
                    <a:pt x="130" y="31"/>
                    <a:pt x="133" y="32"/>
                  </a:cubicBezTo>
                  <a:cubicBezTo>
                    <a:pt x="137" y="34"/>
                    <a:pt x="140" y="37"/>
                    <a:pt x="143" y="41"/>
                  </a:cubicBezTo>
                  <a:cubicBezTo>
                    <a:pt x="148" y="47"/>
                    <a:pt x="151" y="56"/>
                    <a:pt x="154" y="64"/>
                  </a:cubicBezTo>
                  <a:cubicBezTo>
                    <a:pt x="155" y="70"/>
                    <a:pt x="157" y="75"/>
                    <a:pt x="158" y="81"/>
                  </a:cubicBezTo>
                  <a:cubicBezTo>
                    <a:pt x="159" y="84"/>
                    <a:pt x="159" y="87"/>
                    <a:pt x="159" y="90"/>
                  </a:cubicBezTo>
                  <a:cubicBezTo>
                    <a:pt x="159" y="91"/>
                    <a:pt x="159" y="91"/>
                    <a:pt x="160" y="92"/>
                  </a:cubicBezTo>
                  <a:cubicBezTo>
                    <a:pt x="153" y="92"/>
                    <a:pt x="146" y="93"/>
                    <a:pt x="140" y="94"/>
                  </a:cubicBezTo>
                  <a:cubicBezTo>
                    <a:pt x="123" y="97"/>
                    <a:pt x="108" y="104"/>
                    <a:pt x="94" y="113"/>
                  </a:cubicBezTo>
                  <a:cubicBezTo>
                    <a:pt x="79" y="123"/>
                    <a:pt x="68" y="136"/>
                    <a:pt x="60" y="152"/>
                  </a:cubicBezTo>
                  <a:cubicBezTo>
                    <a:pt x="59" y="155"/>
                    <a:pt x="58" y="159"/>
                    <a:pt x="57" y="162"/>
                  </a:cubicBezTo>
                  <a:cubicBezTo>
                    <a:pt x="56" y="162"/>
                    <a:pt x="55" y="162"/>
                    <a:pt x="55" y="162"/>
                  </a:cubicBezTo>
                  <a:cubicBezTo>
                    <a:pt x="50" y="161"/>
                    <a:pt x="45" y="162"/>
                    <a:pt x="40" y="163"/>
                  </a:cubicBezTo>
                  <a:cubicBezTo>
                    <a:pt x="40" y="152"/>
                    <a:pt x="33" y="142"/>
                    <a:pt x="22" y="141"/>
                  </a:cubicBezTo>
                  <a:cubicBezTo>
                    <a:pt x="18" y="140"/>
                    <a:pt x="13" y="140"/>
                    <a:pt x="9" y="143"/>
                  </a:cubicBezTo>
                  <a:cubicBezTo>
                    <a:pt x="7" y="145"/>
                    <a:pt x="5" y="147"/>
                    <a:pt x="5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3" y="153"/>
                    <a:pt x="2" y="156"/>
                    <a:pt x="2" y="159"/>
                  </a:cubicBezTo>
                  <a:cubicBezTo>
                    <a:pt x="2" y="162"/>
                    <a:pt x="1" y="166"/>
                    <a:pt x="1" y="170"/>
                  </a:cubicBezTo>
                  <a:cubicBezTo>
                    <a:pt x="0" y="177"/>
                    <a:pt x="0" y="184"/>
                    <a:pt x="0" y="191"/>
                  </a:cubicBezTo>
                  <a:cubicBezTo>
                    <a:pt x="0" y="197"/>
                    <a:pt x="1" y="203"/>
                    <a:pt x="1" y="209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4"/>
                    <a:pt x="103" y="34"/>
                  </a:cubicBezTo>
                  <a:cubicBezTo>
                    <a:pt x="97" y="36"/>
                    <a:pt x="90" y="32"/>
                    <a:pt x="91" y="25"/>
                  </a:cubicBezTo>
                  <a:cubicBezTo>
                    <a:pt x="91" y="21"/>
                    <a:pt x="93" y="16"/>
                    <a:pt x="97" y="13"/>
                  </a:cubicBezTo>
                  <a:cubicBezTo>
                    <a:pt x="100" y="14"/>
                    <a:pt x="104" y="13"/>
                    <a:pt x="107" y="14"/>
                  </a:cubicBezTo>
                  <a:cubicBezTo>
                    <a:pt x="110" y="15"/>
                    <a:pt x="113" y="18"/>
                    <a:pt x="113" y="20"/>
                  </a:cubicBezTo>
                  <a:cubicBezTo>
                    <a:pt x="114" y="26"/>
                    <a:pt x="108" y="32"/>
                    <a:pt x="103" y="34"/>
                  </a:cubicBezTo>
                  <a:close/>
                  <a:moveTo>
                    <a:pt x="305" y="204"/>
                  </a:moveTo>
                  <a:cubicBezTo>
                    <a:pt x="305" y="204"/>
                    <a:pt x="305" y="204"/>
                    <a:pt x="305" y="204"/>
                  </a:cubicBezTo>
                  <a:cubicBezTo>
                    <a:pt x="305" y="204"/>
                    <a:pt x="305" y="204"/>
                    <a:pt x="305" y="204"/>
                  </a:cubicBezTo>
                  <a:cubicBezTo>
                    <a:pt x="305" y="204"/>
                    <a:pt x="305" y="204"/>
                    <a:pt x="305" y="204"/>
                  </a:cubicBezTo>
                  <a:close/>
                  <a:moveTo>
                    <a:pt x="312" y="155"/>
                  </a:move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lose/>
                  <a:moveTo>
                    <a:pt x="304" y="152"/>
                  </a:moveTo>
                  <a:cubicBezTo>
                    <a:pt x="304" y="152"/>
                    <a:pt x="304" y="152"/>
                    <a:pt x="304" y="152"/>
                  </a:cubicBezTo>
                  <a:cubicBezTo>
                    <a:pt x="305" y="152"/>
                    <a:pt x="305" y="152"/>
                    <a:pt x="305" y="152"/>
                  </a:cubicBezTo>
                  <a:cubicBezTo>
                    <a:pt x="305" y="152"/>
                    <a:pt x="305" y="152"/>
                    <a:pt x="305" y="152"/>
                  </a:cubicBezTo>
                  <a:cubicBezTo>
                    <a:pt x="308" y="153"/>
                    <a:pt x="309" y="153"/>
                    <a:pt x="311" y="154"/>
                  </a:cubicBezTo>
                  <a:cubicBezTo>
                    <a:pt x="312" y="154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2" y="155"/>
                    <a:pt x="312" y="155"/>
                    <a:pt x="312" y="155"/>
                  </a:cubicBezTo>
                  <a:cubicBezTo>
                    <a:pt x="313" y="156"/>
                    <a:pt x="313" y="158"/>
                    <a:pt x="313" y="159"/>
                  </a:cubicBezTo>
                  <a:cubicBezTo>
                    <a:pt x="314" y="162"/>
                    <a:pt x="313" y="166"/>
                    <a:pt x="313" y="169"/>
                  </a:cubicBezTo>
                  <a:cubicBezTo>
                    <a:pt x="311" y="178"/>
                    <a:pt x="312" y="187"/>
                    <a:pt x="312" y="196"/>
                  </a:cubicBezTo>
                  <a:cubicBezTo>
                    <a:pt x="312" y="199"/>
                    <a:pt x="311" y="201"/>
                    <a:pt x="311" y="203"/>
                  </a:cubicBezTo>
                  <a:cubicBezTo>
                    <a:pt x="311" y="203"/>
                    <a:pt x="311" y="204"/>
                    <a:pt x="311" y="204"/>
                  </a:cubicBezTo>
                  <a:cubicBezTo>
                    <a:pt x="311" y="203"/>
                    <a:pt x="310" y="205"/>
                    <a:pt x="311" y="204"/>
                  </a:cubicBezTo>
                  <a:cubicBezTo>
                    <a:pt x="310" y="205"/>
                    <a:pt x="310" y="205"/>
                    <a:pt x="310" y="205"/>
                  </a:cubicBezTo>
                  <a:cubicBezTo>
                    <a:pt x="309" y="204"/>
                    <a:pt x="307" y="203"/>
                    <a:pt x="305" y="203"/>
                  </a:cubicBezTo>
                  <a:cubicBezTo>
                    <a:pt x="305" y="203"/>
                    <a:pt x="305" y="203"/>
                    <a:pt x="305" y="203"/>
                  </a:cubicBezTo>
                  <a:cubicBezTo>
                    <a:pt x="304" y="202"/>
                    <a:pt x="304" y="201"/>
                    <a:pt x="304" y="201"/>
                  </a:cubicBezTo>
                  <a:cubicBezTo>
                    <a:pt x="304" y="200"/>
                    <a:pt x="304" y="200"/>
                    <a:pt x="304" y="200"/>
                  </a:cubicBezTo>
                  <a:cubicBezTo>
                    <a:pt x="304" y="200"/>
                    <a:pt x="304" y="199"/>
                    <a:pt x="304" y="199"/>
                  </a:cubicBezTo>
                  <a:cubicBezTo>
                    <a:pt x="304" y="198"/>
                    <a:pt x="304" y="196"/>
                    <a:pt x="304" y="195"/>
                  </a:cubicBezTo>
                  <a:cubicBezTo>
                    <a:pt x="303" y="193"/>
                    <a:pt x="304" y="191"/>
                    <a:pt x="304" y="189"/>
                  </a:cubicBezTo>
                  <a:cubicBezTo>
                    <a:pt x="304" y="183"/>
                    <a:pt x="304" y="177"/>
                    <a:pt x="304" y="170"/>
                  </a:cubicBezTo>
                  <a:cubicBezTo>
                    <a:pt x="304" y="166"/>
                    <a:pt x="304" y="161"/>
                    <a:pt x="304" y="157"/>
                  </a:cubicBezTo>
                  <a:cubicBezTo>
                    <a:pt x="304" y="155"/>
                    <a:pt x="304" y="154"/>
                    <a:pt x="304" y="152"/>
                  </a:cubicBezTo>
                  <a:cubicBezTo>
                    <a:pt x="304" y="152"/>
                    <a:pt x="304" y="152"/>
                    <a:pt x="304" y="152"/>
                  </a:cubicBezTo>
                  <a:close/>
                  <a:moveTo>
                    <a:pt x="283" y="168"/>
                  </a:moveTo>
                  <a:cubicBezTo>
                    <a:pt x="283" y="168"/>
                    <a:pt x="283" y="168"/>
                    <a:pt x="283" y="168"/>
                  </a:cubicBezTo>
                  <a:cubicBezTo>
                    <a:pt x="286" y="168"/>
                    <a:pt x="289" y="168"/>
                    <a:pt x="292" y="168"/>
                  </a:cubicBezTo>
                  <a:cubicBezTo>
                    <a:pt x="291" y="170"/>
                    <a:pt x="291" y="172"/>
                    <a:pt x="291" y="174"/>
                  </a:cubicBezTo>
                  <a:cubicBezTo>
                    <a:pt x="291" y="179"/>
                    <a:pt x="291" y="183"/>
                    <a:pt x="290" y="188"/>
                  </a:cubicBezTo>
                  <a:cubicBezTo>
                    <a:pt x="289" y="188"/>
                    <a:pt x="287" y="188"/>
                    <a:pt x="285" y="188"/>
                  </a:cubicBezTo>
                  <a:cubicBezTo>
                    <a:pt x="284" y="188"/>
                    <a:pt x="283" y="188"/>
                    <a:pt x="281" y="188"/>
                  </a:cubicBezTo>
                  <a:cubicBezTo>
                    <a:pt x="280" y="181"/>
                    <a:pt x="278" y="174"/>
                    <a:pt x="276" y="167"/>
                  </a:cubicBezTo>
                  <a:cubicBezTo>
                    <a:pt x="278" y="167"/>
                    <a:pt x="281" y="168"/>
                    <a:pt x="283" y="168"/>
                  </a:cubicBezTo>
                  <a:close/>
                  <a:moveTo>
                    <a:pt x="84" y="137"/>
                  </a:moveTo>
                  <a:cubicBezTo>
                    <a:pt x="84" y="137"/>
                    <a:pt x="84" y="137"/>
                    <a:pt x="84" y="137"/>
                  </a:cubicBezTo>
                  <a:cubicBezTo>
                    <a:pt x="106" y="111"/>
                    <a:pt x="142" y="102"/>
                    <a:pt x="176" y="103"/>
                  </a:cubicBezTo>
                  <a:cubicBezTo>
                    <a:pt x="182" y="103"/>
                    <a:pt x="189" y="104"/>
                    <a:pt x="195" y="103"/>
                  </a:cubicBezTo>
                  <a:cubicBezTo>
                    <a:pt x="199" y="107"/>
                    <a:pt x="205" y="109"/>
                    <a:pt x="210" y="112"/>
                  </a:cubicBezTo>
                  <a:cubicBezTo>
                    <a:pt x="216" y="115"/>
                    <a:pt x="222" y="119"/>
                    <a:pt x="227" y="123"/>
                  </a:cubicBezTo>
                  <a:cubicBezTo>
                    <a:pt x="232" y="128"/>
                    <a:pt x="237" y="133"/>
                    <a:pt x="242" y="138"/>
                  </a:cubicBezTo>
                  <a:cubicBezTo>
                    <a:pt x="247" y="144"/>
                    <a:pt x="251" y="149"/>
                    <a:pt x="255" y="155"/>
                  </a:cubicBezTo>
                  <a:cubicBezTo>
                    <a:pt x="264" y="168"/>
                    <a:pt x="266" y="182"/>
                    <a:pt x="269" y="197"/>
                  </a:cubicBezTo>
                  <a:cubicBezTo>
                    <a:pt x="271" y="204"/>
                    <a:pt x="272" y="212"/>
                    <a:pt x="272" y="220"/>
                  </a:cubicBezTo>
                  <a:cubicBezTo>
                    <a:pt x="272" y="225"/>
                    <a:pt x="272" y="231"/>
                    <a:pt x="272" y="236"/>
                  </a:cubicBezTo>
                  <a:cubicBezTo>
                    <a:pt x="269" y="236"/>
                    <a:pt x="266" y="236"/>
                    <a:pt x="262" y="237"/>
                  </a:cubicBezTo>
                  <a:cubicBezTo>
                    <a:pt x="258" y="237"/>
                    <a:pt x="253" y="237"/>
                    <a:pt x="248" y="237"/>
                  </a:cubicBezTo>
                  <a:cubicBezTo>
                    <a:pt x="239" y="238"/>
                    <a:pt x="230" y="238"/>
                    <a:pt x="221" y="239"/>
                  </a:cubicBezTo>
                  <a:cubicBezTo>
                    <a:pt x="202" y="240"/>
                    <a:pt x="183" y="240"/>
                    <a:pt x="164" y="240"/>
                  </a:cubicBezTo>
                  <a:cubicBezTo>
                    <a:pt x="155" y="241"/>
                    <a:pt x="146" y="242"/>
                    <a:pt x="136" y="242"/>
                  </a:cubicBezTo>
                  <a:cubicBezTo>
                    <a:pt x="127" y="242"/>
                    <a:pt x="118" y="242"/>
                    <a:pt x="109" y="241"/>
                  </a:cubicBezTo>
                  <a:cubicBezTo>
                    <a:pt x="99" y="241"/>
                    <a:pt x="90" y="242"/>
                    <a:pt x="81" y="242"/>
                  </a:cubicBezTo>
                  <a:cubicBezTo>
                    <a:pt x="76" y="242"/>
                    <a:pt x="72" y="242"/>
                    <a:pt x="67" y="243"/>
                  </a:cubicBezTo>
                  <a:cubicBezTo>
                    <a:pt x="65" y="243"/>
                    <a:pt x="62" y="243"/>
                    <a:pt x="60" y="243"/>
                  </a:cubicBezTo>
                  <a:cubicBezTo>
                    <a:pt x="60" y="234"/>
                    <a:pt x="60" y="225"/>
                    <a:pt x="60" y="216"/>
                  </a:cubicBezTo>
                  <a:cubicBezTo>
                    <a:pt x="60" y="211"/>
                    <a:pt x="60" y="207"/>
                    <a:pt x="60" y="203"/>
                  </a:cubicBezTo>
                  <a:cubicBezTo>
                    <a:pt x="61" y="201"/>
                    <a:pt x="61" y="199"/>
                    <a:pt x="61" y="198"/>
                  </a:cubicBezTo>
                  <a:cubicBezTo>
                    <a:pt x="61" y="194"/>
                    <a:pt x="61" y="190"/>
                    <a:pt x="62" y="187"/>
                  </a:cubicBezTo>
                  <a:cubicBezTo>
                    <a:pt x="65" y="169"/>
                    <a:pt x="72" y="151"/>
                    <a:pt x="84" y="137"/>
                  </a:cubicBezTo>
                  <a:close/>
                  <a:moveTo>
                    <a:pt x="53" y="173"/>
                  </a:moveTo>
                  <a:cubicBezTo>
                    <a:pt x="53" y="173"/>
                    <a:pt x="53" y="173"/>
                    <a:pt x="53" y="173"/>
                  </a:cubicBezTo>
                  <a:cubicBezTo>
                    <a:pt x="51" y="180"/>
                    <a:pt x="50" y="186"/>
                    <a:pt x="50" y="193"/>
                  </a:cubicBezTo>
                  <a:cubicBezTo>
                    <a:pt x="47" y="193"/>
                    <a:pt x="45" y="193"/>
                    <a:pt x="43" y="194"/>
                  </a:cubicBezTo>
                  <a:cubicBezTo>
                    <a:pt x="42" y="194"/>
                    <a:pt x="40" y="194"/>
                    <a:pt x="37" y="195"/>
                  </a:cubicBezTo>
                  <a:cubicBezTo>
                    <a:pt x="38" y="191"/>
                    <a:pt x="38" y="187"/>
                    <a:pt x="38" y="183"/>
                  </a:cubicBezTo>
                  <a:cubicBezTo>
                    <a:pt x="39" y="179"/>
                    <a:pt x="39" y="176"/>
                    <a:pt x="40" y="172"/>
                  </a:cubicBezTo>
                  <a:cubicBezTo>
                    <a:pt x="44" y="173"/>
                    <a:pt x="49" y="173"/>
                    <a:pt x="53" y="173"/>
                  </a:cubicBezTo>
                  <a:close/>
                  <a:moveTo>
                    <a:pt x="17" y="152"/>
                  </a:moveTo>
                  <a:cubicBezTo>
                    <a:pt x="17" y="152"/>
                    <a:pt x="17" y="152"/>
                    <a:pt x="17" y="152"/>
                  </a:cubicBezTo>
                  <a:cubicBezTo>
                    <a:pt x="17" y="152"/>
                    <a:pt x="18" y="152"/>
                    <a:pt x="18" y="152"/>
                  </a:cubicBezTo>
                  <a:cubicBezTo>
                    <a:pt x="18" y="152"/>
                    <a:pt x="18" y="152"/>
                    <a:pt x="18" y="153"/>
                  </a:cubicBezTo>
                  <a:cubicBezTo>
                    <a:pt x="19" y="153"/>
                    <a:pt x="20" y="153"/>
                    <a:pt x="21" y="153"/>
                  </a:cubicBezTo>
                  <a:cubicBezTo>
                    <a:pt x="22" y="154"/>
                    <a:pt x="22" y="154"/>
                    <a:pt x="24" y="155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4" y="155"/>
                    <a:pt x="25" y="156"/>
                    <a:pt x="25" y="156"/>
                  </a:cubicBezTo>
                  <a:cubicBezTo>
                    <a:pt x="27" y="159"/>
                    <a:pt x="27" y="165"/>
                    <a:pt x="27" y="168"/>
                  </a:cubicBezTo>
                  <a:cubicBezTo>
                    <a:pt x="26" y="173"/>
                    <a:pt x="25" y="178"/>
                    <a:pt x="25" y="183"/>
                  </a:cubicBezTo>
                  <a:cubicBezTo>
                    <a:pt x="24" y="188"/>
                    <a:pt x="24" y="194"/>
                    <a:pt x="23" y="200"/>
                  </a:cubicBezTo>
                  <a:cubicBezTo>
                    <a:pt x="23" y="202"/>
                    <a:pt x="23" y="204"/>
                    <a:pt x="22" y="207"/>
                  </a:cubicBezTo>
                  <a:cubicBezTo>
                    <a:pt x="22" y="208"/>
                    <a:pt x="21" y="209"/>
                    <a:pt x="20" y="210"/>
                  </a:cubicBezTo>
                  <a:cubicBezTo>
                    <a:pt x="20" y="210"/>
                    <a:pt x="20" y="210"/>
                    <a:pt x="20" y="210"/>
                  </a:cubicBezTo>
                  <a:cubicBezTo>
                    <a:pt x="20" y="210"/>
                    <a:pt x="20" y="210"/>
                    <a:pt x="19" y="210"/>
                  </a:cubicBezTo>
                  <a:cubicBezTo>
                    <a:pt x="19" y="211"/>
                    <a:pt x="19" y="211"/>
                    <a:pt x="17" y="211"/>
                  </a:cubicBezTo>
                  <a:cubicBezTo>
                    <a:pt x="16" y="211"/>
                    <a:pt x="15" y="212"/>
                    <a:pt x="14" y="212"/>
                  </a:cubicBezTo>
                  <a:cubicBezTo>
                    <a:pt x="14" y="212"/>
                    <a:pt x="14" y="211"/>
                    <a:pt x="14" y="211"/>
                  </a:cubicBezTo>
                  <a:cubicBezTo>
                    <a:pt x="14" y="211"/>
                    <a:pt x="14" y="210"/>
                    <a:pt x="13" y="209"/>
                  </a:cubicBezTo>
                  <a:cubicBezTo>
                    <a:pt x="13" y="207"/>
                    <a:pt x="13" y="205"/>
                    <a:pt x="13" y="202"/>
                  </a:cubicBezTo>
                  <a:cubicBezTo>
                    <a:pt x="13" y="197"/>
                    <a:pt x="12" y="191"/>
                    <a:pt x="12" y="186"/>
                  </a:cubicBezTo>
                  <a:cubicBezTo>
                    <a:pt x="12" y="180"/>
                    <a:pt x="13" y="174"/>
                    <a:pt x="13" y="168"/>
                  </a:cubicBezTo>
                  <a:cubicBezTo>
                    <a:pt x="12" y="164"/>
                    <a:pt x="13" y="159"/>
                    <a:pt x="12" y="154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13" y="153"/>
                    <a:pt x="13" y="153"/>
                    <a:pt x="14" y="153"/>
                  </a:cubicBezTo>
                  <a:cubicBezTo>
                    <a:pt x="15" y="152"/>
                    <a:pt x="16" y="152"/>
                    <a:pt x="17" y="15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îṧḻïḓê"/>
            <p:cNvSpPr/>
            <p:nvPr/>
          </p:nvSpPr>
          <p:spPr bwMode="auto">
            <a:xfrm>
              <a:off x="5420404" y="3401730"/>
              <a:ext cx="1063678" cy="335364"/>
            </a:xfrm>
            <a:custGeom>
              <a:avLst/>
              <a:gdLst>
                <a:gd name="T0" fmla="*/ 1 w 151"/>
                <a:gd name="T1" fmla="*/ 42 h 48"/>
                <a:gd name="T2" fmla="*/ 10 w 151"/>
                <a:gd name="T3" fmla="*/ 46 h 48"/>
                <a:gd name="T4" fmla="*/ 38 w 151"/>
                <a:gd name="T5" fmla="*/ 46 h 48"/>
                <a:gd name="T6" fmla="*/ 76 w 151"/>
                <a:gd name="T7" fmla="*/ 48 h 48"/>
                <a:gd name="T8" fmla="*/ 113 w 151"/>
                <a:gd name="T9" fmla="*/ 46 h 48"/>
                <a:gd name="T10" fmla="*/ 149 w 151"/>
                <a:gd name="T11" fmla="*/ 43 h 48"/>
                <a:gd name="T12" fmla="*/ 151 w 151"/>
                <a:gd name="T13" fmla="*/ 33 h 48"/>
                <a:gd name="T14" fmla="*/ 150 w 151"/>
                <a:gd name="T15" fmla="*/ 13 h 48"/>
                <a:gd name="T16" fmla="*/ 148 w 151"/>
                <a:gd name="T17" fmla="*/ 4 h 48"/>
                <a:gd name="T18" fmla="*/ 117 w 151"/>
                <a:gd name="T19" fmla="*/ 1 h 48"/>
                <a:gd name="T20" fmla="*/ 78 w 151"/>
                <a:gd name="T21" fmla="*/ 2 h 48"/>
                <a:gd name="T22" fmla="*/ 21 w 151"/>
                <a:gd name="T23" fmla="*/ 2 h 48"/>
                <a:gd name="T24" fmla="*/ 3 w 151"/>
                <a:gd name="T25" fmla="*/ 4 h 48"/>
                <a:gd name="T26" fmla="*/ 1 w 151"/>
                <a:gd name="T27" fmla="*/ 7 h 48"/>
                <a:gd name="T28" fmla="*/ 0 w 151"/>
                <a:gd name="T29" fmla="*/ 28 h 48"/>
                <a:gd name="T30" fmla="*/ 1 w 151"/>
                <a:gd name="T31" fmla="*/ 42 h 48"/>
                <a:gd name="T32" fmla="*/ 102 w 151"/>
                <a:gd name="T33" fmla="*/ 37 h 48"/>
                <a:gd name="T34" fmla="*/ 101 w 151"/>
                <a:gd name="T35" fmla="*/ 25 h 48"/>
                <a:gd name="T36" fmla="*/ 110 w 151"/>
                <a:gd name="T37" fmla="*/ 8 h 48"/>
                <a:gd name="T38" fmla="*/ 111 w 151"/>
                <a:gd name="T39" fmla="*/ 37 h 48"/>
                <a:gd name="T40" fmla="*/ 142 w 151"/>
                <a:gd name="T41" fmla="*/ 9 h 48"/>
                <a:gd name="T42" fmla="*/ 142 w 151"/>
                <a:gd name="T43" fmla="*/ 15 h 48"/>
                <a:gd name="T44" fmla="*/ 144 w 151"/>
                <a:gd name="T45" fmla="*/ 32 h 48"/>
                <a:gd name="T46" fmla="*/ 130 w 151"/>
                <a:gd name="T47" fmla="*/ 38 h 48"/>
                <a:gd name="T48" fmla="*/ 129 w 151"/>
                <a:gd name="T49" fmla="*/ 36 h 48"/>
                <a:gd name="T50" fmla="*/ 129 w 151"/>
                <a:gd name="T51" fmla="*/ 9 h 48"/>
                <a:gd name="T52" fmla="*/ 125 w 151"/>
                <a:gd name="T53" fmla="*/ 9 h 48"/>
                <a:gd name="T54" fmla="*/ 124 w 151"/>
                <a:gd name="T55" fmla="*/ 27 h 48"/>
                <a:gd name="T56" fmla="*/ 124 w 151"/>
                <a:gd name="T57" fmla="*/ 38 h 48"/>
                <a:gd name="T58" fmla="*/ 116 w 151"/>
                <a:gd name="T59" fmla="*/ 23 h 48"/>
                <a:gd name="T60" fmla="*/ 125 w 151"/>
                <a:gd name="T61" fmla="*/ 9 h 48"/>
                <a:gd name="T62" fmla="*/ 96 w 151"/>
                <a:gd name="T63" fmla="*/ 8 h 48"/>
                <a:gd name="T64" fmla="*/ 96 w 151"/>
                <a:gd name="T65" fmla="*/ 38 h 48"/>
                <a:gd name="T66" fmla="*/ 81 w 151"/>
                <a:gd name="T67" fmla="*/ 39 h 48"/>
                <a:gd name="T68" fmla="*/ 81 w 151"/>
                <a:gd name="T69" fmla="*/ 26 h 48"/>
                <a:gd name="T70" fmla="*/ 82 w 151"/>
                <a:gd name="T71" fmla="*/ 9 h 48"/>
                <a:gd name="T72" fmla="*/ 96 w 151"/>
                <a:gd name="T73" fmla="*/ 8 h 48"/>
                <a:gd name="T74" fmla="*/ 72 w 151"/>
                <a:gd name="T75" fmla="*/ 10 h 48"/>
                <a:gd name="T76" fmla="*/ 77 w 151"/>
                <a:gd name="T77" fmla="*/ 14 h 48"/>
                <a:gd name="T78" fmla="*/ 76 w 151"/>
                <a:gd name="T79" fmla="*/ 36 h 48"/>
                <a:gd name="T80" fmla="*/ 75 w 151"/>
                <a:gd name="T81" fmla="*/ 39 h 48"/>
                <a:gd name="T82" fmla="*/ 63 w 151"/>
                <a:gd name="T83" fmla="*/ 32 h 48"/>
                <a:gd name="T84" fmla="*/ 61 w 151"/>
                <a:gd name="T85" fmla="*/ 9 h 48"/>
                <a:gd name="T86" fmla="*/ 57 w 151"/>
                <a:gd name="T87" fmla="*/ 9 h 48"/>
                <a:gd name="T88" fmla="*/ 57 w 151"/>
                <a:gd name="T89" fmla="*/ 22 h 48"/>
                <a:gd name="T90" fmla="*/ 58 w 151"/>
                <a:gd name="T91" fmla="*/ 37 h 48"/>
                <a:gd name="T92" fmla="*/ 40 w 151"/>
                <a:gd name="T93" fmla="*/ 37 h 48"/>
                <a:gd name="T94" fmla="*/ 41 w 151"/>
                <a:gd name="T95" fmla="*/ 31 h 48"/>
                <a:gd name="T96" fmla="*/ 41 w 151"/>
                <a:gd name="T97" fmla="*/ 8 h 48"/>
                <a:gd name="T98" fmla="*/ 37 w 151"/>
                <a:gd name="T99" fmla="*/ 8 h 48"/>
                <a:gd name="T100" fmla="*/ 37 w 151"/>
                <a:gd name="T101" fmla="*/ 21 h 48"/>
                <a:gd name="T102" fmla="*/ 37 w 151"/>
                <a:gd name="T103" fmla="*/ 37 h 48"/>
                <a:gd name="T104" fmla="*/ 25 w 151"/>
                <a:gd name="T105" fmla="*/ 38 h 48"/>
                <a:gd name="T106" fmla="*/ 24 w 151"/>
                <a:gd name="T107" fmla="*/ 27 h 48"/>
                <a:gd name="T108" fmla="*/ 34 w 151"/>
                <a:gd name="T109" fmla="*/ 8 h 48"/>
                <a:gd name="T110" fmla="*/ 15 w 151"/>
                <a:gd name="T111" fmla="*/ 9 h 48"/>
                <a:gd name="T112" fmla="*/ 18 w 151"/>
                <a:gd name="T113" fmla="*/ 9 h 48"/>
                <a:gd name="T114" fmla="*/ 20 w 151"/>
                <a:gd name="T115" fmla="*/ 37 h 48"/>
                <a:gd name="T116" fmla="*/ 11 w 151"/>
                <a:gd name="T117" fmla="*/ 38 h 48"/>
                <a:gd name="T118" fmla="*/ 7 w 151"/>
                <a:gd name="T119" fmla="*/ 37 h 48"/>
                <a:gd name="T120" fmla="*/ 7 w 151"/>
                <a:gd name="T121" fmla="*/ 18 h 48"/>
                <a:gd name="T122" fmla="*/ 6 w 151"/>
                <a:gd name="T123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" h="48">
                  <a:moveTo>
                    <a:pt x="1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" y="43"/>
                    <a:pt x="2" y="44"/>
                    <a:pt x="2" y="44"/>
                  </a:cubicBezTo>
                  <a:cubicBezTo>
                    <a:pt x="5" y="46"/>
                    <a:pt x="7" y="46"/>
                    <a:pt x="10" y="46"/>
                  </a:cubicBezTo>
                  <a:cubicBezTo>
                    <a:pt x="13" y="46"/>
                    <a:pt x="16" y="45"/>
                    <a:pt x="19" y="46"/>
                  </a:cubicBezTo>
                  <a:cubicBezTo>
                    <a:pt x="25" y="46"/>
                    <a:pt x="32" y="46"/>
                    <a:pt x="38" y="46"/>
                  </a:cubicBezTo>
                  <a:cubicBezTo>
                    <a:pt x="44" y="46"/>
                    <a:pt x="51" y="46"/>
                    <a:pt x="57" y="46"/>
                  </a:cubicBezTo>
                  <a:cubicBezTo>
                    <a:pt x="63" y="46"/>
                    <a:pt x="70" y="47"/>
                    <a:pt x="76" y="48"/>
                  </a:cubicBezTo>
                  <a:cubicBezTo>
                    <a:pt x="82" y="48"/>
                    <a:pt x="88" y="48"/>
                    <a:pt x="94" y="47"/>
                  </a:cubicBezTo>
                  <a:cubicBezTo>
                    <a:pt x="100" y="46"/>
                    <a:pt x="106" y="46"/>
                    <a:pt x="113" y="46"/>
                  </a:cubicBezTo>
                  <a:cubicBezTo>
                    <a:pt x="119" y="47"/>
                    <a:pt x="125" y="47"/>
                    <a:pt x="131" y="46"/>
                  </a:cubicBezTo>
                  <a:cubicBezTo>
                    <a:pt x="137" y="46"/>
                    <a:pt x="143" y="46"/>
                    <a:pt x="149" y="43"/>
                  </a:cubicBezTo>
                  <a:cubicBezTo>
                    <a:pt x="150" y="42"/>
                    <a:pt x="150" y="41"/>
                    <a:pt x="150" y="39"/>
                  </a:cubicBezTo>
                  <a:cubicBezTo>
                    <a:pt x="150" y="37"/>
                    <a:pt x="151" y="35"/>
                    <a:pt x="151" y="33"/>
                  </a:cubicBezTo>
                  <a:cubicBezTo>
                    <a:pt x="151" y="30"/>
                    <a:pt x="151" y="27"/>
                    <a:pt x="151" y="23"/>
                  </a:cubicBezTo>
                  <a:cubicBezTo>
                    <a:pt x="150" y="20"/>
                    <a:pt x="150" y="17"/>
                    <a:pt x="150" y="13"/>
                  </a:cubicBezTo>
                  <a:cubicBezTo>
                    <a:pt x="150" y="11"/>
                    <a:pt x="151" y="9"/>
                    <a:pt x="150" y="6"/>
                  </a:cubicBezTo>
                  <a:cubicBezTo>
                    <a:pt x="150" y="5"/>
                    <a:pt x="149" y="4"/>
                    <a:pt x="148" y="4"/>
                  </a:cubicBezTo>
                  <a:cubicBezTo>
                    <a:pt x="145" y="0"/>
                    <a:pt x="140" y="1"/>
                    <a:pt x="136" y="1"/>
                  </a:cubicBezTo>
                  <a:cubicBezTo>
                    <a:pt x="130" y="1"/>
                    <a:pt x="123" y="1"/>
                    <a:pt x="117" y="1"/>
                  </a:cubicBezTo>
                  <a:cubicBezTo>
                    <a:pt x="110" y="0"/>
                    <a:pt x="104" y="0"/>
                    <a:pt x="97" y="0"/>
                  </a:cubicBezTo>
                  <a:cubicBezTo>
                    <a:pt x="91" y="0"/>
                    <a:pt x="85" y="1"/>
                    <a:pt x="78" y="2"/>
                  </a:cubicBezTo>
                  <a:cubicBezTo>
                    <a:pt x="66" y="3"/>
                    <a:pt x="53" y="2"/>
                    <a:pt x="41" y="1"/>
                  </a:cubicBezTo>
                  <a:cubicBezTo>
                    <a:pt x="34" y="1"/>
                    <a:pt x="28" y="2"/>
                    <a:pt x="21" y="2"/>
                  </a:cubicBezTo>
                  <a:cubicBezTo>
                    <a:pt x="18" y="2"/>
                    <a:pt x="14" y="3"/>
                    <a:pt x="11" y="3"/>
                  </a:cubicBezTo>
                  <a:cubicBezTo>
                    <a:pt x="8" y="4"/>
                    <a:pt x="6" y="3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ubicBezTo>
                    <a:pt x="2" y="5"/>
                    <a:pt x="1" y="6"/>
                    <a:pt x="1" y="7"/>
                  </a:cubicBezTo>
                  <a:cubicBezTo>
                    <a:pt x="1" y="10"/>
                    <a:pt x="1" y="13"/>
                    <a:pt x="0" y="17"/>
                  </a:cubicBezTo>
                  <a:cubicBezTo>
                    <a:pt x="0" y="20"/>
                    <a:pt x="0" y="24"/>
                    <a:pt x="0" y="28"/>
                  </a:cubicBezTo>
                  <a:cubicBezTo>
                    <a:pt x="0" y="31"/>
                    <a:pt x="0" y="35"/>
                    <a:pt x="0" y="38"/>
                  </a:cubicBezTo>
                  <a:cubicBezTo>
                    <a:pt x="0" y="40"/>
                    <a:pt x="0" y="41"/>
                    <a:pt x="1" y="42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1" y="36"/>
                    <a:pt x="101" y="34"/>
                    <a:pt x="101" y="33"/>
                  </a:cubicBezTo>
                  <a:cubicBezTo>
                    <a:pt x="101" y="30"/>
                    <a:pt x="101" y="27"/>
                    <a:pt x="101" y="25"/>
                  </a:cubicBezTo>
                  <a:cubicBezTo>
                    <a:pt x="101" y="19"/>
                    <a:pt x="100" y="14"/>
                    <a:pt x="99" y="8"/>
                  </a:cubicBezTo>
                  <a:cubicBezTo>
                    <a:pt x="103" y="8"/>
                    <a:pt x="106" y="8"/>
                    <a:pt x="110" y="8"/>
                  </a:cubicBezTo>
                  <a:cubicBezTo>
                    <a:pt x="111" y="14"/>
                    <a:pt x="111" y="19"/>
                    <a:pt x="111" y="25"/>
                  </a:cubicBezTo>
                  <a:cubicBezTo>
                    <a:pt x="111" y="29"/>
                    <a:pt x="110" y="33"/>
                    <a:pt x="111" y="37"/>
                  </a:cubicBezTo>
                  <a:cubicBezTo>
                    <a:pt x="108" y="37"/>
                    <a:pt x="105" y="37"/>
                    <a:pt x="102" y="37"/>
                  </a:cubicBezTo>
                  <a:close/>
                  <a:moveTo>
                    <a:pt x="142" y="9"/>
                  </a:moveTo>
                  <a:cubicBezTo>
                    <a:pt x="142" y="9"/>
                    <a:pt x="142" y="9"/>
                    <a:pt x="142" y="9"/>
                  </a:cubicBezTo>
                  <a:cubicBezTo>
                    <a:pt x="143" y="11"/>
                    <a:pt x="142" y="13"/>
                    <a:pt x="142" y="15"/>
                  </a:cubicBezTo>
                  <a:cubicBezTo>
                    <a:pt x="142" y="18"/>
                    <a:pt x="142" y="20"/>
                    <a:pt x="143" y="23"/>
                  </a:cubicBezTo>
                  <a:cubicBezTo>
                    <a:pt x="143" y="26"/>
                    <a:pt x="143" y="29"/>
                    <a:pt x="144" y="32"/>
                  </a:cubicBezTo>
                  <a:cubicBezTo>
                    <a:pt x="144" y="33"/>
                    <a:pt x="144" y="36"/>
                    <a:pt x="145" y="38"/>
                  </a:cubicBezTo>
                  <a:cubicBezTo>
                    <a:pt x="140" y="37"/>
                    <a:pt x="135" y="38"/>
                    <a:pt x="130" y="38"/>
                  </a:cubicBezTo>
                  <a:cubicBezTo>
                    <a:pt x="130" y="38"/>
                    <a:pt x="129" y="38"/>
                    <a:pt x="129" y="38"/>
                  </a:cubicBezTo>
                  <a:cubicBezTo>
                    <a:pt x="129" y="37"/>
                    <a:pt x="129" y="37"/>
                    <a:pt x="129" y="36"/>
                  </a:cubicBezTo>
                  <a:cubicBezTo>
                    <a:pt x="129" y="33"/>
                    <a:pt x="129" y="30"/>
                    <a:pt x="129" y="27"/>
                  </a:cubicBezTo>
                  <a:cubicBezTo>
                    <a:pt x="129" y="21"/>
                    <a:pt x="129" y="15"/>
                    <a:pt x="129" y="9"/>
                  </a:cubicBezTo>
                  <a:cubicBezTo>
                    <a:pt x="134" y="9"/>
                    <a:pt x="138" y="9"/>
                    <a:pt x="142" y="9"/>
                  </a:cubicBezTo>
                  <a:close/>
                  <a:moveTo>
                    <a:pt x="125" y="9"/>
                  </a:moveTo>
                  <a:cubicBezTo>
                    <a:pt x="125" y="9"/>
                    <a:pt x="125" y="9"/>
                    <a:pt x="125" y="9"/>
                  </a:cubicBezTo>
                  <a:cubicBezTo>
                    <a:pt x="125" y="15"/>
                    <a:pt x="124" y="21"/>
                    <a:pt x="124" y="27"/>
                  </a:cubicBezTo>
                  <a:cubicBezTo>
                    <a:pt x="124" y="30"/>
                    <a:pt x="124" y="33"/>
                    <a:pt x="124" y="36"/>
                  </a:cubicBezTo>
                  <a:cubicBezTo>
                    <a:pt x="124" y="37"/>
                    <a:pt x="124" y="37"/>
                    <a:pt x="124" y="38"/>
                  </a:cubicBezTo>
                  <a:cubicBezTo>
                    <a:pt x="121" y="38"/>
                    <a:pt x="118" y="38"/>
                    <a:pt x="116" y="37"/>
                  </a:cubicBezTo>
                  <a:cubicBezTo>
                    <a:pt x="116" y="32"/>
                    <a:pt x="116" y="28"/>
                    <a:pt x="116" y="23"/>
                  </a:cubicBezTo>
                  <a:cubicBezTo>
                    <a:pt x="116" y="18"/>
                    <a:pt x="116" y="13"/>
                    <a:pt x="113" y="9"/>
                  </a:cubicBezTo>
                  <a:cubicBezTo>
                    <a:pt x="117" y="9"/>
                    <a:pt x="121" y="9"/>
                    <a:pt x="125" y="9"/>
                  </a:cubicBezTo>
                  <a:close/>
                  <a:moveTo>
                    <a:pt x="96" y="8"/>
                  </a:moveTo>
                  <a:cubicBezTo>
                    <a:pt x="96" y="8"/>
                    <a:pt x="96" y="8"/>
                    <a:pt x="96" y="8"/>
                  </a:cubicBezTo>
                  <a:cubicBezTo>
                    <a:pt x="96" y="14"/>
                    <a:pt x="96" y="20"/>
                    <a:pt x="96" y="26"/>
                  </a:cubicBezTo>
                  <a:cubicBezTo>
                    <a:pt x="96" y="29"/>
                    <a:pt x="95" y="34"/>
                    <a:pt x="96" y="38"/>
                  </a:cubicBezTo>
                  <a:cubicBezTo>
                    <a:pt x="95" y="38"/>
                    <a:pt x="95" y="38"/>
                    <a:pt x="94" y="38"/>
                  </a:cubicBezTo>
                  <a:cubicBezTo>
                    <a:pt x="89" y="39"/>
                    <a:pt x="85" y="39"/>
                    <a:pt x="81" y="39"/>
                  </a:cubicBezTo>
                  <a:cubicBezTo>
                    <a:pt x="81" y="38"/>
                    <a:pt x="81" y="38"/>
                    <a:pt x="81" y="37"/>
                  </a:cubicBezTo>
                  <a:cubicBezTo>
                    <a:pt x="81" y="33"/>
                    <a:pt x="81" y="30"/>
                    <a:pt x="81" y="26"/>
                  </a:cubicBezTo>
                  <a:cubicBezTo>
                    <a:pt x="81" y="23"/>
                    <a:pt x="81" y="19"/>
                    <a:pt x="82" y="15"/>
                  </a:cubicBezTo>
                  <a:cubicBezTo>
                    <a:pt x="82" y="13"/>
                    <a:pt x="82" y="11"/>
                    <a:pt x="82" y="9"/>
                  </a:cubicBezTo>
                  <a:cubicBezTo>
                    <a:pt x="85" y="9"/>
                    <a:pt x="88" y="8"/>
                    <a:pt x="91" y="8"/>
                  </a:cubicBezTo>
                  <a:cubicBezTo>
                    <a:pt x="92" y="8"/>
                    <a:pt x="94" y="8"/>
                    <a:pt x="96" y="8"/>
                  </a:cubicBezTo>
                  <a:close/>
                  <a:moveTo>
                    <a:pt x="72" y="10"/>
                  </a:moveTo>
                  <a:cubicBezTo>
                    <a:pt x="72" y="10"/>
                    <a:pt x="72" y="10"/>
                    <a:pt x="72" y="10"/>
                  </a:cubicBezTo>
                  <a:cubicBezTo>
                    <a:pt x="74" y="10"/>
                    <a:pt x="75" y="10"/>
                    <a:pt x="77" y="10"/>
                  </a:cubicBezTo>
                  <a:cubicBezTo>
                    <a:pt x="77" y="11"/>
                    <a:pt x="77" y="13"/>
                    <a:pt x="77" y="14"/>
                  </a:cubicBezTo>
                  <a:cubicBezTo>
                    <a:pt x="77" y="18"/>
                    <a:pt x="77" y="21"/>
                    <a:pt x="76" y="25"/>
                  </a:cubicBezTo>
                  <a:cubicBezTo>
                    <a:pt x="76" y="28"/>
                    <a:pt x="76" y="32"/>
                    <a:pt x="76" y="36"/>
                  </a:cubicBezTo>
                  <a:cubicBezTo>
                    <a:pt x="76" y="37"/>
                    <a:pt x="76" y="38"/>
                    <a:pt x="76" y="39"/>
                  </a:cubicBezTo>
                  <a:cubicBezTo>
                    <a:pt x="76" y="39"/>
                    <a:pt x="75" y="39"/>
                    <a:pt x="75" y="39"/>
                  </a:cubicBezTo>
                  <a:cubicBezTo>
                    <a:pt x="71" y="38"/>
                    <a:pt x="67" y="38"/>
                    <a:pt x="63" y="38"/>
                  </a:cubicBezTo>
                  <a:cubicBezTo>
                    <a:pt x="63" y="36"/>
                    <a:pt x="63" y="34"/>
                    <a:pt x="63" y="32"/>
                  </a:cubicBezTo>
                  <a:cubicBezTo>
                    <a:pt x="62" y="28"/>
                    <a:pt x="62" y="24"/>
                    <a:pt x="62" y="20"/>
                  </a:cubicBezTo>
                  <a:cubicBezTo>
                    <a:pt x="62" y="16"/>
                    <a:pt x="62" y="13"/>
                    <a:pt x="61" y="9"/>
                  </a:cubicBezTo>
                  <a:cubicBezTo>
                    <a:pt x="65" y="10"/>
                    <a:pt x="68" y="10"/>
                    <a:pt x="72" y="10"/>
                  </a:cubicBezTo>
                  <a:close/>
                  <a:moveTo>
                    <a:pt x="57" y="9"/>
                  </a:moveTo>
                  <a:cubicBezTo>
                    <a:pt x="57" y="9"/>
                    <a:pt x="57" y="9"/>
                    <a:pt x="57" y="9"/>
                  </a:cubicBezTo>
                  <a:cubicBezTo>
                    <a:pt x="58" y="13"/>
                    <a:pt x="57" y="18"/>
                    <a:pt x="57" y="22"/>
                  </a:cubicBezTo>
                  <a:cubicBezTo>
                    <a:pt x="57" y="26"/>
                    <a:pt x="57" y="29"/>
                    <a:pt x="57" y="33"/>
                  </a:cubicBezTo>
                  <a:cubicBezTo>
                    <a:pt x="58" y="34"/>
                    <a:pt x="58" y="36"/>
                    <a:pt x="58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1" y="37"/>
                    <a:pt x="45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1" y="35"/>
                    <a:pt x="41" y="33"/>
                    <a:pt x="41" y="31"/>
                  </a:cubicBezTo>
                  <a:cubicBezTo>
                    <a:pt x="41" y="28"/>
                    <a:pt x="41" y="25"/>
                    <a:pt x="41" y="22"/>
                  </a:cubicBezTo>
                  <a:cubicBezTo>
                    <a:pt x="41" y="17"/>
                    <a:pt x="41" y="13"/>
                    <a:pt x="41" y="8"/>
                  </a:cubicBezTo>
                  <a:cubicBezTo>
                    <a:pt x="46" y="8"/>
                    <a:pt x="51" y="9"/>
                    <a:pt x="57" y="9"/>
                  </a:cubicBezTo>
                  <a:close/>
                  <a:moveTo>
                    <a:pt x="37" y="8"/>
                  </a:moveTo>
                  <a:cubicBezTo>
                    <a:pt x="37" y="8"/>
                    <a:pt x="37" y="8"/>
                    <a:pt x="37" y="8"/>
                  </a:cubicBezTo>
                  <a:cubicBezTo>
                    <a:pt x="36" y="12"/>
                    <a:pt x="37" y="16"/>
                    <a:pt x="37" y="21"/>
                  </a:cubicBezTo>
                  <a:cubicBezTo>
                    <a:pt x="36" y="24"/>
                    <a:pt x="37" y="27"/>
                    <a:pt x="37" y="30"/>
                  </a:cubicBezTo>
                  <a:cubicBezTo>
                    <a:pt x="37" y="32"/>
                    <a:pt x="36" y="35"/>
                    <a:pt x="37" y="37"/>
                  </a:cubicBezTo>
                  <a:cubicBezTo>
                    <a:pt x="38" y="37"/>
                    <a:pt x="38" y="37"/>
                    <a:pt x="38" y="38"/>
                  </a:cubicBezTo>
                  <a:cubicBezTo>
                    <a:pt x="33" y="38"/>
                    <a:pt x="29" y="38"/>
                    <a:pt x="25" y="38"/>
                  </a:cubicBezTo>
                  <a:cubicBezTo>
                    <a:pt x="24" y="37"/>
                    <a:pt x="24" y="36"/>
                    <a:pt x="24" y="35"/>
                  </a:cubicBezTo>
                  <a:cubicBezTo>
                    <a:pt x="24" y="32"/>
                    <a:pt x="24" y="30"/>
                    <a:pt x="24" y="27"/>
                  </a:cubicBezTo>
                  <a:cubicBezTo>
                    <a:pt x="23" y="21"/>
                    <a:pt x="22" y="15"/>
                    <a:pt x="22" y="9"/>
                  </a:cubicBezTo>
                  <a:cubicBezTo>
                    <a:pt x="26" y="8"/>
                    <a:pt x="30" y="8"/>
                    <a:pt x="34" y="8"/>
                  </a:cubicBezTo>
                  <a:cubicBezTo>
                    <a:pt x="35" y="8"/>
                    <a:pt x="36" y="8"/>
                    <a:pt x="37" y="8"/>
                  </a:cubicBezTo>
                  <a:close/>
                  <a:moveTo>
                    <a:pt x="15" y="9"/>
                  </a:move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7" y="9"/>
                    <a:pt x="18" y="9"/>
                  </a:cubicBezTo>
                  <a:cubicBezTo>
                    <a:pt x="18" y="15"/>
                    <a:pt x="19" y="21"/>
                    <a:pt x="19" y="27"/>
                  </a:cubicBezTo>
                  <a:cubicBezTo>
                    <a:pt x="19" y="30"/>
                    <a:pt x="19" y="33"/>
                    <a:pt x="20" y="37"/>
                  </a:cubicBezTo>
                  <a:cubicBezTo>
                    <a:pt x="20" y="37"/>
                    <a:pt x="20" y="37"/>
                    <a:pt x="20" y="38"/>
                  </a:cubicBezTo>
                  <a:cubicBezTo>
                    <a:pt x="17" y="38"/>
                    <a:pt x="14" y="38"/>
                    <a:pt x="11" y="38"/>
                  </a:cubicBezTo>
                  <a:cubicBezTo>
                    <a:pt x="10" y="38"/>
                    <a:pt x="9" y="39"/>
                    <a:pt x="7" y="39"/>
                  </a:cubicBezTo>
                  <a:cubicBezTo>
                    <a:pt x="8" y="38"/>
                    <a:pt x="8" y="38"/>
                    <a:pt x="7" y="37"/>
                  </a:cubicBezTo>
                  <a:cubicBezTo>
                    <a:pt x="7" y="34"/>
                    <a:pt x="8" y="31"/>
                    <a:pt x="7" y="28"/>
                  </a:cubicBezTo>
                  <a:cubicBezTo>
                    <a:pt x="7" y="25"/>
                    <a:pt x="7" y="21"/>
                    <a:pt x="7" y="18"/>
                  </a:cubicBezTo>
                  <a:cubicBezTo>
                    <a:pt x="6" y="15"/>
                    <a:pt x="6" y="12"/>
                    <a:pt x="5" y="8"/>
                  </a:cubicBezTo>
                  <a:cubicBezTo>
                    <a:pt x="5" y="8"/>
                    <a:pt x="5" y="8"/>
                    <a:pt x="6" y="9"/>
                  </a:cubicBezTo>
                  <a:cubicBezTo>
                    <a:pt x="9" y="9"/>
                    <a:pt x="12" y="9"/>
                    <a:pt x="15" y="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iṥľiḍe"/>
            <p:cNvSpPr/>
            <p:nvPr/>
          </p:nvSpPr>
          <p:spPr bwMode="auto">
            <a:xfrm>
              <a:off x="5518643" y="3120567"/>
              <a:ext cx="233739" cy="250676"/>
            </a:xfrm>
            <a:custGeom>
              <a:avLst/>
              <a:gdLst>
                <a:gd name="T0" fmla="*/ 30 w 33"/>
                <a:gd name="T1" fmla="*/ 11 h 36"/>
                <a:gd name="T2" fmla="*/ 17 w 33"/>
                <a:gd name="T3" fmla="*/ 1 h 36"/>
                <a:gd name="T4" fmla="*/ 11 w 33"/>
                <a:gd name="T5" fmla="*/ 2 h 36"/>
                <a:gd name="T6" fmla="*/ 2 w 33"/>
                <a:gd name="T7" fmla="*/ 8 h 36"/>
                <a:gd name="T8" fmla="*/ 3 w 33"/>
                <a:gd name="T9" fmla="*/ 23 h 36"/>
                <a:gd name="T10" fmla="*/ 30 w 33"/>
                <a:gd name="T11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6">
                  <a:moveTo>
                    <a:pt x="30" y="11"/>
                  </a:moveTo>
                  <a:cubicBezTo>
                    <a:pt x="29" y="5"/>
                    <a:pt x="23" y="0"/>
                    <a:pt x="17" y="1"/>
                  </a:cubicBezTo>
                  <a:cubicBezTo>
                    <a:pt x="15" y="1"/>
                    <a:pt x="12" y="1"/>
                    <a:pt x="11" y="2"/>
                  </a:cubicBezTo>
                  <a:cubicBezTo>
                    <a:pt x="7" y="3"/>
                    <a:pt x="4" y="5"/>
                    <a:pt x="2" y="8"/>
                  </a:cubicBezTo>
                  <a:cubicBezTo>
                    <a:pt x="0" y="12"/>
                    <a:pt x="0" y="18"/>
                    <a:pt x="3" y="23"/>
                  </a:cubicBezTo>
                  <a:cubicBezTo>
                    <a:pt x="11" y="36"/>
                    <a:pt x="33" y="26"/>
                    <a:pt x="30" y="1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îśḷiḍé"/>
            <p:cNvSpPr/>
            <p:nvPr/>
          </p:nvSpPr>
          <p:spPr bwMode="auto">
            <a:xfrm>
              <a:off x="6138556" y="3120567"/>
              <a:ext cx="240514" cy="210025"/>
            </a:xfrm>
            <a:custGeom>
              <a:avLst/>
              <a:gdLst>
                <a:gd name="T0" fmla="*/ 19 w 34"/>
                <a:gd name="T1" fmla="*/ 28 h 30"/>
                <a:gd name="T2" fmla="*/ 31 w 34"/>
                <a:gd name="T3" fmla="*/ 10 h 30"/>
                <a:gd name="T4" fmla="*/ 14 w 34"/>
                <a:gd name="T5" fmla="*/ 0 h 30"/>
                <a:gd name="T6" fmla="*/ 7 w 34"/>
                <a:gd name="T7" fmla="*/ 3 h 30"/>
                <a:gd name="T8" fmla="*/ 4 w 34"/>
                <a:gd name="T9" fmla="*/ 5 h 30"/>
                <a:gd name="T10" fmla="*/ 0 w 34"/>
                <a:gd name="T11" fmla="*/ 15 h 30"/>
                <a:gd name="T12" fmla="*/ 19 w 34"/>
                <a:gd name="T13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0">
                  <a:moveTo>
                    <a:pt x="19" y="28"/>
                  </a:moveTo>
                  <a:cubicBezTo>
                    <a:pt x="27" y="27"/>
                    <a:pt x="34" y="18"/>
                    <a:pt x="31" y="10"/>
                  </a:cubicBezTo>
                  <a:cubicBezTo>
                    <a:pt x="29" y="3"/>
                    <a:pt x="20" y="0"/>
                    <a:pt x="14" y="0"/>
                  </a:cubicBezTo>
                  <a:cubicBezTo>
                    <a:pt x="11" y="0"/>
                    <a:pt x="8" y="1"/>
                    <a:pt x="7" y="3"/>
                  </a:cubicBezTo>
                  <a:cubicBezTo>
                    <a:pt x="6" y="3"/>
                    <a:pt x="5" y="4"/>
                    <a:pt x="4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4"/>
                    <a:pt x="11" y="30"/>
                    <a:pt x="19" y="2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ïṥliḑè"/>
            <p:cNvSpPr/>
            <p:nvPr/>
          </p:nvSpPr>
          <p:spPr bwMode="auto">
            <a:xfrm>
              <a:off x="5335717" y="4041970"/>
              <a:ext cx="1294029" cy="596201"/>
            </a:xfrm>
            <a:custGeom>
              <a:avLst/>
              <a:gdLst>
                <a:gd name="T0" fmla="*/ 177 w 184"/>
                <a:gd name="T1" fmla="*/ 2 h 85"/>
                <a:gd name="T2" fmla="*/ 152 w 184"/>
                <a:gd name="T3" fmla="*/ 1 h 85"/>
                <a:gd name="T4" fmla="*/ 126 w 184"/>
                <a:gd name="T5" fmla="*/ 1 h 85"/>
                <a:gd name="T6" fmla="*/ 75 w 184"/>
                <a:gd name="T7" fmla="*/ 1 h 85"/>
                <a:gd name="T8" fmla="*/ 50 w 184"/>
                <a:gd name="T9" fmla="*/ 1 h 85"/>
                <a:gd name="T10" fmla="*/ 25 w 184"/>
                <a:gd name="T11" fmla="*/ 1 h 85"/>
                <a:gd name="T12" fmla="*/ 6 w 184"/>
                <a:gd name="T13" fmla="*/ 4 h 85"/>
                <a:gd name="T14" fmla="*/ 2 w 184"/>
                <a:gd name="T15" fmla="*/ 17 h 85"/>
                <a:gd name="T16" fmla="*/ 2 w 184"/>
                <a:gd name="T17" fmla="*/ 17 h 85"/>
                <a:gd name="T18" fmla="*/ 1 w 184"/>
                <a:gd name="T19" fmla="*/ 27 h 85"/>
                <a:gd name="T20" fmla="*/ 2 w 184"/>
                <a:gd name="T21" fmla="*/ 45 h 85"/>
                <a:gd name="T22" fmla="*/ 2 w 184"/>
                <a:gd name="T23" fmla="*/ 63 h 85"/>
                <a:gd name="T24" fmla="*/ 2 w 184"/>
                <a:gd name="T25" fmla="*/ 76 h 85"/>
                <a:gd name="T26" fmla="*/ 2 w 184"/>
                <a:gd name="T27" fmla="*/ 80 h 85"/>
                <a:gd name="T28" fmla="*/ 21 w 184"/>
                <a:gd name="T29" fmla="*/ 84 h 85"/>
                <a:gd name="T30" fmla="*/ 42 w 184"/>
                <a:gd name="T31" fmla="*/ 84 h 85"/>
                <a:gd name="T32" fmla="*/ 88 w 184"/>
                <a:gd name="T33" fmla="*/ 84 h 85"/>
                <a:gd name="T34" fmla="*/ 111 w 184"/>
                <a:gd name="T35" fmla="*/ 83 h 85"/>
                <a:gd name="T36" fmla="*/ 135 w 184"/>
                <a:gd name="T37" fmla="*/ 83 h 85"/>
                <a:gd name="T38" fmla="*/ 159 w 184"/>
                <a:gd name="T39" fmla="*/ 82 h 85"/>
                <a:gd name="T40" fmla="*/ 179 w 184"/>
                <a:gd name="T41" fmla="*/ 77 h 85"/>
                <a:gd name="T42" fmla="*/ 180 w 184"/>
                <a:gd name="T43" fmla="*/ 75 h 85"/>
                <a:gd name="T44" fmla="*/ 182 w 184"/>
                <a:gd name="T45" fmla="*/ 69 h 85"/>
                <a:gd name="T46" fmla="*/ 182 w 184"/>
                <a:gd name="T47" fmla="*/ 59 h 85"/>
                <a:gd name="T48" fmla="*/ 182 w 184"/>
                <a:gd name="T49" fmla="*/ 49 h 85"/>
                <a:gd name="T50" fmla="*/ 182 w 184"/>
                <a:gd name="T51" fmla="*/ 39 h 85"/>
                <a:gd name="T52" fmla="*/ 183 w 184"/>
                <a:gd name="T53" fmla="*/ 20 h 85"/>
                <a:gd name="T54" fmla="*/ 180 w 184"/>
                <a:gd name="T55" fmla="*/ 2 h 85"/>
                <a:gd name="T56" fmla="*/ 177 w 184"/>
                <a:gd name="T57" fmla="*/ 2 h 85"/>
                <a:gd name="T58" fmla="*/ 155 w 184"/>
                <a:gd name="T59" fmla="*/ 73 h 85"/>
                <a:gd name="T60" fmla="*/ 155 w 184"/>
                <a:gd name="T61" fmla="*/ 73 h 85"/>
                <a:gd name="T62" fmla="*/ 132 w 184"/>
                <a:gd name="T63" fmla="*/ 75 h 85"/>
                <a:gd name="T64" fmla="*/ 110 w 184"/>
                <a:gd name="T65" fmla="*/ 75 h 85"/>
                <a:gd name="T66" fmla="*/ 88 w 184"/>
                <a:gd name="T67" fmla="*/ 76 h 85"/>
                <a:gd name="T68" fmla="*/ 44 w 184"/>
                <a:gd name="T69" fmla="*/ 76 h 85"/>
                <a:gd name="T70" fmla="*/ 24 w 184"/>
                <a:gd name="T71" fmla="*/ 75 h 85"/>
                <a:gd name="T72" fmla="*/ 14 w 184"/>
                <a:gd name="T73" fmla="*/ 76 h 85"/>
                <a:gd name="T74" fmla="*/ 9 w 184"/>
                <a:gd name="T75" fmla="*/ 76 h 85"/>
                <a:gd name="T76" fmla="*/ 10 w 184"/>
                <a:gd name="T77" fmla="*/ 63 h 85"/>
                <a:gd name="T78" fmla="*/ 8 w 184"/>
                <a:gd name="T79" fmla="*/ 45 h 85"/>
                <a:gd name="T80" fmla="*/ 7 w 184"/>
                <a:gd name="T81" fmla="*/ 27 h 85"/>
                <a:gd name="T82" fmla="*/ 6 w 184"/>
                <a:gd name="T83" fmla="*/ 20 h 85"/>
                <a:gd name="T84" fmla="*/ 7 w 184"/>
                <a:gd name="T85" fmla="*/ 19 h 85"/>
                <a:gd name="T86" fmla="*/ 9 w 184"/>
                <a:gd name="T87" fmla="*/ 12 h 85"/>
                <a:gd name="T88" fmla="*/ 9 w 184"/>
                <a:gd name="T89" fmla="*/ 11 h 85"/>
                <a:gd name="T90" fmla="*/ 10 w 184"/>
                <a:gd name="T91" fmla="*/ 11 h 85"/>
                <a:gd name="T92" fmla="*/ 10 w 184"/>
                <a:gd name="T93" fmla="*/ 11 h 85"/>
                <a:gd name="T94" fmla="*/ 14 w 184"/>
                <a:gd name="T95" fmla="*/ 10 h 85"/>
                <a:gd name="T96" fmla="*/ 36 w 184"/>
                <a:gd name="T97" fmla="*/ 10 h 85"/>
                <a:gd name="T98" fmla="*/ 83 w 184"/>
                <a:gd name="T99" fmla="*/ 10 h 85"/>
                <a:gd name="T100" fmla="*/ 130 w 184"/>
                <a:gd name="T101" fmla="*/ 9 h 85"/>
                <a:gd name="T102" fmla="*/ 174 w 184"/>
                <a:gd name="T103" fmla="*/ 7 h 85"/>
                <a:gd name="T104" fmla="*/ 175 w 184"/>
                <a:gd name="T105" fmla="*/ 7 h 85"/>
                <a:gd name="T106" fmla="*/ 176 w 184"/>
                <a:gd name="T107" fmla="*/ 13 h 85"/>
                <a:gd name="T108" fmla="*/ 175 w 184"/>
                <a:gd name="T109" fmla="*/ 22 h 85"/>
                <a:gd name="T110" fmla="*/ 174 w 184"/>
                <a:gd name="T111" fmla="*/ 41 h 85"/>
                <a:gd name="T112" fmla="*/ 174 w 184"/>
                <a:gd name="T113" fmla="*/ 62 h 85"/>
                <a:gd name="T114" fmla="*/ 173 w 184"/>
                <a:gd name="T115" fmla="*/ 72 h 85"/>
                <a:gd name="T116" fmla="*/ 155 w 184"/>
                <a:gd name="T117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4" h="85">
                  <a:moveTo>
                    <a:pt x="177" y="2"/>
                  </a:moveTo>
                  <a:cubicBezTo>
                    <a:pt x="169" y="2"/>
                    <a:pt x="160" y="1"/>
                    <a:pt x="152" y="1"/>
                  </a:cubicBezTo>
                  <a:cubicBezTo>
                    <a:pt x="143" y="0"/>
                    <a:pt x="135" y="0"/>
                    <a:pt x="126" y="1"/>
                  </a:cubicBezTo>
                  <a:cubicBezTo>
                    <a:pt x="109" y="1"/>
                    <a:pt x="92" y="1"/>
                    <a:pt x="75" y="1"/>
                  </a:cubicBezTo>
                  <a:cubicBezTo>
                    <a:pt x="67" y="2"/>
                    <a:pt x="58" y="1"/>
                    <a:pt x="50" y="1"/>
                  </a:cubicBezTo>
                  <a:cubicBezTo>
                    <a:pt x="42" y="1"/>
                    <a:pt x="33" y="1"/>
                    <a:pt x="25" y="1"/>
                  </a:cubicBezTo>
                  <a:cubicBezTo>
                    <a:pt x="19" y="1"/>
                    <a:pt x="12" y="1"/>
                    <a:pt x="6" y="4"/>
                  </a:cubicBezTo>
                  <a:cubicBezTo>
                    <a:pt x="2" y="7"/>
                    <a:pt x="0" y="12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20"/>
                    <a:pt x="1" y="23"/>
                    <a:pt x="1" y="27"/>
                  </a:cubicBezTo>
                  <a:cubicBezTo>
                    <a:pt x="1" y="33"/>
                    <a:pt x="1" y="39"/>
                    <a:pt x="2" y="45"/>
                  </a:cubicBezTo>
                  <a:cubicBezTo>
                    <a:pt x="2" y="51"/>
                    <a:pt x="2" y="57"/>
                    <a:pt x="2" y="63"/>
                  </a:cubicBezTo>
                  <a:cubicBezTo>
                    <a:pt x="2" y="67"/>
                    <a:pt x="1" y="72"/>
                    <a:pt x="2" y="76"/>
                  </a:cubicBezTo>
                  <a:cubicBezTo>
                    <a:pt x="1" y="77"/>
                    <a:pt x="1" y="79"/>
                    <a:pt x="2" y="80"/>
                  </a:cubicBezTo>
                  <a:cubicBezTo>
                    <a:pt x="7" y="84"/>
                    <a:pt x="15" y="84"/>
                    <a:pt x="21" y="84"/>
                  </a:cubicBezTo>
                  <a:cubicBezTo>
                    <a:pt x="28" y="83"/>
                    <a:pt x="34" y="84"/>
                    <a:pt x="42" y="84"/>
                  </a:cubicBezTo>
                  <a:cubicBezTo>
                    <a:pt x="57" y="85"/>
                    <a:pt x="72" y="85"/>
                    <a:pt x="88" y="84"/>
                  </a:cubicBezTo>
                  <a:cubicBezTo>
                    <a:pt x="96" y="84"/>
                    <a:pt x="103" y="84"/>
                    <a:pt x="111" y="83"/>
                  </a:cubicBezTo>
                  <a:cubicBezTo>
                    <a:pt x="119" y="83"/>
                    <a:pt x="127" y="83"/>
                    <a:pt x="135" y="83"/>
                  </a:cubicBezTo>
                  <a:cubicBezTo>
                    <a:pt x="143" y="84"/>
                    <a:pt x="151" y="83"/>
                    <a:pt x="159" y="82"/>
                  </a:cubicBezTo>
                  <a:cubicBezTo>
                    <a:pt x="165" y="81"/>
                    <a:pt x="174" y="82"/>
                    <a:pt x="179" y="77"/>
                  </a:cubicBezTo>
                  <a:cubicBezTo>
                    <a:pt x="180" y="77"/>
                    <a:pt x="180" y="76"/>
                    <a:pt x="180" y="75"/>
                  </a:cubicBezTo>
                  <a:cubicBezTo>
                    <a:pt x="182" y="74"/>
                    <a:pt x="182" y="71"/>
                    <a:pt x="182" y="69"/>
                  </a:cubicBezTo>
                  <a:cubicBezTo>
                    <a:pt x="182" y="66"/>
                    <a:pt x="182" y="62"/>
                    <a:pt x="182" y="59"/>
                  </a:cubicBezTo>
                  <a:cubicBezTo>
                    <a:pt x="183" y="55"/>
                    <a:pt x="182" y="52"/>
                    <a:pt x="182" y="49"/>
                  </a:cubicBezTo>
                  <a:cubicBezTo>
                    <a:pt x="182" y="45"/>
                    <a:pt x="182" y="42"/>
                    <a:pt x="182" y="39"/>
                  </a:cubicBezTo>
                  <a:cubicBezTo>
                    <a:pt x="183" y="32"/>
                    <a:pt x="183" y="26"/>
                    <a:pt x="183" y="20"/>
                  </a:cubicBezTo>
                  <a:cubicBezTo>
                    <a:pt x="184" y="14"/>
                    <a:pt x="184" y="7"/>
                    <a:pt x="180" y="2"/>
                  </a:cubicBezTo>
                  <a:cubicBezTo>
                    <a:pt x="180" y="2"/>
                    <a:pt x="178" y="1"/>
                    <a:pt x="177" y="2"/>
                  </a:cubicBezTo>
                  <a:close/>
                  <a:moveTo>
                    <a:pt x="155" y="73"/>
                  </a:moveTo>
                  <a:cubicBezTo>
                    <a:pt x="155" y="73"/>
                    <a:pt x="155" y="73"/>
                    <a:pt x="155" y="73"/>
                  </a:cubicBezTo>
                  <a:cubicBezTo>
                    <a:pt x="147" y="74"/>
                    <a:pt x="140" y="75"/>
                    <a:pt x="132" y="75"/>
                  </a:cubicBezTo>
                  <a:cubicBezTo>
                    <a:pt x="125" y="75"/>
                    <a:pt x="117" y="74"/>
                    <a:pt x="110" y="75"/>
                  </a:cubicBezTo>
                  <a:cubicBezTo>
                    <a:pt x="103" y="75"/>
                    <a:pt x="95" y="76"/>
                    <a:pt x="88" y="76"/>
                  </a:cubicBezTo>
                  <a:cubicBezTo>
                    <a:pt x="73" y="76"/>
                    <a:pt x="59" y="76"/>
                    <a:pt x="44" y="76"/>
                  </a:cubicBezTo>
                  <a:cubicBezTo>
                    <a:pt x="37" y="76"/>
                    <a:pt x="31" y="75"/>
                    <a:pt x="24" y="75"/>
                  </a:cubicBezTo>
                  <a:cubicBezTo>
                    <a:pt x="21" y="75"/>
                    <a:pt x="17" y="76"/>
                    <a:pt x="14" y="76"/>
                  </a:cubicBezTo>
                  <a:cubicBezTo>
                    <a:pt x="12" y="76"/>
                    <a:pt x="10" y="76"/>
                    <a:pt x="9" y="76"/>
                  </a:cubicBezTo>
                  <a:cubicBezTo>
                    <a:pt x="10" y="72"/>
                    <a:pt x="10" y="67"/>
                    <a:pt x="10" y="63"/>
                  </a:cubicBezTo>
                  <a:cubicBezTo>
                    <a:pt x="10" y="57"/>
                    <a:pt x="9" y="51"/>
                    <a:pt x="8" y="45"/>
                  </a:cubicBezTo>
                  <a:cubicBezTo>
                    <a:pt x="8" y="39"/>
                    <a:pt x="7" y="33"/>
                    <a:pt x="7" y="27"/>
                  </a:cubicBezTo>
                  <a:cubicBezTo>
                    <a:pt x="6" y="24"/>
                    <a:pt x="6" y="22"/>
                    <a:pt x="6" y="20"/>
                  </a:cubicBezTo>
                  <a:cubicBezTo>
                    <a:pt x="6" y="20"/>
                    <a:pt x="7" y="20"/>
                    <a:pt x="7" y="19"/>
                  </a:cubicBezTo>
                  <a:cubicBezTo>
                    <a:pt x="7" y="17"/>
                    <a:pt x="7" y="14"/>
                    <a:pt x="9" y="12"/>
                  </a:cubicBezTo>
                  <a:cubicBezTo>
                    <a:pt x="9" y="12"/>
                    <a:pt x="9" y="11"/>
                    <a:pt x="9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0"/>
                    <a:pt x="13" y="10"/>
                    <a:pt x="14" y="10"/>
                  </a:cubicBezTo>
                  <a:cubicBezTo>
                    <a:pt x="22" y="9"/>
                    <a:pt x="29" y="9"/>
                    <a:pt x="36" y="10"/>
                  </a:cubicBezTo>
                  <a:cubicBezTo>
                    <a:pt x="52" y="11"/>
                    <a:pt x="68" y="10"/>
                    <a:pt x="83" y="10"/>
                  </a:cubicBezTo>
                  <a:cubicBezTo>
                    <a:pt x="99" y="10"/>
                    <a:pt x="115" y="10"/>
                    <a:pt x="130" y="9"/>
                  </a:cubicBezTo>
                  <a:cubicBezTo>
                    <a:pt x="145" y="8"/>
                    <a:pt x="160" y="7"/>
                    <a:pt x="174" y="7"/>
                  </a:cubicBezTo>
                  <a:cubicBezTo>
                    <a:pt x="175" y="7"/>
                    <a:pt x="175" y="7"/>
                    <a:pt x="175" y="7"/>
                  </a:cubicBezTo>
                  <a:cubicBezTo>
                    <a:pt x="175" y="9"/>
                    <a:pt x="176" y="11"/>
                    <a:pt x="176" y="13"/>
                  </a:cubicBezTo>
                  <a:cubicBezTo>
                    <a:pt x="176" y="16"/>
                    <a:pt x="175" y="19"/>
                    <a:pt x="175" y="22"/>
                  </a:cubicBezTo>
                  <a:cubicBezTo>
                    <a:pt x="174" y="28"/>
                    <a:pt x="174" y="35"/>
                    <a:pt x="174" y="41"/>
                  </a:cubicBezTo>
                  <a:cubicBezTo>
                    <a:pt x="174" y="48"/>
                    <a:pt x="174" y="55"/>
                    <a:pt x="174" y="62"/>
                  </a:cubicBezTo>
                  <a:cubicBezTo>
                    <a:pt x="173" y="65"/>
                    <a:pt x="173" y="68"/>
                    <a:pt x="173" y="72"/>
                  </a:cubicBezTo>
                  <a:cubicBezTo>
                    <a:pt x="167" y="73"/>
                    <a:pt x="161" y="73"/>
                    <a:pt x="155" y="7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ïs1iďe"/>
            <p:cNvSpPr/>
            <p:nvPr/>
          </p:nvSpPr>
          <p:spPr bwMode="auto">
            <a:xfrm>
              <a:off x="5362817" y="4651721"/>
              <a:ext cx="64364" cy="162600"/>
            </a:xfrm>
            <a:custGeom>
              <a:avLst/>
              <a:gdLst>
                <a:gd name="T0" fmla="*/ 7 w 9"/>
                <a:gd name="T1" fmla="*/ 2 h 23"/>
                <a:gd name="T2" fmla="*/ 3 w 9"/>
                <a:gd name="T3" fmla="*/ 1 h 23"/>
                <a:gd name="T4" fmla="*/ 1 w 9"/>
                <a:gd name="T5" fmla="*/ 9 h 23"/>
                <a:gd name="T6" fmla="*/ 1 w 9"/>
                <a:gd name="T7" fmla="*/ 19 h 23"/>
                <a:gd name="T8" fmla="*/ 8 w 9"/>
                <a:gd name="T9" fmla="*/ 19 h 23"/>
                <a:gd name="T10" fmla="*/ 8 w 9"/>
                <a:gd name="T11" fmla="*/ 10 h 23"/>
                <a:gd name="T12" fmla="*/ 7 w 9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3">
                  <a:moveTo>
                    <a:pt x="7" y="2"/>
                  </a:moveTo>
                  <a:cubicBezTo>
                    <a:pt x="7" y="0"/>
                    <a:pt x="4" y="0"/>
                    <a:pt x="3" y="1"/>
                  </a:cubicBezTo>
                  <a:cubicBezTo>
                    <a:pt x="1" y="4"/>
                    <a:pt x="1" y="6"/>
                    <a:pt x="1" y="9"/>
                  </a:cubicBezTo>
                  <a:cubicBezTo>
                    <a:pt x="0" y="13"/>
                    <a:pt x="0" y="16"/>
                    <a:pt x="1" y="19"/>
                  </a:cubicBezTo>
                  <a:cubicBezTo>
                    <a:pt x="1" y="23"/>
                    <a:pt x="7" y="23"/>
                    <a:pt x="8" y="19"/>
                  </a:cubicBezTo>
                  <a:cubicBezTo>
                    <a:pt x="9" y="16"/>
                    <a:pt x="8" y="13"/>
                    <a:pt x="8" y="10"/>
                  </a:cubicBezTo>
                  <a:cubicBezTo>
                    <a:pt x="8" y="7"/>
                    <a:pt x="7" y="5"/>
                    <a:pt x="7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íṡ1îḓê"/>
            <p:cNvSpPr/>
            <p:nvPr/>
          </p:nvSpPr>
          <p:spPr bwMode="auto">
            <a:xfrm>
              <a:off x="5467829" y="4644946"/>
              <a:ext cx="64364" cy="169375"/>
            </a:xfrm>
            <a:custGeom>
              <a:avLst/>
              <a:gdLst>
                <a:gd name="T0" fmla="*/ 2 w 9"/>
                <a:gd name="T1" fmla="*/ 3 h 24"/>
                <a:gd name="T2" fmla="*/ 1 w 9"/>
                <a:gd name="T3" fmla="*/ 20 h 24"/>
                <a:gd name="T4" fmla="*/ 4 w 9"/>
                <a:gd name="T5" fmla="*/ 24 h 24"/>
                <a:gd name="T6" fmla="*/ 6 w 9"/>
                <a:gd name="T7" fmla="*/ 24 h 24"/>
                <a:gd name="T8" fmla="*/ 9 w 9"/>
                <a:gd name="T9" fmla="*/ 20 h 24"/>
                <a:gd name="T10" fmla="*/ 7 w 9"/>
                <a:gd name="T11" fmla="*/ 3 h 24"/>
                <a:gd name="T12" fmla="*/ 2 w 9"/>
                <a:gd name="T13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4">
                  <a:moveTo>
                    <a:pt x="2" y="3"/>
                  </a:moveTo>
                  <a:cubicBezTo>
                    <a:pt x="0" y="8"/>
                    <a:pt x="1" y="14"/>
                    <a:pt x="1" y="20"/>
                  </a:cubicBezTo>
                  <a:cubicBezTo>
                    <a:pt x="1" y="21"/>
                    <a:pt x="2" y="23"/>
                    <a:pt x="4" y="24"/>
                  </a:cubicBezTo>
                  <a:cubicBezTo>
                    <a:pt x="5" y="24"/>
                    <a:pt x="5" y="24"/>
                    <a:pt x="6" y="24"/>
                  </a:cubicBezTo>
                  <a:cubicBezTo>
                    <a:pt x="8" y="23"/>
                    <a:pt x="9" y="21"/>
                    <a:pt x="9" y="20"/>
                  </a:cubicBezTo>
                  <a:cubicBezTo>
                    <a:pt x="9" y="14"/>
                    <a:pt x="9" y="8"/>
                    <a:pt x="7" y="3"/>
                  </a:cubicBezTo>
                  <a:cubicBezTo>
                    <a:pt x="6" y="0"/>
                    <a:pt x="3" y="0"/>
                    <a:pt x="2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íśḷíḓe"/>
            <p:cNvSpPr/>
            <p:nvPr/>
          </p:nvSpPr>
          <p:spPr bwMode="auto">
            <a:xfrm>
              <a:off x="5596554" y="4644946"/>
              <a:ext cx="64364" cy="176150"/>
            </a:xfrm>
            <a:custGeom>
              <a:avLst/>
              <a:gdLst>
                <a:gd name="T0" fmla="*/ 6 w 9"/>
                <a:gd name="T1" fmla="*/ 3 h 25"/>
                <a:gd name="T2" fmla="*/ 2 w 9"/>
                <a:gd name="T3" fmla="*/ 3 h 25"/>
                <a:gd name="T4" fmla="*/ 1 w 9"/>
                <a:gd name="T5" fmla="*/ 13 h 25"/>
                <a:gd name="T6" fmla="*/ 3 w 9"/>
                <a:gd name="T7" fmla="*/ 23 h 25"/>
                <a:gd name="T8" fmla="*/ 9 w 9"/>
                <a:gd name="T9" fmla="*/ 21 h 25"/>
                <a:gd name="T10" fmla="*/ 9 w 9"/>
                <a:gd name="T11" fmla="*/ 13 h 25"/>
                <a:gd name="T12" fmla="*/ 6 w 9"/>
                <a:gd name="T13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5">
                  <a:moveTo>
                    <a:pt x="6" y="3"/>
                  </a:moveTo>
                  <a:cubicBezTo>
                    <a:pt x="6" y="0"/>
                    <a:pt x="2" y="0"/>
                    <a:pt x="2" y="3"/>
                  </a:cubicBezTo>
                  <a:cubicBezTo>
                    <a:pt x="1" y="6"/>
                    <a:pt x="1" y="9"/>
                    <a:pt x="1" y="13"/>
                  </a:cubicBezTo>
                  <a:cubicBezTo>
                    <a:pt x="0" y="16"/>
                    <a:pt x="0" y="20"/>
                    <a:pt x="3" y="23"/>
                  </a:cubicBezTo>
                  <a:cubicBezTo>
                    <a:pt x="5" y="25"/>
                    <a:pt x="8" y="24"/>
                    <a:pt x="9" y="21"/>
                  </a:cubicBezTo>
                  <a:cubicBezTo>
                    <a:pt x="9" y="18"/>
                    <a:pt x="9" y="15"/>
                    <a:pt x="9" y="13"/>
                  </a:cubicBezTo>
                  <a:cubicBezTo>
                    <a:pt x="9" y="9"/>
                    <a:pt x="7" y="6"/>
                    <a:pt x="6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ïśḻíḍê"/>
            <p:cNvSpPr/>
            <p:nvPr/>
          </p:nvSpPr>
          <p:spPr bwMode="auto">
            <a:xfrm>
              <a:off x="6453595" y="4651721"/>
              <a:ext cx="115175" cy="84689"/>
            </a:xfrm>
            <a:custGeom>
              <a:avLst/>
              <a:gdLst>
                <a:gd name="T0" fmla="*/ 8 w 16"/>
                <a:gd name="T1" fmla="*/ 0 h 12"/>
                <a:gd name="T2" fmla="*/ 8 w 16"/>
                <a:gd name="T3" fmla="*/ 12 h 12"/>
                <a:gd name="T4" fmla="*/ 8 w 1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cubicBezTo>
                    <a:pt x="0" y="0"/>
                    <a:pt x="0" y="12"/>
                    <a:pt x="8" y="12"/>
                  </a:cubicBezTo>
                  <a:cubicBezTo>
                    <a:pt x="16" y="12"/>
                    <a:pt x="16" y="0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iŝľíḑè"/>
            <p:cNvSpPr/>
            <p:nvPr/>
          </p:nvSpPr>
          <p:spPr bwMode="auto">
            <a:xfrm>
              <a:off x="6341806" y="4651721"/>
              <a:ext cx="91464" cy="9146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íṣ1íďé"/>
            <p:cNvSpPr/>
            <p:nvPr/>
          </p:nvSpPr>
          <p:spPr bwMode="auto">
            <a:xfrm>
              <a:off x="6185981" y="4651721"/>
              <a:ext cx="91464" cy="9146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ïşḷíḓe"/>
            <p:cNvSpPr/>
            <p:nvPr/>
          </p:nvSpPr>
          <p:spPr bwMode="auto">
            <a:xfrm>
              <a:off x="3899413" y="3852269"/>
              <a:ext cx="4386826" cy="1453242"/>
            </a:xfrm>
            <a:custGeom>
              <a:avLst/>
              <a:gdLst>
                <a:gd name="T0" fmla="*/ 609 w 623"/>
                <a:gd name="T1" fmla="*/ 82 h 207"/>
                <a:gd name="T2" fmla="*/ 597 w 623"/>
                <a:gd name="T3" fmla="*/ 78 h 207"/>
                <a:gd name="T4" fmla="*/ 586 w 623"/>
                <a:gd name="T5" fmla="*/ 72 h 207"/>
                <a:gd name="T6" fmla="*/ 575 w 623"/>
                <a:gd name="T7" fmla="*/ 62 h 207"/>
                <a:gd name="T8" fmla="*/ 578 w 623"/>
                <a:gd name="T9" fmla="*/ 59 h 207"/>
                <a:gd name="T10" fmla="*/ 561 w 623"/>
                <a:gd name="T11" fmla="*/ 61 h 207"/>
                <a:gd name="T12" fmla="*/ 547 w 623"/>
                <a:gd name="T13" fmla="*/ 79 h 207"/>
                <a:gd name="T14" fmla="*/ 505 w 623"/>
                <a:gd name="T15" fmla="*/ 84 h 207"/>
                <a:gd name="T16" fmla="*/ 456 w 623"/>
                <a:gd name="T17" fmla="*/ 64 h 207"/>
                <a:gd name="T18" fmla="*/ 407 w 623"/>
                <a:gd name="T19" fmla="*/ 0 h 207"/>
                <a:gd name="T20" fmla="*/ 288 w 623"/>
                <a:gd name="T21" fmla="*/ 3 h 207"/>
                <a:gd name="T22" fmla="*/ 218 w 623"/>
                <a:gd name="T23" fmla="*/ 6 h 207"/>
                <a:gd name="T24" fmla="*/ 176 w 623"/>
                <a:gd name="T25" fmla="*/ 18 h 207"/>
                <a:gd name="T26" fmla="*/ 155 w 623"/>
                <a:gd name="T27" fmla="*/ 34 h 207"/>
                <a:gd name="T28" fmla="*/ 121 w 623"/>
                <a:gd name="T29" fmla="*/ 44 h 207"/>
                <a:gd name="T30" fmla="*/ 91 w 623"/>
                <a:gd name="T31" fmla="*/ 66 h 207"/>
                <a:gd name="T32" fmla="*/ 51 w 623"/>
                <a:gd name="T33" fmla="*/ 62 h 207"/>
                <a:gd name="T34" fmla="*/ 42 w 623"/>
                <a:gd name="T35" fmla="*/ 37 h 207"/>
                <a:gd name="T36" fmla="*/ 24 w 623"/>
                <a:gd name="T37" fmla="*/ 68 h 207"/>
                <a:gd name="T38" fmla="*/ 3 w 623"/>
                <a:gd name="T39" fmla="*/ 66 h 207"/>
                <a:gd name="T40" fmla="*/ 18 w 623"/>
                <a:gd name="T41" fmla="*/ 83 h 207"/>
                <a:gd name="T42" fmla="*/ 21 w 623"/>
                <a:gd name="T43" fmla="*/ 91 h 207"/>
                <a:gd name="T44" fmla="*/ 14 w 623"/>
                <a:gd name="T45" fmla="*/ 114 h 207"/>
                <a:gd name="T46" fmla="*/ 28 w 623"/>
                <a:gd name="T47" fmla="*/ 101 h 207"/>
                <a:gd name="T48" fmla="*/ 42 w 623"/>
                <a:gd name="T49" fmla="*/ 117 h 207"/>
                <a:gd name="T50" fmla="*/ 65 w 623"/>
                <a:gd name="T51" fmla="*/ 82 h 207"/>
                <a:gd name="T52" fmla="*/ 130 w 623"/>
                <a:gd name="T53" fmla="*/ 85 h 207"/>
                <a:gd name="T54" fmla="*/ 146 w 623"/>
                <a:gd name="T55" fmla="*/ 57 h 207"/>
                <a:gd name="T56" fmla="*/ 163 w 623"/>
                <a:gd name="T57" fmla="*/ 44 h 207"/>
                <a:gd name="T58" fmla="*/ 176 w 623"/>
                <a:gd name="T59" fmla="*/ 71 h 207"/>
                <a:gd name="T60" fmla="*/ 301 w 623"/>
                <a:gd name="T61" fmla="*/ 205 h 207"/>
                <a:gd name="T62" fmla="*/ 357 w 623"/>
                <a:gd name="T63" fmla="*/ 190 h 207"/>
                <a:gd name="T64" fmla="*/ 411 w 623"/>
                <a:gd name="T65" fmla="*/ 67 h 207"/>
                <a:gd name="T66" fmla="*/ 451 w 623"/>
                <a:gd name="T67" fmla="*/ 76 h 207"/>
                <a:gd name="T68" fmla="*/ 503 w 623"/>
                <a:gd name="T69" fmla="*/ 95 h 207"/>
                <a:gd name="T70" fmla="*/ 569 w 623"/>
                <a:gd name="T71" fmla="*/ 111 h 207"/>
                <a:gd name="T72" fmla="*/ 592 w 623"/>
                <a:gd name="T73" fmla="*/ 115 h 207"/>
                <a:gd name="T74" fmla="*/ 591 w 623"/>
                <a:gd name="T75" fmla="*/ 109 h 207"/>
                <a:gd name="T76" fmla="*/ 608 w 623"/>
                <a:gd name="T77" fmla="*/ 102 h 207"/>
                <a:gd name="T78" fmla="*/ 617 w 623"/>
                <a:gd name="T79" fmla="*/ 93 h 207"/>
                <a:gd name="T80" fmla="*/ 49 w 623"/>
                <a:gd name="T81" fmla="*/ 88 h 207"/>
                <a:gd name="T82" fmla="*/ 33 w 623"/>
                <a:gd name="T83" fmla="*/ 74 h 207"/>
                <a:gd name="T84" fmla="*/ 128 w 623"/>
                <a:gd name="T85" fmla="*/ 68 h 207"/>
                <a:gd name="T86" fmla="*/ 120 w 623"/>
                <a:gd name="T87" fmla="*/ 55 h 207"/>
                <a:gd name="T88" fmla="*/ 399 w 623"/>
                <a:gd name="T89" fmla="*/ 58 h 207"/>
                <a:gd name="T90" fmla="*/ 378 w 623"/>
                <a:gd name="T91" fmla="*/ 144 h 207"/>
                <a:gd name="T92" fmla="*/ 339 w 623"/>
                <a:gd name="T93" fmla="*/ 185 h 207"/>
                <a:gd name="T94" fmla="*/ 228 w 623"/>
                <a:gd name="T95" fmla="*/ 176 h 207"/>
                <a:gd name="T96" fmla="*/ 187 w 623"/>
                <a:gd name="T97" fmla="*/ 23 h 207"/>
                <a:gd name="T98" fmla="*/ 202 w 623"/>
                <a:gd name="T99" fmla="*/ 18 h 207"/>
                <a:gd name="T100" fmla="*/ 286 w 623"/>
                <a:gd name="T101" fmla="*/ 16 h 207"/>
                <a:gd name="T102" fmla="*/ 400 w 623"/>
                <a:gd name="T103" fmla="*/ 28 h 207"/>
                <a:gd name="T104" fmla="*/ 475 w 623"/>
                <a:gd name="T105" fmla="*/ 93 h 207"/>
                <a:gd name="T106" fmla="*/ 492 w 623"/>
                <a:gd name="T107" fmla="*/ 86 h 207"/>
                <a:gd name="T108" fmla="*/ 570 w 623"/>
                <a:gd name="T109" fmla="*/ 97 h 207"/>
                <a:gd name="T110" fmla="*/ 561 w 623"/>
                <a:gd name="T111" fmla="*/ 95 h 207"/>
                <a:gd name="T112" fmla="*/ 579 w 623"/>
                <a:gd name="T113" fmla="*/ 84 h 207"/>
                <a:gd name="T114" fmla="*/ 583 w 623"/>
                <a:gd name="T115" fmla="*/ 88 h 207"/>
                <a:gd name="T116" fmla="*/ 582 w 623"/>
                <a:gd name="T117" fmla="*/ 90 h 207"/>
                <a:gd name="T118" fmla="*/ 579 w 623"/>
                <a:gd name="T119" fmla="*/ 94 h 207"/>
                <a:gd name="T120" fmla="*/ 571 w 623"/>
                <a:gd name="T121" fmla="*/ 9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23" h="207">
                  <a:moveTo>
                    <a:pt x="614" y="81"/>
                  </a:moveTo>
                  <a:cubicBezTo>
                    <a:pt x="613" y="81"/>
                    <a:pt x="612" y="81"/>
                    <a:pt x="611" y="81"/>
                  </a:cubicBezTo>
                  <a:cubicBezTo>
                    <a:pt x="611" y="81"/>
                    <a:pt x="611" y="81"/>
                    <a:pt x="610" y="81"/>
                  </a:cubicBezTo>
                  <a:cubicBezTo>
                    <a:pt x="610" y="82"/>
                    <a:pt x="610" y="82"/>
                    <a:pt x="609" y="82"/>
                  </a:cubicBezTo>
                  <a:cubicBezTo>
                    <a:pt x="607" y="82"/>
                    <a:pt x="604" y="82"/>
                    <a:pt x="602" y="82"/>
                  </a:cubicBezTo>
                  <a:cubicBezTo>
                    <a:pt x="600" y="82"/>
                    <a:pt x="598" y="82"/>
                    <a:pt x="595" y="83"/>
                  </a:cubicBezTo>
                  <a:cubicBezTo>
                    <a:pt x="595" y="82"/>
                    <a:pt x="595" y="81"/>
                    <a:pt x="594" y="80"/>
                  </a:cubicBezTo>
                  <a:cubicBezTo>
                    <a:pt x="595" y="79"/>
                    <a:pt x="596" y="79"/>
                    <a:pt x="597" y="78"/>
                  </a:cubicBezTo>
                  <a:cubicBezTo>
                    <a:pt x="602" y="75"/>
                    <a:pt x="607" y="73"/>
                    <a:pt x="610" y="68"/>
                  </a:cubicBezTo>
                  <a:cubicBezTo>
                    <a:pt x="614" y="62"/>
                    <a:pt x="605" y="55"/>
                    <a:pt x="600" y="60"/>
                  </a:cubicBezTo>
                  <a:cubicBezTo>
                    <a:pt x="597" y="63"/>
                    <a:pt x="594" y="65"/>
                    <a:pt x="590" y="68"/>
                  </a:cubicBezTo>
                  <a:cubicBezTo>
                    <a:pt x="589" y="69"/>
                    <a:pt x="587" y="70"/>
                    <a:pt x="586" y="72"/>
                  </a:cubicBezTo>
                  <a:cubicBezTo>
                    <a:pt x="583" y="71"/>
                    <a:pt x="581" y="70"/>
                    <a:pt x="579" y="69"/>
                  </a:cubicBezTo>
                  <a:cubicBezTo>
                    <a:pt x="577" y="69"/>
                    <a:pt x="574" y="68"/>
                    <a:pt x="571" y="68"/>
                  </a:cubicBezTo>
                  <a:cubicBezTo>
                    <a:pt x="572" y="67"/>
                    <a:pt x="572" y="67"/>
                    <a:pt x="572" y="67"/>
                  </a:cubicBezTo>
                  <a:cubicBezTo>
                    <a:pt x="573" y="66"/>
                    <a:pt x="574" y="64"/>
                    <a:pt x="575" y="62"/>
                  </a:cubicBezTo>
                  <a:cubicBezTo>
                    <a:pt x="576" y="61"/>
                    <a:pt x="576" y="61"/>
                    <a:pt x="576" y="60"/>
                  </a:cubicBezTo>
                  <a:cubicBezTo>
                    <a:pt x="577" y="60"/>
                    <a:pt x="577" y="60"/>
                    <a:pt x="577" y="59"/>
                  </a:cubicBezTo>
                  <a:cubicBezTo>
                    <a:pt x="577" y="59"/>
                    <a:pt x="578" y="59"/>
                    <a:pt x="578" y="59"/>
                  </a:cubicBezTo>
                  <a:cubicBezTo>
                    <a:pt x="578" y="59"/>
                    <a:pt x="578" y="59"/>
                    <a:pt x="578" y="59"/>
                  </a:cubicBezTo>
                  <a:cubicBezTo>
                    <a:pt x="580" y="57"/>
                    <a:pt x="582" y="54"/>
                    <a:pt x="581" y="51"/>
                  </a:cubicBezTo>
                  <a:cubicBezTo>
                    <a:pt x="580" y="48"/>
                    <a:pt x="576" y="45"/>
                    <a:pt x="573" y="47"/>
                  </a:cubicBezTo>
                  <a:cubicBezTo>
                    <a:pt x="567" y="49"/>
                    <a:pt x="565" y="54"/>
                    <a:pt x="562" y="59"/>
                  </a:cubicBezTo>
                  <a:cubicBezTo>
                    <a:pt x="562" y="60"/>
                    <a:pt x="561" y="61"/>
                    <a:pt x="561" y="61"/>
                  </a:cubicBezTo>
                  <a:cubicBezTo>
                    <a:pt x="560" y="62"/>
                    <a:pt x="560" y="63"/>
                    <a:pt x="560" y="63"/>
                  </a:cubicBezTo>
                  <a:cubicBezTo>
                    <a:pt x="561" y="62"/>
                    <a:pt x="560" y="64"/>
                    <a:pt x="560" y="64"/>
                  </a:cubicBezTo>
                  <a:cubicBezTo>
                    <a:pt x="559" y="66"/>
                    <a:pt x="558" y="67"/>
                    <a:pt x="557" y="69"/>
                  </a:cubicBezTo>
                  <a:cubicBezTo>
                    <a:pt x="552" y="71"/>
                    <a:pt x="549" y="75"/>
                    <a:pt x="547" y="79"/>
                  </a:cubicBezTo>
                  <a:cubicBezTo>
                    <a:pt x="547" y="79"/>
                    <a:pt x="547" y="79"/>
                    <a:pt x="547" y="79"/>
                  </a:cubicBezTo>
                  <a:cubicBezTo>
                    <a:pt x="539" y="80"/>
                    <a:pt x="531" y="80"/>
                    <a:pt x="523" y="82"/>
                  </a:cubicBezTo>
                  <a:cubicBezTo>
                    <a:pt x="519" y="82"/>
                    <a:pt x="514" y="83"/>
                    <a:pt x="510" y="84"/>
                  </a:cubicBezTo>
                  <a:cubicBezTo>
                    <a:pt x="508" y="84"/>
                    <a:pt x="507" y="84"/>
                    <a:pt x="505" y="84"/>
                  </a:cubicBezTo>
                  <a:cubicBezTo>
                    <a:pt x="505" y="79"/>
                    <a:pt x="503" y="75"/>
                    <a:pt x="500" y="72"/>
                  </a:cubicBezTo>
                  <a:cubicBezTo>
                    <a:pt x="494" y="65"/>
                    <a:pt x="485" y="65"/>
                    <a:pt x="477" y="66"/>
                  </a:cubicBezTo>
                  <a:cubicBezTo>
                    <a:pt x="472" y="64"/>
                    <a:pt x="467" y="66"/>
                    <a:pt x="463" y="70"/>
                  </a:cubicBezTo>
                  <a:cubicBezTo>
                    <a:pt x="461" y="68"/>
                    <a:pt x="458" y="66"/>
                    <a:pt x="456" y="64"/>
                  </a:cubicBezTo>
                  <a:cubicBezTo>
                    <a:pt x="449" y="58"/>
                    <a:pt x="444" y="50"/>
                    <a:pt x="438" y="43"/>
                  </a:cubicBezTo>
                  <a:cubicBezTo>
                    <a:pt x="429" y="34"/>
                    <a:pt x="417" y="27"/>
                    <a:pt x="411" y="15"/>
                  </a:cubicBezTo>
                  <a:cubicBezTo>
                    <a:pt x="411" y="14"/>
                    <a:pt x="411" y="13"/>
                    <a:pt x="411" y="12"/>
                  </a:cubicBezTo>
                  <a:cubicBezTo>
                    <a:pt x="415" y="8"/>
                    <a:pt x="414" y="0"/>
                    <a:pt x="407" y="0"/>
                  </a:cubicBezTo>
                  <a:cubicBezTo>
                    <a:pt x="397" y="0"/>
                    <a:pt x="388" y="1"/>
                    <a:pt x="379" y="1"/>
                  </a:cubicBezTo>
                  <a:cubicBezTo>
                    <a:pt x="369" y="2"/>
                    <a:pt x="358" y="1"/>
                    <a:pt x="349" y="1"/>
                  </a:cubicBezTo>
                  <a:cubicBezTo>
                    <a:pt x="338" y="2"/>
                    <a:pt x="328" y="3"/>
                    <a:pt x="318" y="3"/>
                  </a:cubicBezTo>
                  <a:cubicBezTo>
                    <a:pt x="308" y="3"/>
                    <a:pt x="298" y="3"/>
                    <a:pt x="288" y="3"/>
                  </a:cubicBezTo>
                  <a:cubicBezTo>
                    <a:pt x="279" y="4"/>
                    <a:pt x="269" y="4"/>
                    <a:pt x="259" y="5"/>
                  </a:cubicBezTo>
                  <a:cubicBezTo>
                    <a:pt x="254" y="5"/>
                    <a:pt x="250" y="5"/>
                    <a:pt x="245" y="5"/>
                  </a:cubicBezTo>
                  <a:cubicBezTo>
                    <a:pt x="240" y="5"/>
                    <a:pt x="235" y="6"/>
                    <a:pt x="230" y="6"/>
                  </a:cubicBezTo>
                  <a:cubicBezTo>
                    <a:pt x="226" y="7"/>
                    <a:pt x="222" y="6"/>
                    <a:pt x="218" y="6"/>
                  </a:cubicBezTo>
                  <a:cubicBezTo>
                    <a:pt x="214" y="6"/>
                    <a:pt x="210" y="7"/>
                    <a:pt x="205" y="7"/>
                  </a:cubicBezTo>
                  <a:cubicBezTo>
                    <a:pt x="198" y="7"/>
                    <a:pt x="190" y="6"/>
                    <a:pt x="182" y="5"/>
                  </a:cubicBezTo>
                  <a:cubicBezTo>
                    <a:pt x="181" y="5"/>
                    <a:pt x="180" y="5"/>
                    <a:pt x="179" y="6"/>
                  </a:cubicBezTo>
                  <a:cubicBezTo>
                    <a:pt x="177" y="10"/>
                    <a:pt x="176" y="14"/>
                    <a:pt x="176" y="18"/>
                  </a:cubicBezTo>
                  <a:cubicBezTo>
                    <a:pt x="173" y="21"/>
                    <a:pt x="169" y="24"/>
                    <a:pt x="165" y="26"/>
                  </a:cubicBezTo>
                  <a:cubicBezTo>
                    <a:pt x="162" y="28"/>
                    <a:pt x="160" y="30"/>
                    <a:pt x="158" y="31"/>
                  </a:cubicBezTo>
                  <a:cubicBezTo>
                    <a:pt x="160" y="30"/>
                    <a:pt x="158" y="32"/>
                    <a:pt x="157" y="32"/>
                  </a:cubicBezTo>
                  <a:cubicBezTo>
                    <a:pt x="156" y="33"/>
                    <a:pt x="155" y="33"/>
                    <a:pt x="155" y="34"/>
                  </a:cubicBezTo>
                  <a:cubicBezTo>
                    <a:pt x="150" y="37"/>
                    <a:pt x="146" y="40"/>
                    <a:pt x="142" y="43"/>
                  </a:cubicBezTo>
                  <a:cubicBezTo>
                    <a:pt x="141" y="44"/>
                    <a:pt x="138" y="46"/>
                    <a:pt x="136" y="48"/>
                  </a:cubicBezTo>
                  <a:cubicBezTo>
                    <a:pt x="132" y="45"/>
                    <a:pt x="128" y="44"/>
                    <a:pt x="124" y="44"/>
                  </a:cubicBezTo>
                  <a:cubicBezTo>
                    <a:pt x="123" y="44"/>
                    <a:pt x="122" y="44"/>
                    <a:pt x="121" y="44"/>
                  </a:cubicBezTo>
                  <a:cubicBezTo>
                    <a:pt x="120" y="43"/>
                    <a:pt x="119" y="43"/>
                    <a:pt x="118" y="43"/>
                  </a:cubicBezTo>
                  <a:cubicBezTo>
                    <a:pt x="110" y="42"/>
                    <a:pt x="102" y="50"/>
                    <a:pt x="99" y="58"/>
                  </a:cubicBezTo>
                  <a:cubicBezTo>
                    <a:pt x="98" y="60"/>
                    <a:pt x="98" y="63"/>
                    <a:pt x="98" y="66"/>
                  </a:cubicBezTo>
                  <a:cubicBezTo>
                    <a:pt x="95" y="66"/>
                    <a:pt x="93" y="66"/>
                    <a:pt x="91" y="66"/>
                  </a:cubicBezTo>
                  <a:cubicBezTo>
                    <a:pt x="85" y="67"/>
                    <a:pt x="80" y="67"/>
                    <a:pt x="75" y="67"/>
                  </a:cubicBezTo>
                  <a:cubicBezTo>
                    <a:pt x="71" y="68"/>
                    <a:pt x="67" y="69"/>
                    <a:pt x="63" y="69"/>
                  </a:cubicBezTo>
                  <a:cubicBezTo>
                    <a:pt x="62" y="69"/>
                    <a:pt x="62" y="69"/>
                    <a:pt x="61" y="69"/>
                  </a:cubicBezTo>
                  <a:cubicBezTo>
                    <a:pt x="58" y="66"/>
                    <a:pt x="54" y="64"/>
                    <a:pt x="51" y="62"/>
                  </a:cubicBezTo>
                  <a:cubicBezTo>
                    <a:pt x="49" y="62"/>
                    <a:pt x="48" y="61"/>
                    <a:pt x="46" y="61"/>
                  </a:cubicBezTo>
                  <a:cubicBezTo>
                    <a:pt x="46" y="59"/>
                    <a:pt x="46" y="56"/>
                    <a:pt x="47" y="53"/>
                  </a:cubicBezTo>
                  <a:cubicBezTo>
                    <a:pt x="47" y="50"/>
                    <a:pt x="48" y="45"/>
                    <a:pt x="48" y="41"/>
                  </a:cubicBezTo>
                  <a:cubicBezTo>
                    <a:pt x="48" y="39"/>
                    <a:pt x="45" y="36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39" y="38"/>
                    <a:pt x="38" y="41"/>
                    <a:pt x="39" y="43"/>
                  </a:cubicBezTo>
                  <a:cubicBezTo>
                    <a:pt x="38" y="48"/>
                    <a:pt x="36" y="55"/>
                    <a:pt x="38" y="61"/>
                  </a:cubicBezTo>
                  <a:cubicBezTo>
                    <a:pt x="32" y="62"/>
                    <a:pt x="27" y="64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1" y="67"/>
                    <a:pt x="19" y="65"/>
                    <a:pt x="17" y="65"/>
                  </a:cubicBezTo>
                  <a:cubicBezTo>
                    <a:pt x="14" y="64"/>
                    <a:pt x="10" y="62"/>
                    <a:pt x="7" y="63"/>
                  </a:cubicBezTo>
                  <a:cubicBezTo>
                    <a:pt x="5" y="63"/>
                    <a:pt x="4" y="65"/>
                    <a:pt x="3" y="66"/>
                  </a:cubicBezTo>
                  <a:cubicBezTo>
                    <a:pt x="2" y="72"/>
                    <a:pt x="8" y="72"/>
                    <a:pt x="12" y="74"/>
                  </a:cubicBezTo>
                  <a:cubicBezTo>
                    <a:pt x="14" y="74"/>
                    <a:pt x="17" y="76"/>
                    <a:pt x="20" y="77"/>
                  </a:cubicBezTo>
                  <a:cubicBezTo>
                    <a:pt x="19" y="79"/>
                    <a:pt x="19" y="81"/>
                    <a:pt x="19" y="83"/>
                  </a:cubicBezTo>
                  <a:cubicBezTo>
                    <a:pt x="19" y="83"/>
                    <a:pt x="18" y="83"/>
                    <a:pt x="18" y="83"/>
                  </a:cubicBezTo>
                  <a:cubicBezTo>
                    <a:pt x="14" y="82"/>
                    <a:pt x="10" y="82"/>
                    <a:pt x="7" y="83"/>
                  </a:cubicBezTo>
                  <a:cubicBezTo>
                    <a:pt x="0" y="83"/>
                    <a:pt x="0" y="92"/>
                    <a:pt x="7" y="92"/>
                  </a:cubicBezTo>
                  <a:cubicBezTo>
                    <a:pt x="10" y="92"/>
                    <a:pt x="14" y="92"/>
                    <a:pt x="17" y="92"/>
                  </a:cubicBezTo>
                  <a:cubicBezTo>
                    <a:pt x="18" y="92"/>
                    <a:pt x="19" y="92"/>
                    <a:pt x="21" y="91"/>
                  </a:cubicBezTo>
                  <a:cubicBezTo>
                    <a:pt x="21" y="93"/>
                    <a:pt x="22" y="94"/>
                    <a:pt x="23" y="95"/>
                  </a:cubicBezTo>
                  <a:cubicBezTo>
                    <a:pt x="21" y="96"/>
                    <a:pt x="19" y="97"/>
                    <a:pt x="18" y="98"/>
                  </a:cubicBezTo>
                  <a:cubicBezTo>
                    <a:pt x="14" y="102"/>
                    <a:pt x="7" y="104"/>
                    <a:pt x="7" y="110"/>
                  </a:cubicBezTo>
                  <a:cubicBezTo>
                    <a:pt x="7" y="113"/>
                    <a:pt x="11" y="116"/>
                    <a:pt x="14" y="114"/>
                  </a:cubicBezTo>
                  <a:cubicBezTo>
                    <a:pt x="16" y="113"/>
                    <a:pt x="17" y="111"/>
                    <a:pt x="18" y="110"/>
                  </a:cubicBezTo>
                  <a:cubicBezTo>
                    <a:pt x="20" y="109"/>
                    <a:pt x="22" y="107"/>
                    <a:pt x="24" y="106"/>
                  </a:cubicBezTo>
                  <a:cubicBezTo>
                    <a:pt x="25" y="104"/>
                    <a:pt x="27" y="103"/>
                    <a:pt x="28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31" y="103"/>
                    <a:pt x="33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4" y="109"/>
                    <a:pt x="33" y="113"/>
                    <a:pt x="34" y="117"/>
                  </a:cubicBezTo>
                  <a:cubicBezTo>
                    <a:pt x="35" y="121"/>
                    <a:pt x="40" y="120"/>
                    <a:pt x="42" y="117"/>
                  </a:cubicBezTo>
                  <a:cubicBezTo>
                    <a:pt x="43" y="114"/>
                    <a:pt x="43" y="111"/>
                    <a:pt x="44" y="108"/>
                  </a:cubicBezTo>
                  <a:cubicBezTo>
                    <a:pt x="44" y="107"/>
                    <a:pt x="45" y="106"/>
                    <a:pt x="45" y="105"/>
                  </a:cubicBezTo>
                  <a:cubicBezTo>
                    <a:pt x="46" y="105"/>
                    <a:pt x="48" y="104"/>
                    <a:pt x="49" y="104"/>
                  </a:cubicBezTo>
                  <a:cubicBezTo>
                    <a:pt x="58" y="100"/>
                    <a:pt x="65" y="92"/>
                    <a:pt x="65" y="82"/>
                  </a:cubicBezTo>
                  <a:cubicBezTo>
                    <a:pt x="69" y="82"/>
                    <a:pt x="72" y="82"/>
                    <a:pt x="76" y="81"/>
                  </a:cubicBezTo>
                  <a:cubicBezTo>
                    <a:pt x="84" y="79"/>
                    <a:pt x="93" y="80"/>
                    <a:pt x="101" y="77"/>
                  </a:cubicBezTo>
                  <a:cubicBezTo>
                    <a:pt x="102" y="78"/>
                    <a:pt x="103" y="80"/>
                    <a:pt x="105" y="82"/>
                  </a:cubicBezTo>
                  <a:cubicBezTo>
                    <a:pt x="111" y="89"/>
                    <a:pt x="121" y="89"/>
                    <a:pt x="130" y="85"/>
                  </a:cubicBezTo>
                  <a:cubicBezTo>
                    <a:pt x="139" y="81"/>
                    <a:pt x="144" y="70"/>
                    <a:pt x="142" y="60"/>
                  </a:cubicBezTo>
                  <a:cubicBezTo>
                    <a:pt x="143" y="60"/>
                    <a:pt x="143" y="60"/>
                    <a:pt x="143" y="60"/>
                  </a:cubicBezTo>
                  <a:cubicBezTo>
                    <a:pt x="143" y="60"/>
                    <a:pt x="147" y="56"/>
                    <a:pt x="145" y="59"/>
                  </a:cubicBezTo>
                  <a:cubicBezTo>
                    <a:pt x="145" y="58"/>
                    <a:pt x="146" y="57"/>
                    <a:pt x="146" y="57"/>
                  </a:cubicBezTo>
                  <a:cubicBezTo>
                    <a:pt x="147" y="56"/>
                    <a:pt x="148" y="56"/>
                    <a:pt x="149" y="55"/>
                  </a:cubicBezTo>
                  <a:cubicBezTo>
                    <a:pt x="149" y="55"/>
                    <a:pt x="149" y="54"/>
                    <a:pt x="150" y="54"/>
                  </a:cubicBezTo>
                  <a:cubicBezTo>
                    <a:pt x="150" y="54"/>
                    <a:pt x="151" y="53"/>
                    <a:pt x="151" y="53"/>
                  </a:cubicBezTo>
                  <a:cubicBezTo>
                    <a:pt x="155" y="50"/>
                    <a:pt x="159" y="47"/>
                    <a:pt x="163" y="44"/>
                  </a:cubicBezTo>
                  <a:cubicBezTo>
                    <a:pt x="167" y="41"/>
                    <a:pt x="171" y="39"/>
                    <a:pt x="175" y="36"/>
                  </a:cubicBezTo>
                  <a:cubicBezTo>
                    <a:pt x="175" y="36"/>
                    <a:pt x="176" y="35"/>
                    <a:pt x="176" y="35"/>
                  </a:cubicBezTo>
                  <a:cubicBezTo>
                    <a:pt x="176" y="36"/>
                    <a:pt x="176" y="37"/>
                    <a:pt x="176" y="38"/>
                  </a:cubicBezTo>
                  <a:cubicBezTo>
                    <a:pt x="176" y="49"/>
                    <a:pt x="177" y="60"/>
                    <a:pt x="176" y="71"/>
                  </a:cubicBezTo>
                  <a:cubicBezTo>
                    <a:pt x="176" y="91"/>
                    <a:pt x="175" y="112"/>
                    <a:pt x="182" y="132"/>
                  </a:cubicBezTo>
                  <a:cubicBezTo>
                    <a:pt x="187" y="150"/>
                    <a:pt x="199" y="166"/>
                    <a:pt x="212" y="179"/>
                  </a:cubicBezTo>
                  <a:cubicBezTo>
                    <a:pt x="226" y="192"/>
                    <a:pt x="243" y="202"/>
                    <a:pt x="262" y="205"/>
                  </a:cubicBezTo>
                  <a:cubicBezTo>
                    <a:pt x="275" y="207"/>
                    <a:pt x="288" y="207"/>
                    <a:pt x="301" y="205"/>
                  </a:cubicBezTo>
                  <a:cubicBezTo>
                    <a:pt x="308" y="204"/>
                    <a:pt x="315" y="203"/>
                    <a:pt x="322" y="201"/>
                  </a:cubicBezTo>
                  <a:cubicBezTo>
                    <a:pt x="327" y="200"/>
                    <a:pt x="332" y="199"/>
                    <a:pt x="337" y="196"/>
                  </a:cubicBezTo>
                  <a:cubicBezTo>
                    <a:pt x="340" y="197"/>
                    <a:pt x="343" y="197"/>
                    <a:pt x="346" y="195"/>
                  </a:cubicBezTo>
                  <a:cubicBezTo>
                    <a:pt x="350" y="194"/>
                    <a:pt x="354" y="192"/>
                    <a:pt x="357" y="190"/>
                  </a:cubicBezTo>
                  <a:cubicBezTo>
                    <a:pt x="364" y="186"/>
                    <a:pt x="370" y="181"/>
                    <a:pt x="375" y="175"/>
                  </a:cubicBezTo>
                  <a:cubicBezTo>
                    <a:pt x="380" y="170"/>
                    <a:pt x="384" y="163"/>
                    <a:pt x="387" y="156"/>
                  </a:cubicBezTo>
                  <a:cubicBezTo>
                    <a:pt x="392" y="146"/>
                    <a:pt x="395" y="136"/>
                    <a:pt x="399" y="126"/>
                  </a:cubicBezTo>
                  <a:cubicBezTo>
                    <a:pt x="405" y="107"/>
                    <a:pt x="408" y="87"/>
                    <a:pt x="411" y="67"/>
                  </a:cubicBezTo>
                  <a:cubicBezTo>
                    <a:pt x="413" y="56"/>
                    <a:pt x="413" y="46"/>
                    <a:pt x="413" y="35"/>
                  </a:cubicBezTo>
                  <a:cubicBezTo>
                    <a:pt x="417" y="40"/>
                    <a:pt x="421" y="44"/>
                    <a:pt x="426" y="48"/>
                  </a:cubicBezTo>
                  <a:cubicBezTo>
                    <a:pt x="432" y="54"/>
                    <a:pt x="437" y="62"/>
                    <a:pt x="443" y="68"/>
                  </a:cubicBezTo>
                  <a:cubicBezTo>
                    <a:pt x="446" y="71"/>
                    <a:pt x="448" y="74"/>
                    <a:pt x="451" y="76"/>
                  </a:cubicBezTo>
                  <a:cubicBezTo>
                    <a:pt x="453" y="79"/>
                    <a:pt x="454" y="82"/>
                    <a:pt x="457" y="84"/>
                  </a:cubicBezTo>
                  <a:cubicBezTo>
                    <a:pt x="457" y="89"/>
                    <a:pt x="459" y="94"/>
                    <a:pt x="462" y="98"/>
                  </a:cubicBezTo>
                  <a:cubicBezTo>
                    <a:pt x="467" y="105"/>
                    <a:pt x="476" y="110"/>
                    <a:pt x="484" y="109"/>
                  </a:cubicBezTo>
                  <a:cubicBezTo>
                    <a:pt x="492" y="108"/>
                    <a:pt x="500" y="103"/>
                    <a:pt x="503" y="95"/>
                  </a:cubicBezTo>
                  <a:cubicBezTo>
                    <a:pt x="503" y="95"/>
                    <a:pt x="503" y="95"/>
                    <a:pt x="503" y="95"/>
                  </a:cubicBezTo>
                  <a:cubicBezTo>
                    <a:pt x="509" y="96"/>
                    <a:pt x="515" y="95"/>
                    <a:pt x="521" y="95"/>
                  </a:cubicBezTo>
                  <a:cubicBezTo>
                    <a:pt x="529" y="94"/>
                    <a:pt x="537" y="93"/>
                    <a:pt x="545" y="93"/>
                  </a:cubicBezTo>
                  <a:cubicBezTo>
                    <a:pt x="547" y="104"/>
                    <a:pt x="558" y="111"/>
                    <a:pt x="569" y="111"/>
                  </a:cubicBezTo>
                  <a:cubicBezTo>
                    <a:pt x="571" y="111"/>
                    <a:pt x="572" y="111"/>
                    <a:pt x="573" y="110"/>
                  </a:cubicBezTo>
                  <a:cubicBezTo>
                    <a:pt x="574" y="112"/>
                    <a:pt x="575" y="114"/>
                    <a:pt x="577" y="116"/>
                  </a:cubicBezTo>
                  <a:cubicBezTo>
                    <a:pt x="579" y="119"/>
                    <a:pt x="581" y="123"/>
                    <a:pt x="584" y="125"/>
                  </a:cubicBezTo>
                  <a:cubicBezTo>
                    <a:pt x="590" y="128"/>
                    <a:pt x="597" y="120"/>
                    <a:pt x="592" y="115"/>
                  </a:cubicBezTo>
                  <a:cubicBezTo>
                    <a:pt x="589" y="113"/>
                    <a:pt x="587" y="112"/>
                    <a:pt x="585" y="110"/>
                  </a:cubicBezTo>
                  <a:cubicBezTo>
                    <a:pt x="584" y="109"/>
                    <a:pt x="583" y="108"/>
                    <a:pt x="582" y="107"/>
                  </a:cubicBezTo>
                  <a:cubicBezTo>
                    <a:pt x="583" y="107"/>
                    <a:pt x="584" y="106"/>
                    <a:pt x="585" y="106"/>
                  </a:cubicBezTo>
                  <a:cubicBezTo>
                    <a:pt x="587" y="107"/>
                    <a:pt x="590" y="108"/>
                    <a:pt x="591" y="109"/>
                  </a:cubicBezTo>
                  <a:cubicBezTo>
                    <a:pt x="595" y="112"/>
                    <a:pt x="600" y="114"/>
                    <a:pt x="605" y="114"/>
                  </a:cubicBezTo>
                  <a:cubicBezTo>
                    <a:pt x="604" y="114"/>
                    <a:pt x="604" y="114"/>
                    <a:pt x="604" y="114"/>
                  </a:cubicBezTo>
                  <a:cubicBezTo>
                    <a:pt x="607" y="115"/>
                    <a:pt x="609" y="115"/>
                    <a:pt x="611" y="113"/>
                  </a:cubicBezTo>
                  <a:cubicBezTo>
                    <a:pt x="615" y="109"/>
                    <a:pt x="613" y="103"/>
                    <a:pt x="608" y="102"/>
                  </a:cubicBezTo>
                  <a:cubicBezTo>
                    <a:pt x="603" y="100"/>
                    <a:pt x="598" y="99"/>
                    <a:pt x="594" y="98"/>
                  </a:cubicBezTo>
                  <a:cubicBezTo>
                    <a:pt x="594" y="96"/>
                    <a:pt x="595" y="95"/>
                    <a:pt x="596" y="94"/>
                  </a:cubicBezTo>
                  <a:cubicBezTo>
                    <a:pt x="598" y="94"/>
                    <a:pt x="601" y="94"/>
                    <a:pt x="603" y="94"/>
                  </a:cubicBezTo>
                  <a:cubicBezTo>
                    <a:pt x="607" y="95"/>
                    <a:pt x="614" y="95"/>
                    <a:pt x="617" y="93"/>
                  </a:cubicBezTo>
                  <a:cubicBezTo>
                    <a:pt x="623" y="90"/>
                    <a:pt x="621" y="81"/>
                    <a:pt x="614" y="81"/>
                  </a:cubicBezTo>
                  <a:close/>
                  <a:moveTo>
                    <a:pt x="51" y="85"/>
                  </a:moveTo>
                  <a:cubicBezTo>
                    <a:pt x="51" y="85"/>
                    <a:pt x="51" y="85"/>
                    <a:pt x="51" y="85"/>
                  </a:cubicBezTo>
                  <a:cubicBezTo>
                    <a:pt x="50" y="87"/>
                    <a:pt x="50" y="87"/>
                    <a:pt x="49" y="88"/>
                  </a:cubicBezTo>
                  <a:cubicBezTo>
                    <a:pt x="48" y="89"/>
                    <a:pt x="47" y="90"/>
                    <a:pt x="45" y="91"/>
                  </a:cubicBezTo>
                  <a:cubicBezTo>
                    <a:pt x="44" y="91"/>
                    <a:pt x="41" y="92"/>
                    <a:pt x="39" y="91"/>
                  </a:cubicBezTo>
                  <a:cubicBezTo>
                    <a:pt x="36" y="91"/>
                    <a:pt x="34" y="88"/>
                    <a:pt x="32" y="85"/>
                  </a:cubicBezTo>
                  <a:cubicBezTo>
                    <a:pt x="30" y="81"/>
                    <a:pt x="31" y="77"/>
                    <a:pt x="33" y="74"/>
                  </a:cubicBezTo>
                  <a:cubicBezTo>
                    <a:pt x="36" y="75"/>
                    <a:pt x="41" y="74"/>
                    <a:pt x="44" y="75"/>
                  </a:cubicBezTo>
                  <a:cubicBezTo>
                    <a:pt x="48" y="75"/>
                    <a:pt x="51" y="78"/>
                    <a:pt x="52" y="80"/>
                  </a:cubicBezTo>
                  <a:cubicBezTo>
                    <a:pt x="52" y="82"/>
                    <a:pt x="52" y="83"/>
                    <a:pt x="51" y="85"/>
                  </a:cubicBezTo>
                  <a:close/>
                  <a:moveTo>
                    <a:pt x="128" y="68"/>
                  </a:moveTo>
                  <a:cubicBezTo>
                    <a:pt x="128" y="68"/>
                    <a:pt x="128" y="68"/>
                    <a:pt x="128" y="68"/>
                  </a:cubicBezTo>
                  <a:cubicBezTo>
                    <a:pt x="126" y="74"/>
                    <a:pt x="120" y="76"/>
                    <a:pt x="115" y="73"/>
                  </a:cubicBezTo>
                  <a:cubicBezTo>
                    <a:pt x="110" y="70"/>
                    <a:pt x="111" y="62"/>
                    <a:pt x="114" y="59"/>
                  </a:cubicBezTo>
                  <a:cubicBezTo>
                    <a:pt x="116" y="57"/>
                    <a:pt x="118" y="56"/>
                    <a:pt x="120" y="55"/>
                  </a:cubicBezTo>
                  <a:cubicBezTo>
                    <a:pt x="122" y="55"/>
                    <a:pt x="124" y="56"/>
                    <a:pt x="125" y="56"/>
                  </a:cubicBezTo>
                  <a:cubicBezTo>
                    <a:pt x="126" y="57"/>
                    <a:pt x="128" y="58"/>
                    <a:pt x="129" y="60"/>
                  </a:cubicBezTo>
                  <a:cubicBezTo>
                    <a:pt x="130" y="61"/>
                    <a:pt x="129" y="65"/>
                    <a:pt x="128" y="68"/>
                  </a:cubicBezTo>
                  <a:close/>
                  <a:moveTo>
                    <a:pt x="399" y="58"/>
                  </a:moveTo>
                  <a:cubicBezTo>
                    <a:pt x="399" y="58"/>
                    <a:pt x="399" y="58"/>
                    <a:pt x="399" y="58"/>
                  </a:cubicBezTo>
                  <a:cubicBezTo>
                    <a:pt x="398" y="68"/>
                    <a:pt x="396" y="78"/>
                    <a:pt x="394" y="87"/>
                  </a:cubicBezTo>
                  <a:cubicBezTo>
                    <a:pt x="393" y="97"/>
                    <a:pt x="391" y="107"/>
                    <a:pt x="388" y="117"/>
                  </a:cubicBezTo>
                  <a:cubicBezTo>
                    <a:pt x="385" y="126"/>
                    <a:pt x="382" y="135"/>
                    <a:pt x="378" y="144"/>
                  </a:cubicBezTo>
                  <a:cubicBezTo>
                    <a:pt x="374" y="151"/>
                    <a:pt x="371" y="158"/>
                    <a:pt x="366" y="164"/>
                  </a:cubicBezTo>
                  <a:cubicBezTo>
                    <a:pt x="362" y="170"/>
                    <a:pt x="357" y="174"/>
                    <a:pt x="351" y="178"/>
                  </a:cubicBezTo>
                  <a:cubicBezTo>
                    <a:pt x="348" y="180"/>
                    <a:pt x="345" y="182"/>
                    <a:pt x="342" y="183"/>
                  </a:cubicBezTo>
                  <a:cubicBezTo>
                    <a:pt x="341" y="184"/>
                    <a:pt x="340" y="184"/>
                    <a:pt x="339" y="185"/>
                  </a:cubicBezTo>
                  <a:cubicBezTo>
                    <a:pt x="334" y="184"/>
                    <a:pt x="329" y="185"/>
                    <a:pt x="324" y="186"/>
                  </a:cubicBezTo>
                  <a:cubicBezTo>
                    <a:pt x="319" y="188"/>
                    <a:pt x="314" y="189"/>
                    <a:pt x="308" y="190"/>
                  </a:cubicBezTo>
                  <a:cubicBezTo>
                    <a:pt x="298" y="192"/>
                    <a:pt x="288" y="193"/>
                    <a:pt x="278" y="193"/>
                  </a:cubicBezTo>
                  <a:cubicBezTo>
                    <a:pt x="260" y="193"/>
                    <a:pt x="242" y="187"/>
                    <a:pt x="228" y="176"/>
                  </a:cubicBezTo>
                  <a:cubicBezTo>
                    <a:pt x="214" y="164"/>
                    <a:pt x="202" y="150"/>
                    <a:pt x="195" y="133"/>
                  </a:cubicBezTo>
                  <a:cubicBezTo>
                    <a:pt x="188" y="114"/>
                    <a:pt x="188" y="93"/>
                    <a:pt x="188" y="73"/>
                  </a:cubicBezTo>
                  <a:cubicBezTo>
                    <a:pt x="189" y="62"/>
                    <a:pt x="188" y="51"/>
                    <a:pt x="188" y="39"/>
                  </a:cubicBezTo>
                  <a:cubicBezTo>
                    <a:pt x="187" y="34"/>
                    <a:pt x="187" y="29"/>
                    <a:pt x="187" y="23"/>
                  </a:cubicBezTo>
                  <a:cubicBezTo>
                    <a:pt x="187" y="21"/>
                    <a:pt x="187" y="19"/>
                    <a:pt x="187" y="17"/>
                  </a:cubicBezTo>
                  <a:cubicBezTo>
                    <a:pt x="187" y="17"/>
                    <a:pt x="186" y="16"/>
                    <a:pt x="186" y="16"/>
                  </a:cubicBezTo>
                  <a:cubicBezTo>
                    <a:pt x="186" y="15"/>
                    <a:pt x="186" y="15"/>
                    <a:pt x="186" y="15"/>
                  </a:cubicBezTo>
                  <a:cubicBezTo>
                    <a:pt x="191" y="17"/>
                    <a:pt x="197" y="18"/>
                    <a:pt x="202" y="18"/>
                  </a:cubicBezTo>
                  <a:cubicBezTo>
                    <a:pt x="210" y="18"/>
                    <a:pt x="218" y="18"/>
                    <a:pt x="226" y="19"/>
                  </a:cubicBezTo>
                  <a:cubicBezTo>
                    <a:pt x="231" y="19"/>
                    <a:pt x="236" y="19"/>
                    <a:pt x="240" y="18"/>
                  </a:cubicBezTo>
                  <a:cubicBezTo>
                    <a:pt x="245" y="18"/>
                    <a:pt x="250" y="18"/>
                    <a:pt x="255" y="18"/>
                  </a:cubicBezTo>
                  <a:cubicBezTo>
                    <a:pt x="265" y="18"/>
                    <a:pt x="276" y="17"/>
                    <a:pt x="286" y="16"/>
                  </a:cubicBezTo>
                  <a:cubicBezTo>
                    <a:pt x="306" y="16"/>
                    <a:pt x="326" y="16"/>
                    <a:pt x="346" y="15"/>
                  </a:cubicBezTo>
                  <a:cubicBezTo>
                    <a:pt x="356" y="15"/>
                    <a:pt x="366" y="15"/>
                    <a:pt x="376" y="15"/>
                  </a:cubicBezTo>
                  <a:cubicBezTo>
                    <a:pt x="384" y="14"/>
                    <a:pt x="392" y="14"/>
                    <a:pt x="400" y="14"/>
                  </a:cubicBezTo>
                  <a:cubicBezTo>
                    <a:pt x="399" y="18"/>
                    <a:pt x="399" y="23"/>
                    <a:pt x="400" y="28"/>
                  </a:cubicBezTo>
                  <a:cubicBezTo>
                    <a:pt x="401" y="38"/>
                    <a:pt x="400" y="48"/>
                    <a:pt x="399" y="58"/>
                  </a:cubicBezTo>
                  <a:close/>
                  <a:moveTo>
                    <a:pt x="486" y="95"/>
                  </a:moveTo>
                  <a:cubicBezTo>
                    <a:pt x="486" y="95"/>
                    <a:pt x="486" y="95"/>
                    <a:pt x="486" y="95"/>
                  </a:cubicBezTo>
                  <a:cubicBezTo>
                    <a:pt x="483" y="97"/>
                    <a:pt x="478" y="95"/>
                    <a:pt x="475" y="93"/>
                  </a:cubicBezTo>
                  <a:cubicBezTo>
                    <a:pt x="472" y="91"/>
                    <a:pt x="469" y="87"/>
                    <a:pt x="470" y="83"/>
                  </a:cubicBezTo>
                  <a:cubicBezTo>
                    <a:pt x="470" y="81"/>
                    <a:pt x="471" y="80"/>
                    <a:pt x="471" y="79"/>
                  </a:cubicBezTo>
                  <a:cubicBezTo>
                    <a:pt x="474" y="80"/>
                    <a:pt x="478" y="79"/>
                    <a:pt x="480" y="79"/>
                  </a:cubicBezTo>
                  <a:cubicBezTo>
                    <a:pt x="486" y="78"/>
                    <a:pt x="491" y="80"/>
                    <a:pt x="492" y="86"/>
                  </a:cubicBezTo>
                  <a:cubicBezTo>
                    <a:pt x="492" y="89"/>
                    <a:pt x="489" y="93"/>
                    <a:pt x="486" y="95"/>
                  </a:cubicBezTo>
                  <a:close/>
                  <a:moveTo>
                    <a:pt x="570" y="97"/>
                  </a:moveTo>
                  <a:cubicBezTo>
                    <a:pt x="570" y="97"/>
                    <a:pt x="570" y="97"/>
                    <a:pt x="570" y="97"/>
                  </a:cubicBezTo>
                  <a:cubicBezTo>
                    <a:pt x="570" y="97"/>
                    <a:pt x="570" y="97"/>
                    <a:pt x="570" y="97"/>
                  </a:cubicBezTo>
                  <a:cubicBezTo>
                    <a:pt x="569" y="97"/>
                    <a:pt x="568" y="97"/>
                    <a:pt x="567" y="97"/>
                  </a:cubicBezTo>
                  <a:cubicBezTo>
                    <a:pt x="567" y="97"/>
                    <a:pt x="566" y="97"/>
                    <a:pt x="566" y="97"/>
                  </a:cubicBezTo>
                  <a:cubicBezTo>
                    <a:pt x="565" y="97"/>
                    <a:pt x="564" y="97"/>
                    <a:pt x="563" y="96"/>
                  </a:cubicBezTo>
                  <a:cubicBezTo>
                    <a:pt x="563" y="96"/>
                    <a:pt x="561" y="95"/>
                    <a:pt x="561" y="95"/>
                  </a:cubicBezTo>
                  <a:cubicBezTo>
                    <a:pt x="559" y="94"/>
                    <a:pt x="559" y="94"/>
                    <a:pt x="559" y="92"/>
                  </a:cubicBezTo>
                  <a:cubicBezTo>
                    <a:pt x="558" y="88"/>
                    <a:pt x="558" y="84"/>
                    <a:pt x="561" y="81"/>
                  </a:cubicBezTo>
                  <a:cubicBezTo>
                    <a:pt x="562" y="80"/>
                    <a:pt x="563" y="80"/>
                    <a:pt x="564" y="79"/>
                  </a:cubicBezTo>
                  <a:cubicBezTo>
                    <a:pt x="569" y="82"/>
                    <a:pt x="574" y="81"/>
                    <a:pt x="579" y="84"/>
                  </a:cubicBezTo>
                  <a:cubicBezTo>
                    <a:pt x="581" y="84"/>
                    <a:pt x="581" y="85"/>
                    <a:pt x="582" y="87"/>
                  </a:cubicBezTo>
                  <a:cubicBezTo>
                    <a:pt x="582" y="87"/>
                    <a:pt x="583" y="87"/>
                    <a:pt x="583" y="87"/>
                  </a:cubicBezTo>
                  <a:cubicBezTo>
                    <a:pt x="583" y="87"/>
                    <a:pt x="583" y="87"/>
                    <a:pt x="583" y="88"/>
                  </a:cubicBezTo>
                  <a:cubicBezTo>
                    <a:pt x="583" y="88"/>
                    <a:pt x="583" y="88"/>
                    <a:pt x="583" y="88"/>
                  </a:cubicBezTo>
                  <a:cubicBezTo>
                    <a:pt x="583" y="88"/>
                    <a:pt x="583" y="88"/>
                    <a:pt x="583" y="88"/>
                  </a:cubicBezTo>
                  <a:cubicBezTo>
                    <a:pt x="583" y="88"/>
                    <a:pt x="583" y="89"/>
                    <a:pt x="583" y="90"/>
                  </a:cubicBezTo>
                  <a:cubicBezTo>
                    <a:pt x="583" y="90"/>
                    <a:pt x="583" y="90"/>
                    <a:pt x="583" y="90"/>
                  </a:cubicBezTo>
                  <a:cubicBezTo>
                    <a:pt x="582" y="90"/>
                    <a:pt x="582" y="90"/>
                    <a:pt x="582" y="90"/>
                  </a:cubicBezTo>
                  <a:cubicBezTo>
                    <a:pt x="582" y="91"/>
                    <a:pt x="582" y="91"/>
                    <a:pt x="582" y="91"/>
                  </a:cubicBezTo>
                  <a:cubicBezTo>
                    <a:pt x="582" y="91"/>
                    <a:pt x="582" y="91"/>
                    <a:pt x="582" y="91"/>
                  </a:cubicBezTo>
                  <a:cubicBezTo>
                    <a:pt x="581" y="92"/>
                    <a:pt x="580" y="92"/>
                    <a:pt x="580" y="93"/>
                  </a:cubicBezTo>
                  <a:cubicBezTo>
                    <a:pt x="580" y="93"/>
                    <a:pt x="579" y="94"/>
                    <a:pt x="579" y="94"/>
                  </a:cubicBezTo>
                  <a:cubicBezTo>
                    <a:pt x="578" y="95"/>
                    <a:pt x="577" y="95"/>
                    <a:pt x="576" y="95"/>
                  </a:cubicBezTo>
                  <a:cubicBezTo>
                    <a:pt x="576" y="96"/>
                    <a:pt x="576" y="96"/>
                    <a:pt x="575" y="96"/>
                  </a:cubicBezTo>
                  <a:cubicBezTo>
                    <a:pt x="575" y="96"/>
                    <a:pt x="575" y="96"/>
                    <a:pt x="574" y="96"/>
                  </a:cubicBezTo>
                  <a:cubicBezTo>
                    <a:pt x="573" y="96"/>
                    <a:pt x="572" y="97"/>
                    <a:pt x="571" y="97"/>
                  </a:cubicBezTo>
                  <a:cubicBezTo>
                    <a:pt x="571" y="97"/>
                    <a:pt x="571" y="97"/>
                    <a:pt x="570" y="97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i$ļïḑe"/>
            <p:cNvSpPr/>
            <p:nvPr/>
          </p:nvSpPr>
          <p:spPr bwMode="auto">
            <a:xfrm>
              <a:off x="6185981" y="4651721"/>
              <a:ext cx="91464" cy="91464"/>
            </a:xfrm>
            <a:prstGeom prst="ellipse">
              <a:avLst/>
            </a:pr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ïṩḻidè"/>
            <p:cNvSpPr/>
            <p:nvPr/>
          </p:nvSpPr>
          <p:spPr bwMode="auto">
            <a:xfrm>
              <a:off x="6341806" y="4651721"/>
              <a:ext cx="91464" cy="91464"/>
            </a:xfrm>
            <a:prstGeom prst="ellipse">
              <a:avLst/>
            </a:pr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îṩḷide"/>
            <p:cNvSpPr/>
            <p:nvPr/>
          </p:nvSpPr>
          <p:spPr bwMode="auto">
            <a:xfrm>
              <a:off x="6453595" y="4651721"/>
              <a:ext cx="115175" cy="84689"/>
            </a:xfrm>
            <a:custGeom>
              <a:avLst/>
              <a:gdLst>
                <a:gd name="T0" fmla="*/ 8 w 16"/>
                <a:gd name="T1" fmla="*/ 0 h 12"/>
                <a:gd name="T2" fmla="*/ 8 w 16"/>
                <a:gd name="T3" fmla="*/ 12 h 12"/>
                <a:gd name="T4" fmla="*/ 8 w 1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cubicBezTo>
                    <a:pt x="0" y="0"/>
                    <a:pt x="0" y="12"/>
                    <a:pt x="8" y="12"/>
                  </a:cubicBezTo>
                  <a:cubicBezTo>
                    <a:pt x="16" y="12"/>
                    <a:pt x="16" y="0"/>
                    <a:pt x="8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ïšḷïḋe"/>
            <p:cNvSpPr/>
            <p:nvPr/>
          </p:nvSpPr>
          <p:spPr bwMode="auto">
            <a:xfrm>
              <a:off x="5376367" y="4089395"/>
              <a:ext cx="1199178" cy="484415"/>
            </a:xfrm>
            <a:custGeom>
              <a:avLst/>
              <a:gdLst>
                <a:gd name="T0" fmla="*/ 149 w 170"/>
                <a:gd name="T1" fmla="*/ 66 h 69"/>
                <a:gd name="T2" fmla="*/ 149 w 170"/>
                <a:gd name="T3" fmla="*/ 66 h 69"/>
                <a:gd name="T4" fmla="*/ 126 w 170"/>
                <a:gd name="T5" fmla="*/ 68 h 69"/>
                <a:gd name="T6" fmla="*/ 104 w 170"/>
                <a:gd name="T7" fmla="*/ 68 h 69"/>
                <a:gd name="T8" fmla="*/ 82 w 170"/>
                <a:gd name="T9" fmla="*/ 69 h 69"/>
                <a:gd name="T10" fmla="*/ 38 w 170"/>
                <a:gd name="T11" fmla="*/ 69 h 69"/>
                <a:gd name="T12" fmla="*/ 18 w 170"/>
                <a:gd name="T13" fmla="*/ 68 h 69"/>
                <a:gd name="T14" fmla="*/ 8 w 170"/>
                <a:gd name="T15" fmla="*/ 69 h 69"/>
                <a:gd name="T16" fmla="*/ 3 w 170"/>
                <a:gd name="T17" fmla="*/ 69 h 69"/>
                <a:gd name="T18" fmla="*/ 4 w 170"/>
                <a:gd name="T19" fmla="*/ 56 h 69"/>
                <a:gd name="T20" fmla="*/ 2 w 170"/>
                <a:gd name="T21" fmla="*/ 38 h 69"/>
                <a:gd name="T22" fmla="*/ 1 w 170"/>
                <a:gd name="T23" fmla="*/ 20 h 69"/>
                <a:gd name="T24" fmla="*/ 0 w 170"/>
                <a:gd name="T25" fmla="*/ 13 h 69"/>
                <a:gd name="T26" fmla="*/ 1 w 170"/>
                <a:gd name="T27" fmla="*/ 12 h 69"/>
                <a:gd name="T28" fmla="*/ 3 w 170"/>
                <a:gd name="T29" fmla="*/ 5 h 69"/>
                <a:gd name="T30" fmla="*/ 3 w 170"/>
                <a:gd name="T31" fmla="*/ 4 h 69"/>
                <a:gd name="T32" fmla="*/ 4 w 170"/>
                <a:gd name="T33" fmla="*/ 4 h 69"/>
                <a:gd name="T34" fmla="*/ 4 w 170"/>
                <a:gd name="T35" fmla="*/ 4 h 69"/>
                <a:gd name="T36" fmla="*/ 8 w 170"/>
                <a:gd name="T37" fmla="*/ 3 h 69"/>
                <a:gd name="T38" fmla="*/ 30 w 170"/>
                <a:gd name="T39" fmla="*/ 3 h 69"/>
                <a:gd name="T40" fmla="*/ 77 w 170"/>
                <a:gd name="T41" fmla="*/ 3 h 69"/>
                <a:gd name="T42" fmla="*/ 124 w 170"/>
                <a:gd name="T43" fmla="*/ 2 h 69"/>
                <a:gd name="T44" fmla="*/ 168 w 170"/>
                <a:gd name="T45" fmla="*/ 0 h 69"/>
                <a:gd name="T46" fmla="*/ 169 w 170"/>
                <a:gd name="T47" fmla="*/ 0 h 69"/>
                <a:gd name="T48" fmla="*/ 170 w 170"/>
                <a:gd name="T49" fmla="*/ 6 h 69"/>
                <a:gd name="T50" fmla="*/ 169 w 170"/>
                <a:gd name="T51" fmla="*/ 15 h 69"/>
                <a:gd name="T52" fmla="*/ 168 w 170"/>
                <a:gd name="T53" fmla="*/ 34 h 69"/>
                <a:gd name="T54" fmla="*/ 168 w 170"/>
                <a:gd name="T55" fmla="*/ 55 h 69"/>
                <a:gd name="T56" fmla="*/ 167 w 170"/>
                <a:gd name="T57" fmla="*/ 65 h 69"/>
                <a:gd name="T58" fmla="*/ 149 w 170"/>
                <a:gd name="T59" fmla="*/ 6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70" h="69">
                  <a:moveTo>
                    <a:pt x="149" y="66"/>
                  </a:moveTo>
                  <a:cubicBezTo>
                    <a:pt x="149" y="66"/>
                    <a:pt x="149" y="66"/>
                    <a:pt x="149" y="66"/>
                  </a:cubicBezTo>
                  <a:cubicBezTo>
                    <a:pt x="141" y="67"/>
                    <a:pt x="134" y="68"/>
                    <a:pt x="126" y="68"/>
                  </a:cubicBezTo>
                  <a:cubicBezTo>
                    <a:pt x="119" y="68"/>
                    <a:pt x="111" y="67"/>
                    <a:pt x="104" y="68"/>
                  </a:cubicBezTo>
                  <a:cubicBezTo>
                    <a:pt x="97" y="68"/>
                    <a:pt x="89" y="69"/>
                    <a:pt x="82" y="69"/>
                  </a:cubicBezTo>
                  <a:cubicBezTo>
                    <a:pt x="67" y="69"/>
                    <a:pt x="53" y="69"/>
                    <a:pt x="38" y="69"/>
                  </a:cubicBezTo>
                  <a:cubicBezTo>
                    <a:pt x="31" y="69"/>
                    <a:pt x="25" y="68"/>
                    <a:pt x="18" y="68"/>
                  </a:cubicBezTo>
                  <a:cubicBezTo>
                    <a:pt x="15" y="68"/>
                    <a:pt x="11" y="69"/>
                    <a:pt x="8" y="69"/>
                  </a:cubicBezTo>
                  <a:cubicBezTo>
                    <a:pt x="6" y="69"/>
                    <a:pt x="4" y="69"/>
                    <a:pt x="3" y="69"/>
                  </a:cubicBezTo>
                  <a:cubicBezTo>
                    <a:pt x="4" y="65"/>
                    <a:pt x="4" y="60"/>
                    <a:pt x="4" y="56"/>
                  </a:cubicBezTo>
                  <a:cubicBezTo>
                    <a:pt x="4" y="50"/>
                    <a:pt x="3" y="44"/>
                    <a:pt x="2" y="38"/>
                  </a:cubicBezTo>
                  <a:cubicBezTo>
                    <a:pt x="2" y="32"/>
                    <a:pt x="1" y="26"/>
                    <a:pt x="1" y="20"/>
                  </a:cubicBezTo>
                  <a:cubicBezTo>
                    <a:pt x="0" y="17"/>
                    <a:pt x="0" y="15"/>
                    <a:pt x="0" y="13"/>
                  </a:cubicBezTo>
                  <a:cubicBezTo>
                    <a:pt x="0" y="13"/>
                    <a:pt x="1" y="13"/>
                    <a:pt x="1" y="12"/>
                  </a:cubicBezTo>
                  <a:cubicBezTo>
                    <a:pt x="1" y="10"/>
                    <a:pt x="1" y="7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3"/>
                    <a:pt x="7" y="3"/>
                    <a:pt x="8" y="3"/>
                  </a:cubicBezTo>
                  <a:cubicBezTo>
                    <a:pt x="16" y="2"/>
                    <a:pt x="23" y="2"/>
                    <a:pt x="30" y="3"/>
                  </a:cubicBezTo>
                  <a:cubicBezTo>
                    <a:pt x="46" y="4"/>
                    <a:pt x="62" y="3"/>
                    <a:pt x="77" y="3"/>
                  </a:cubicBezTo>
                  <a:cubicBezTo>
                    <a:pt x="93" y="3"/>
                    <a:pt x="109" y="3"/>
                    <a:pt x="124" y="2"/>
                  </a:cubicBezTo>
                  <a:cubicBezTo>
                    <a:pt x="139" y="1"/>
                    <a:pt x="154" y="0"/>
                    <a:pt x="168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2"/>
                    <a:pt x="170" y="4"/>
                    <a:pt x="170" y="6"/>
                  </a:cubicBezTo>
                  <a:cubicBezTo>
                    <a:pt x="170" y="9"/>
                    <a:pt x="169" y="12"/>
                    <a:pt x="169" y="15"/>
                  </a:cubicBezTo>
                  <a:cubicBezTo>
                    <a:pt x="168" y="21"/>
                    <a:pt x="168" y="28"/>
                    <a:pt x="168" y="34"/>
                  </a:cubicBezTo>
                  <a:cubicBezTo>
                    <a:pt x="168" y="41"/>
                    <a:pt x="168" y="48"/>
                    <a:pt x="168" y="55"/>
                  </a:cubicBezTo>
                  <a:cubicBezTo>
                    <a:pt x="167" y="58"/>
                    <a:pt x="167" y="61"/>
                    <a:pt x="167" y="65"/>
                  </a:cubicBezTo>
                  <a:cubicBezTo>
                    <a:pt x="161" y="66"/>
                    <a:pt x="155" y="66"/>
                    <a:pt x="149" y="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ïşliḍê"/>
            <p:cNvSpPr/>
            <p:nvPr/>
          </p:nvSpPr>
          <p:spPr bwMode="auto">
            <a:xfrm>
              <a:off x="6463757" y="4089395"/>
              <a:ext cx="111789" cy="464090"/>
            </a:xfrm>
            <a:custGeom>
              <a:avLst/>
              <a:gdLst>
                <a:gd name="T0" fmla="*/ 11 w 16"/>
                <a:gd name="T1" fmla="*/ 0 h 66"/>
                <a:gd name="T2" fmla="*/ 14 w 16"/>
                <a:gd name="T3" fmla="*/ 0 h 66"/>
                <a:gd name="T4" fmla="*/ 15 w 16"/>
                <a:gd name="T5" fmla="*/ 0 h 66"/>
                <a:gd name="T6" fmla="*/ 16 w 16"/>
                <a:gd name="T7" fmla="*/ 6 h 66"/>
                <a:gd name="T8" fmla="*/ 15 w 16"/>
                <a:gd name="T9" fmla="*/ 15 h 66"/>
                <a:gd name="T10" fmla="*/ 14 w 16"/>
                <a:gd name="T11" fmla="*/ 34 h 66"/>
                <a:gd name="T12" fmla="*/ 14 w 16"/>
                <a:gd name="T13" fmla="*/ 55 h 66"/>
                <a:gd name="T14" fmla="*/ 13 w 16"/>
                <a:gd name="T15" fmla="*/ 65 h 66"/>
                <a:gd name="T16" fmla="*/ 0 w 16"/>
                <a:gd name="T17" fmla="*/ 66 h 66"/>
                <a:gd name="T18" fmla="*/ 11 w 1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66">
                  <a:moveTo>
                    <a:pt x="11" y="0"/>
                  </a:move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2"/>
                    <a:pt x="16" y="4"/>
                    <a:pt x="16" y="6"/>
                  </a:cubicBezTo>
                  <a:cubicBezTo>
                    <a:pt x="16" y="9"/>
                    <a:pt x="15" y="12"/>
                    <a:pt x="15" y="15"/>
                  </a:cubicBezTo>
                  <a:cubicBezTo>
                    <a:pt x="14" y="21"/>
                    <a:pt x="14" y="28"/>
                    <a:pt x="14" y="34"/>
                  </a:cubicBezTo>
                  <a:cubicBezTo>
                    <a:pt x="14" y="41"/>
                    <a:pt x="14" y="48"/>
                    <a:pt x="14" y="55"/>
                  </a:cubicBezTo>
                  <a:cubicBezTo>
                    <a:pt x="13" y="58"/>
                    <a:pt x="13" y="61"/>
                    <a:pt x="13" y="65"/>
                  </a:cubicBezTo>
                  <a:cubicBezTo>
                    <a:pt x="9" y="65"/>
                    <a:pt x="5" y="66"/>
                    <a:pt x="0" y="66"/>
                  </a:cubicBezTo>
                  <a:cubicBezTo>
                    <a:pt x="7" y="42"/>
                    <a:pt x="10" y="18"/>
                    <a:pt x="11" y="0"/>
                  </a:cubicBezTo>
                  <a:close/>
                </a:path>
              </a:pathLst>
            </a:custGeom>
            <a:solidFill>
              <a:srgbClr val="DB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íṣļïḍe"/>
            <p:cNvSpPr/>
            <p:nvPr/>
          </p:nvSpPr>
          <p:spPr bwMode="auto">
            <a:xfrm>
              <a:off x="6138556" y="3120567"/>
              <a:ext cx="240514" cy="210025"/>
            </a:xfrm>
            <a:custGeom>
              <a:avLst/>
              <a:gdLst>
                <a:gd name="T0" fmla="*/ 19 w 34"/>
                <a:gd name="T1" fmla="*/ 28 h 30"/>
                <a:gd name="T2" fmla="*/ 31 w 34"/>
                <a:gd name="T3" fmla="*/ 10 h 30"/>
                <a:gd name="T4" fmla="*/ 14 w 34"/>
                <a:gd name="T5" fmla="*/ 0 h 30"/>
                <a:gd name="T6" fmla="*/ 7 w 34"/>
                <a:gd name="T7" fmla="*/ 3 h 30"/>
                <a:gd name="T8" fmla="*/ 4 w 34"/>
                <a:gd name="T9" fmla="*/ 5 h 30"/>
                <a:gd name="T10" fmla="*/ 0 w 34"/>
                <a:gd name="T11" fmla="*/ 15 h 30"/>
                <a:gd name="T12" fmla="*/ 19 w 34"/>
                <a:gd name="T13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0">
                  <a:moveTo>
                    <a:pt x="19" y="28"/>
                  </a:moveTo>
                  <a:cubicBezTo>
                    <a:pt x="27" y="27"/>
                    <a:pt x="34" y="18"/>
                    <a:pt x="31" y="10"/>
                  </a:cubicBezTo>
                  <a:cubicBezTo>
                    <a:pt x="29" y="3"/>
                    <a:pt x="20" y="0"/>
                    <a:pt x="14" y="0"/>
                  </a:cubicBezTo>
                  <a:cubicBezTo>
                    <a:pt x="11" y="0"/>
                    <a:pt x="8" y="1"/>
                    <a:pt x="7" y="3"/>
                  </a:cubicBezTo>
                  <a:cubicBezTo>
                    <a:pt x="6" y="3"/>
                    <a:pt x="5" y="4"/>
                    <a:pt x="4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4"/>
                    <a:pt x="11" y="30"/>
                    <a:pt x="19" y="2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íś1iḑe"/>
            <p:cNvSpPr/>
            <p:nvPr/>
          </p:nvSpPr>
          <p:spPr bwMode="auto">
            <a:xfrm>
              <a:off x="5518643" y="3120567"/>
              <a:ext cx="233739" cy="250676"/>
            </a:xfrm>
            <a:custGeom>
              <a:avLst/>
              <a:gdLst>
                <a:gd name="T0" fmla="*/ 30 w 33"/>
                <a:gd name="T1" fmla="*/ 11 h 36"/>
                <a:gd name="T2" fmla="*/ 17 w 33"/>
                <a:gd name="T3" fmla="*/ 1 h 36"/>
                <a:gd name="T4" fmla="*/ 11 w 33"/>
                <a:gd name="T5" fmla="*/ 2 h 36"/>
                <a:gd name="T6" fmla="*/ 2 w 33"/>
                <a:gd name="T7" fmla="*/ 8 h 36"/>
                <a:gd name="T8" fmla="*/ 3 w 33"/>
                <a:gd name="T9" fmla="*/ 23 h 36"/>
                <a:gd name="T10" fmla="*/ 30 w 33"/>
                <a:gd name="T11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6">
                  <a:moveTo>
                    <a:pt x="30" y="11"/>
                  </a:moveTo>
                  <a:cubicBezTo>
                    <a:pt x="29" y="5"/>
                    <a:pt x="23" y="0"/>
                    <a:pt x="17" y="1"/>
                  </a:cubicBezTo>
                  <a:cubicBezTo>
                    <a:pt x="15" y="1"/>
                    <a:pt x="12" y="1"/>
                    <a:pt x="11" y="2"/>
                  </a:cubicBezTo>
                  <a:cubicBezTo>
                    <a:pt x="7" y="3"/>
                    <a:pt x="4" y="5"/>
                    <a:pt x="2" y="8"/>
                  </a:cubicBezTo>
                  <a:cubicBezTo>
                    <a:pt x="0" y="12"/>
                    <a:pt x="0" y="18"/>
                    <a:pt x="3" y="23"/>
                  </a:cubicBezTo>
                  <a:cubicBezTo>
                    <a:pt x="11" y="36"/>
                    <a:pt x="33" y="26"/>
                    <a:pt x="30" y="1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íśľïďé"/>
            <p:cNvSpPr/>
            <p:nvPr/>
          </p:nvSpPr>
          <p:spPr bwMode="auto">
            <a:xfrm>
              <a:off x="5420404" y="3401730"/>
              <a:ext cx="1063678" cy="335364"/>
            </a:xfrm>
            <a:custGeom>
              <a:avLst/>
              <a:gdLst>
                <a:gd name="T0" fmla="*/ 1 w 151"/>
                <a:gd name="T1" fmla="*/ 42 h 48"/>
                <a:gd name="T2" fmla="*/ 1 w 151"/>
                <a:gd name="T3" fmla="*/ 42 h 48"/>
                <a:gd name="T4" fmla="*/ 2 w 151"/>
                <a:gd name="T5" fmla="*/ 44 h 48"/>
                <a:gd name="T6" fmla="*/ 10 w 151"/>
                <a:gd name="T7" fmla="*/ 46 h 48"/>
                <a:gd name="T8" fmla="*/ 19 w 151"/>
                <a:gd name="T9" fmla="*/ 46 h 48"/>
                <a:gd name="T10" fmla="*/ 38 w 151"/>
                <a:gd name="T11" fmla="*/ 46 h 48"/>
                <a:gd name="T12" fmla="*/ 57 w 151"/>
                <a:gd name="T13" fmla="*/ 46 h 48"/>
                <a:gd name="T14" fmla="*/ 76 w 151"/>
                <a:gd name="T15" fmla="*/ 48 h 48"/>
                <a:gd name="T16" fmla="*/ 94 w 151"/>
                <a:gd name="T17" fmla="*/ 47 h 48"/>
                <a:gd name="T18" fmla="*/ 113 w 151"/>
                <a:gd name="T19" fmla="*/ 46 h 48"/>
                <a:gd name="T20" fmla="*/ 131 w 151"/>
                <a:gd name="T21" fmla="*/ 46 h 48"/>
                <a:gd name="T22" fmla="*/ 149 w 151"/>
                <a:gd name="T23" fmla="*/ 43 h 48"/>
                <a:gd name="T24" fmla="*/ 150 w 151"/>
                <a:gd name="T25" fmla="*/ 39 h 48"/>
                <a:gd name="T26" fmla="*/ 151 w 151"/>
                <a:gd name="T27" fmla="*/ 33 h 48"/>
                <a:gd name="T28" fmla="*/ 151 w 151"/>
                <a:gd name="T29" fmla="*/ 23 h 48"/>
                <a:gd name="T30" fmla="*/ 150 w 151"/>
                <a:gd name="T31" fmla="*/ 13 h 48"/>
                <a:gd name="T32" fmla="*/ 150 w 151"/>
                <a:gd name="T33" fmla="*/ 6 h 48"/>
                <a:gd name="T34" fmla="*/ 148 w 151"/>
                <a:gd name="T35" fmla="*/ 4 h 48"/>
                <a:gd name="T36" fmla="*/ 136 w 151"/>
                <a:gd name="T37" fmla="*/ 1 h 48"/>
                <a:gd name="T38" fmla="*/ 117 w 151"/>
                <a:gd name="T39" fmla="*/ 1 h 48"/>
                <a:gd name="T40" fmla="*/ 97 w 151"/>
                <a:gd name="T41" fmla="*/ 0 h 48"/>
                <a:gd name="T42" fmla="*/ 78 w 151"/>
                <a:gd name="T43" fmla="*/ 2 h 48"/>
                <a:gd name="T44" fmla="*/ 41 w 151"/>
                <a:gd name="T45" fmla="*/ 1 h 48"/>
                <a:gd name="T46" fmla="*/ 21 w 151"/>
                <a:gd name="T47" fmla="*/ 2 h 48"/>
                <a:gd name="T48" fmla="*/ 11 w 151"/>
                <a:gd name="T49" fmla="*/ 3 h 48"/>
                <a:gd name="T50" fmla="*/ 3 w 151"/>
                <a:gd name="T51" fmla="*/ 4 h 48"/>
                <a:gd name="T52" fmla="*/ 2 w 151"/>
                <a:gd name="T53" fmla="*/ 5 h 48"/>
                <a:gd name="T54" fmla="*/ 1 w 151"/>
                <a:gd name="T55" fmla="*/ 7 h 48"/>
                <a:gd name="T56" fmla="*/ 0 w 151"/>
                <a:gd name="T57" fmla="*/ 17 h 48"/>
                <a:gd name="T58" fmla="*/ 0 w 151"/>
                <a:gd name="T59" fmla="*/ 28 h 48"/>
                <a:gd name="T60" fmla="*/ 0 w 151"/>
                <a:gd name="T61" fmla="*/ 38 h 48"/>
                <a:gd name="T62" fmla="*/ 1 w 151"/>
                <a:gd name="T63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48">
                  <a:moveTo>
                    <a:pt x="1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" y="43"/>
                    <a:pt x="2" y="44"/>
                    <a:pt x="2" y="44"/>
                  </a:cubicBezTo>
                  <a:cubicBezTo>
                    <a:pt x="5" y="46"/>
                    <a:pt x="7" y="46"/>
                    <a:pt x="10" y="46"/>
                  </a:cubicBezTo>
                  <a:cubicBezTo>
                    <a:pt x="13" y="46"/>
                    <a:pt x="16" y="45"/>
                    <a:pt x="19" y="46"/>
                  </a:cubicBezTo>
                  <a:cubicBezTo>
                    <a:pt x="25" y="46"/>
                    <a:pt x="32" y="46"/>
                    <a:pt x="38" y="46"/>
                  </a:cubicBezTo>
                  <a:cubicBezTo>
                    <a:pt x="44" y="46"/>
                    <a:pt x="51" y="46"/>
                    <a:pt x="57" y="46"/>
                  </a:cubicBezTo>
                  <a:cubicBezTo>
                    <a:pt x="63" y="46"/>
                    <a:pt x="70" y="47"/>
                    <a:pt x="76" y="48"/>
                  </a:cubicBezTo>
                  <a:cubicBezTo>
                    <a:pt x="82" y="48"/>
                    <a:pt x="88" y="48"/>
                    <a:pt x="94" y="47"/>
                  </a:cubicBezTo>
                  <a:cubicBezTo>
                    <a:pt x="100" y="46"/>
                    <a:pt x="106" y="46"/>
                    <a:pt x="113" y="46"/>
                  </a:cubicBezTo>
                  <a:cubicBezTo>
                    <a:pt x="119" y="47"/>
                    <a:pt x="125" y="47"/>
                    <a:pt x="131" y="46"/>
                  </a:cubicBezTo>
                  <a:cubicBezTo>
                    <a:pt x="137" y="46"/>
                    <a:pt x="143" y="46"/>
                    <a:pt x="149" y="43"/>
                  </a:cubicBezTo>
                  <a:cubicBezTo>
                    <a:pt x="150" y="42"/>
                    <a:pt x="150" y="41"/>
                    <a:pt x="150" y="39"/>
                  </a:cubicBezTo>
                  <a:cubicBezTo>
                    <a:pt x="150" y="37"/>
                    <a:pt x="151" y="35"/>
                    <a:pt x="151" y="33"/>
                  </a:cubicBezTo>
                  <a:cubicBezTo>
                    <a:pt x="151" y="30"/>
                    <a:pt x="151" y="27"/>
                    <a:pt x="151" y="23"/>
                  </a:cubicBezTo>
                  <a:cubicBezTo>
                    <a:pt x="150" y="20"/>
                    <a:pt x="150" y="17"/>
                    <a:pt x="150" y="13"/>
                  </a:cubicBezTo>
                  <a:cubicBezTo>
                    <a:pt x="150" y="11"/>
                    <a:pt x="151" y="9"/>
                    <a:pt x="150" y="6"/>
                  </a:cubicBezTo>
                  <a:cubicBezTo>
                    <a:pt x="150" y="5"/>
                    <a:pt x="149" y="4"/>
                    <a:pt x="148" y="4"/>
                  </a:cubicBezTo>
                  <a:cubicBezTo>
                    <a:pt x="145" y="0"/>
                    <a:pt x="140" y="1"/>
                    <a:pt x="136" y="1"/>
                  </a:cubicBezTo>
                  <a:cubicBezTo>
                    <a:pt x="130" y="1"/>
                    <a:pt x="123" y="1"/>
                    <a:pt x="117" y="1"/>
                  </a:cubicBezTo>
                  <a:cubicBezTo>
                    <a:pt x="110" y="0"/>
                    <a:pt x="104" y="0"/>
                    <a:pt x="97" y="0"/>
                  </a:cubicBezTo>
                  <a:cubicBezTo>
                    <a:pt x="91" y="0"/>
                    <a:pt x="85" y="1"/>
                    <a:pt x="78" y="2"/>
                  </a:cubicBezTo>
                  <a:cubicBezTo>
                    <a:pt x="66" y="3"/>
                    <a:pt x="53" y="2"/>
                    <a:pt x="41" y="1"/>
                  </a:cubicBezTo>
                  <a:cubicBezTo>
                    <a:pt x="34" y="1"/>
                    <a:pt x="28" y="2"/>
                    <a:pt x="21" y="2"/>
                  </a:cubicBezTo>
                  <a:cubicBezTo>
                    <a:pt x="18" y="2"/>
                    <a:pt x="14" y="3"/>
                    <a:pt x="11" y="3"/>
                  </a:cubicBezTo>
                  <a:cubicBezTo>
                    <a:pt x="8" y="4"/>
                    <a:pt x="6" y="3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ubicBezTo>
                    <a:pt x="2" y="5"/>
                    <a:pt x="1" y="6"/>
                    <a:pt x="1" y="7"/>
                  </a:cubicBezTo>
                  <a:cubicBezTo>
                    <a:pt x="1" y="10"/>
                    <a:pt x="1" y="13"/>
                    <a:pt x="0" y="17"/>
                  </a:cubicBezTo>
                  <a:cubicBezTo>
                    <a:pt x="0" y="20"/>
                    <a:pt x="0" y="24"/>
                    <a:pt x="0" y="28"/>
                  </a:cubicBezTo>
                  <a:cubicBezTo>
                    <a:pt x="0" y="31"/>
                    <a:pt x="0" y="35"/>
                    <a:pt x="0" y="38"/>
                  </a:cubicBezTo>
                  <a:cubicBezTo>
                    <a:pt x="0" y="40"/>
                    <a:pt x="0" y="41"/>
                    <a:pt x="1" y="4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ïšḻíḑê"/>
            <p:cNvSpPr/>
            <p:nvPr/>
          </p:nvSpPr>
          <p:spPr bwMode="auto">
            <a:xfrm>
              <a:off x="4675152" y="2155127"/>
              <a:ext cx="2689683" cy="2378030"/>
            </a:xfrm>
            <a:custGeom>
              <a:avLst/>
              <a:gdLst>
                <a:gd name="T0" fmla="*/ 69 w 382"/>
                <a:gd name="T1" fmla="*/ 160 h 338"/>
                <a:gd name="T2" fmla="*/ 69 w 382"/>
                <a:gd name="T3" fmla="*/ 160 h 338"/>
                <a:gd name="T4" fmla="*/ 66 w 382"/>
                <a:gd name="T5" fmla="*/ 180 h 338"/>
                <a:gd name="T6" fmla="*/ 59 w 382"/>
                <a:gd name="T7" fmla="*/ 181 h 338"/>
                <a:gd name="T8" fmla="*/ 53 w 382"/>
                <a:gd name="T9" fmla="*/ 182 h 338"/>
                <a:gd name="T10" fmla="*/ 54 w 382"/>
                <a:gd name="T11" fmla="*/ 170 h 338"/>
                <a:gd name="T12" fmla="*/ 56 w 382"/>
                <a:gd name="T13" fmla="*/ 159 h 338"/>
                <a:gd name="T14" fmla="*/ 69 w 382"/>
                <a:gd name="T15" fmla="*/ 160 h 338"/>
                <a:gd name="T16" fmla="*/ 119 w 382"/>
                <a:gd name="T17" fmla="*/ 21 h 338"/>
                <a:gd name="T18" fmla="*/ 119 w 382"/>
                <a:gd name="T19" fmla="*/ 21 h 338"/>
                <a:gd name="T20" fmla="*/ 107 w 382"/>
                <a:gd name="T21" fmla="*/ 12 h 338"/>
                <a:gd name="T22" fmla="*/ 113 w 382"/>
                <a:gd name="T23" fmla="*/ 0 h 338"/>
                <a:gd name="T24" fmla="*/ 123 w 382"/>
                <a:gd name="T25" fmla="*/ 1 h 338"/>
                <a:gd name="T26" fmla="*/ 129 w 382"/>
                <a:gd name="T27" fmla="*/ 7 h 338"/>
                <a:gd name="T28" fmla="*/ 119 w 382"/>
                <a:gd name="T29" fmla="*/ 21 h 338"/>
                <a:gd name="T30" fmla="*/ 18 w 382"/>
                <a:gd name="T31" fmla="*/ 309 h 338"/>
                <a:gd name="T32" fmla="*/ 18 w 382"/>
                <a:gd name="T33" fmla="*/ 309 h 338"/>
                <a:gd name="T34" fmla="*/ 5 w 382"/>
                <a:gd name="T35" fmla="*/ 314 h 338"/>
                <a:gd name="T36" fmla="*/ 4 w 382"/>
                <a:gd name="T37" fmla="*/ 300 h 338"/>
                <a:gd name="T38" fmla="*/ 10 w 382"/>
                <a:gd name="T39" fmla="*/ 296 h 338"/>
                <a:gd name="T40" fmla="*/ 15 w 382"/>
                <a:gd name="T41" fmla="*/ 297 h 338"/>
                <a:gd name="T42" fmla="*/ 19 w 382"/>
                <a:gd name="T43" fmla="*/ 301 h 338"/>
                <a:gd name="T44" fmla="*/ 18 w 382"/>
                <a:gd name="T45" fmla="*/ 309 h 338"/>
                <a:gd name="T46" fmla="*/ 376 w 382"/>
                <a:gd name="T47" fmla="*/ 336 h 338"/>
                <a:gd name="T48" fmla="*/ 376 w 382"/>
                <a:gd name="T49" fmla="*/ 336 h 338"/>
                <a:gd name="T50" fmla="*/ 365 w 382"/>
                <a:gd name="T51" fmla="*/ 334 h 338"/>
                <a:gd name="T52" fmla="*/ 360 w 382"/>
                <a:gd name="T53" fmla="*/ 324 h 338"/>
                <a:gd name="T54" fmla="*/ 361 w 382"/>
                <a:gd name="T55" fmla="*/ 320 h 338"/>
                <a:gd name="T56" fmla="*/ 370 w 382"/>
                <a:gd name="T57" fmla="*/ 320 h 338"/>
                <a:gd name="T58" fmla="*/ 382 w 382"/>
                <a:gd name="T59" fmla="*/ 327 h 338"/>
                <a:gd name="T60" fmla="*/ 376 w 382"/>
                <a:gd name="T61" fmla="*/ 336 h 338"/>
                <a:gd name="T62" fmla="*/ 299 w 382"/>
                <a:gd name="T63" fmla="*/ 155 h 338"/>
                <a:gd name="T64" fmla="*/ 299 w 382"/>
                <a:gd name="T65" fmla="*/ 155 h 338"/>
                <a:gd name="T66" fmla="*/ 308 w 382"/>
                <a:gd name="T67" fmla="*/ 155 h 338"/>
                <a:gd name="T68" fmla="*/ 307 w 382"/>
                <a:gd name="T69" fmla="*/ 161 h 338"/>
                <a:gd name="T70" fmla="*/ 306 w 382"/>
                <a:gd name="T71" fmla="*/ 175 h 338"/>
                <a:gd name="T72" fmla="*/ 301 w 382"/>
                <a:gd name="T73" fmla="*/ 175 h 338"/>
                <a:gd name="T74" fmla="*/ 297 w 382"/>
                <a:gd name="T75" fmla="*/ 175 h 338"/>
                <a:gd name="T76" fmla="*/ 292 w 382"/>
                <a:gd name="T77" fmla="*/ 154 h 338"/>
                <a:gd name="T78" fmla="*/ 299 w 382"/>
                <a:gd name="T79" fmla="*/ 15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2" h="338">
                  <a:moveTo>
                    <a:pt x="69" y="160"/>
                  </a:moveTo>
                  <a:cubicBezTo>
                    <a:pt x="69" y="160"/>
                    <a:pt x="69" y="160"/>
                    <a:pt x="69" y="160"/>
                  </a:cubicBezTo>
                  <a:cubicBezTo>
                    <a:pt x="67" y="167"/>
                    <a:pt x="66" y="173"/>
                    <a:pt x="66" y="180"/>
                  </a:cubicBezTo>
                  <a:cubicBezTo>
                    <a:pt x="63" y="180"/>
                    <a:pt x="61" y="180"/>
                    <a:pt x="59" y="181"/>
                  </a:cubicBezTo>
                  <a:cubicBezTo>
                    <a:pt x="58" y="181"/>
                    <a:pt x="56" y="181"/>
                    <a:pt x="53" y="182"/>
                  </a:cubicBezTo>
                  <a:cubicBezTo>
                    <a:pt x="54" y="178"/>
                    <a:pt x="54" y="174"/>
                    <a:pt x="54" y="170"/>
                  </a:cubicBezTo>
                  <a:cubicBezTo>
                    <a:pt x="55" y="166"/>
                    <a:pt x="55" y="163"/>
                    <a:pt x="56" y="159"/>
                  </a:cubicBezTo>
                  <a:cubicBezTo>
                    <a:pt x="60" y="160"/>
                    <a:pt x="65" y="160"/>
                    <a:pt x="69" y="160"/>
                  </a:cubicBezTo>
                  <a:close/>
                  <a:moveTo>
                    <a:pt x="119" y="21"/>
                  </a:moveTo>
                  <a:cubicBezTo>
                    <a:pt x="119" y="21"/>
                    <a:pt x="119" y="21"/>
                    <a:pt x="119" y="21"/>
                  </a:cubicBezTo>
                  <a:cubicBezTo>
                    <a:pt x="113" y="23"/>
                    <a:pt x="106" y="19"/>
                    <a:pt x="107" y="12"/>
                  </a:cubicBezTo>
                  <a:cubicBezTo>
                    <a:pt x="107" y="8"/>
                    <a:pt x="109" y="3"/>
                    <a:pt x="113" y="0"/>
                  </a:cubicBezTo>
                  <a:cubicBezTo>
                    <a:pt x="116" y="1"/>
                    <a:pt x="120" y="0"/>
                    <a:pt x="123" y="1"/>
                  </a:cubicBezTo>
                  <a:cubicBezTo>
                    <a:pt x="126" y="2"/>
                    <a:pt x="129" y="5"/>
                    <a:pt x="129" y="7"/>
                  </a:cubicBezTo>
                  <a:cubicBezTo>
                    <a:pt x="130" y="13"/>
                    <a:pt x="124" y="19"/>
                    <a:pt x="119" y="21"/>
                  </a:cubicBezTo>
                  <a:close/>
                  <a:moveTo>
                    <a:pt x="18" y="309"/>
                  </a:moveTo>
                  <a:cubicBezTo>
                    <a:pt x="18" y="309"/>
                    <a:pt x="18" y="309"/>
                    <a:pt x="18" y="309"/>
                  </a:cubicBezTo>
                  <a:cubicBezTo>
                    <a:pt x="16" y="315"/>
                    <a:pt x="10" y="317"/>
                    <a:pt x="5" y="314"/>
                  </a:cubicBezTo>
                  <a:cubicBezTo>
                    <a:pt x="0" y="311"/>
                    <a:pt x="1" y="303"/>
                    <a:pt x="4" y="300"/>
                  </a:cubicBezTo>
                  <a:cubicBezTo>
                    <a:pt x="6" y="298"/>
                    <a:pt x="8" y="297"/>
                    <a:pt x="10" y="296"/>
                  </a:cubicBezTo>
                  <a:cubicBezTo>
                    <a:pt x="12" y="296"/>
                    <a:pt x="14" y="297"/>
                    <a:pt x="15" y="297"/>
                  </a:cubicBezTo>
                  <a:cubicBezTo>
                    <a:pt x="16" y="298"/>
                    <a:pt x="18" y="299"/>
                    <a:pt x="19" y="301"/>
                  </a:cubicBezTo>
                  <a:cubicBezTo>
                    <a:pt x="20" y="302"/>
                    <a:pt x="19" y="306"/>
                    <a:pt x="18" y="309"/>
                  </a:cubicBezTo>
                  <a:close/>
                  <a:moveTo>
                    <a:pt x="376" y="336"/>
                  </a:moveTo>
                  <a:cubicBezTo>
                    <a:pt x="376" y="336"/>
                    <a:pt x="376" y="336"/>
                    <a:pt x="376" y="336"/>
                  </a:cubicBezTo>
                  <a:cubicBezTo>
                    <a:pt x="373" y="338"/>
                    <a:pt x="368" y="336"/>
                    <a:pt x="365" y="334"/>
                  </a:cubicBezTo>
                  <a:cubicBezTo>
                    <a:pt x="362" y="332"/>
                    <a:pt x="359" y="328"/>
                    <a:pt x="360" y="324"/>
                  </a:cubicBezTo>
                  <a:cubicBezTo>
                    <a:pt x="360" y="322"/>
                    <a:pt x="361" y="321"/>
                    <a:pt x="361" y="320"/>
                  </a:cubicBezTo>
                  <a:cubicBezTo>
                    <a:pt x="364" y="321"/>
                    <a:pt x="368" y="320"/>
                    <a:pt x="370" y="320"/>
                  </a:cubicBezTo>
                  <a:cubicBezTo>
                    <a:pt x="376" y="319"/>
                    <a:pt x="381" y="321"/>
                    <a:pt x="382" y="327"/>
                  </a:cubicBezTo>
                  <a:cubicBezTo>
                    <a:pt x="382" y="330"/>
                    <a:pt x="379" y="334"/>
                    <a:pt x="376" y="336"/>
                  </a:cubicBezTo>
                  <a:close/>
                  <a:moveTo>
                    <a:pt x="299" y="155"/>
                  </a:moveTo>
                  <a:cubicBezTo>
                    <a:pt x="299" y="155"/>
                    <a:pt x="299" y="155"/>
                    <a:pt x="299" y="155"/>
                  </a:cubicBezTo>
                  <a:cubicBezTo>
                    <a:pt x="302" y="155"/>
                    <a:pt x="305" y="155"/>
                    <a:pt x="308" y="155"/>
                  </a:cubicBezTo>
                  <a:cubicBezTo>
                    <a:pt x="307" y="157"/>
                    <a:pt x="307" y="159"/>
                    <a:pt x="307" y="161"/>
                  </a:cubicBezTo>
                  <a:cubicBezTo>
                    <a:pt x="307" y="166"/>
                    <a:pt x="307" y="170"/>
                    <a:pt x="306" y="175"/>
                  </a:cubicBezTo>
                  <a:cubicBezTo>
                    <a:pt x="305" y="175"/>
                    <a:pt x="303" y="175"/>
                    <a:pt x="301" y="175"/>
                  </a:cubicBezTo>
                  <a:cubicBezTo>
                    <a:pt x="300" y="175"/>
                    <a:pt x="299" y="175"/>
                    <a:pt x="297" y="175"/>
                  </a:cubicBezTo>
                  <a:cubicBezTo>
                    <a:pt x="296" y="168"/>
                    <a:pt x="294" y="161"/>
                    <a:pt x="292" y="154"/>
                  </a:cubicBezTo>
                  <a:cubicBezTo>
                    <a:pt x="294" y="154"/>
                    <a:pt x="297" y="155"/>
                    <a:pt x="299" y="155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íś1ídé"/>
            <p:cNvSpPr/>
            <p:nvPr/>
          </p:nvSpPr>
          <p:spPr bwMode="auto">
            <a:xfrm>
              <a:off x="4109439" y="3134117"/>
              <a:ext cx="3895636" cy="1399042"/>
            </a:xfrm>
            <a:custGeom>
              <a:avLst/>
              <a:gdLst>
                <a:gd name="T0" fmla="*/ 400 w 553"/>
                <a:gd name="T1" fmla="*/ 0 h 199"/>
                <a:gd name="T2" fmla="*/ 401 w 553"/>
                <a:gd name="T3" fmla="*/ 0 h 199"/>
                <a:gd name="T4" fmla="*/ 408 w 553"/>
                <a:gd name="T5" fmla="*/ 3 h 199"/>
                <a:gd name="T6" fmla="*/ 408 w 553"/>
                <a:gd name="T7" fmla="*/ 3 h 199"/>
                <a:gd name="T8" fmla="*/ 409 w 553"/>
                <a:gd name="T9" fmla="*/ 17 h 199"/>
                <a:gd name="T10" fmla="*/ 407 w 553"/>
                <a:gd name="T11" fmla="*/ 51 h 199"/>
                <a:gd name="T12" fmla="*/ 407 w 553"/>
                <a:gd name="T13" fmla="*/ 52 h 199"/>
                <a:gd name="T14" fmla="*/ 401 w 553"/>
                <a:gd name="T15" fmla="*/ 51 h 199"/>
                <a:gd name="T16" fmla="*/ 400 w 553"/>
                <a:gd name="T17" fmla="*/ 49 h 199"/>
                <a:gd name="T18" fmla="*/ 400 w 553"/>
                <a:gd name="T19" fmla="*/ 47 h 199"/>
                <a:gd name="T20" fmla="*/ 400 w 553"/>
                <a:gd name="T21" fmla="*/ 37 h 199"/>
                <a:gd name="T22" fmla="*/ 400 w 553"/>
                <a:gd name="T23" fmla="*/ 5 h 199"/>
                <a:gd name="T24" fmla="*/ 400 w 553"/>
                <a:gd name="T25" fmla="*/ 0 h 199"/>
                <a:gd name="T26" fmla="*/ 540 w 553"/>
                <a:gd name="T27" fmla="*/ 199 h 199"/>
                <a:gd name="T28" fmla="*/ 537 w 553"/>
                <a:gd name="T29" fmla="*/ 199 h 199"/>
                <a:gd name="T30" fmla="*/ 533 w 553"/>
                <a:gd name="T31" fmla="*/ 198 h 199"/>
                <a:gd name="T32" fmla="*/ 529 w 553"/>
                <a:gd name="T33" fmla="*/ 194 h 199"/>
                <a:gd name="T34" fmla="*/ 534 w 553"/>
                <a:gd name="T35" fmla="*/ 181 h 199"/>
                <a:gd name="T36" fmla="*/ 552 w 553"/>
                <a:gd name="T37" fmla="*/ 189 h 199"/>
                <a:gd name="T38" fmla="*/ 553 w 553"/>
                <a:gd name="T39" fmla="*/ 190 h 199"/>
                <a:gd name="T40" fmla="*/ 553 w 553"/>
                <a:gd name="T41" fmla="*/ 190 h 199"/>
                <a:gd name="T42" fmla="*/ 553 w 553"/>
                <a:gd name="T43" fmla="*/ 192 h 199"/>
                <a:gd name="T44" fmla="*/ 552 w 553"/>
                <a:gd name="T45" fmla="*/ 193 h 199"/>
                <a:gd name="T46" fmla="*/ 550 w 553"/>
                <a:gd name="T47" fmla="*/ 195 h 199"/>
                <a:gd name="T48" fmla="*/ 546 w 553"/>
                <a:gd name="T49" fmla="*/ 197 h 199"/>
                <a:gd name="T50" fmla="*/ 544 w 553"/>
                <a:gd name="T51" fmla="*/ 198 h 199"/>
                <a:gd name="T52" fmla="*/ 540 w 553"/>
                <a:gd name="T53" fmla="*/ 199 h 199"/>
                <a:gd name="T54" fmla="*/ 21 w 553"/>
                <a:gd name="T55" fmla="*/ 187 h 199"/>
                <a:gd name="T56" fmla="*/ 15 w 553"/>
                <a:gd name="T57" fmla="*/ 193 h 199"/>
                <a:gd name="T58" fmla="*/ 2 w 553"/>
                <a:gd name="T59" fmla="*/ 187 h 199"/>
                <a:gd name="T60" fmla="*/ 14 w 553"/>
                <a:gd name="T61" fmla="*/ 177 h 199"/>
                <a:gd name="T62" fmla="*/ 21 w 553"/>
                <a:gd name="T63" fmla="*/ 187 h 199"/>
                <a:gd name="T64" fmla="*/ 113 w 553"/>
                <a:gd name="T65" fmla="*/ 0 h 199"/>
                <a:gd name="T66" fmla="*/ 114 w 553"/>
                <a:gd name="T67" fmla="*/ 1 h 199"/>
                <a:gd name="T68" fmla="*/ 120 w 553"/>
                <a:gd name="T69" fmla="*/ 3 h 199"/>
                <a:gd name="T70" fmla="*/ 120 w 553"/>
                <a:gd name="T71" fmla="*/ 3 h 199"/>
                <a:gd name="T72" fmla="*/ 123 w 553"/>
                <a:gd name="T73" fmla="*/ 16 h 199"/>
                <a:gd name="T74" fmla="*/ 119 w 553"/>
                <a:gd name="T75" fmla="*/ 48 h 199"/>
                <a:gd name="T76" fmla="*/ 116 w 553"/>
                <a:gd name="T77" fmla="*/ 58 h 199"/>
                <a:gd name="T78" fmla="*/ 115 w 553"/>
                <a:gd name="T79" fmla="*/ 58 h 199"/>
                <a:gd name="T80" fmla="*/ 110 w 553"/>
                <a:gd name="T81" fmla="*/ 60 h 199"/>
                <a:gd name="T82" fmla="*/ 109 w 553"/>
                <a:gd name="T83" fmla="*/ 57 h 199"/>
                <a:gd name="T84" fmla="*/ 108 w 553"/>
                <a:gd name="T85" fmla="*/ 34 h 199"/>
                <a:gd name="T86" fmla="*/ 108 w 553"/>
                <a:gd name="T87" fmla="*/ 2 h 199"/>
                <a:gd name="T88" fmla="*/ 110 w 553"/>
                <a:gd name="T89" fmla="*/ 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3" h="199">
                  <a:moveTo>
                    <a:pt x="400" y="0"/>
                  </a:moveTo>
                  <a:cubicBezTo>
                    <a:pt x="400" y="0"/>
                    <a:pt x="400" y="0"/>
                    <a:pt x="400" y="0"/>
                  </a:cubicBezTo>
                  <a:cubicBezTo>
                    <a:pt x="401" y="0"/>
                    <a:pt x="401" y="0"/>
                    <a:pt x="401" y="0"/>
                  </a:cubicBezTo>
                  <a:cubicBezTo>
                    <a:pt x="401" y="0"/>
                    <a:pt x="401" y="0"/>
                    <a:pt x="401" y="0"/>
                  </a:cubicBezTo>
                  <a:cubicBezTo>
                    <a:pt x="404" y="1"/>
                    <a:pt x="405" y="1"/>
                    <a:pt x="407" y="2"/>
                  </a:cubicBezTo>
                  <a:cubicBezTo>
                    <a:pt x="408" y="2"/>
                    <a:pt x="408" y="3"/>
                    <a:pt x="408" y="3"/>
                  </a:cubicBezTo>
                  <a:cubicBezTo>
                    <a:pt x="408" y="3"/>
                    <a:pt x="408" y="3"/>
                    <a:pt x="408" y="3"/>
                  </a:cubicBezTo>
                  <a:cubicBezTo>
                    <a:pt x="408" y="3"/>
                    <a:pt x="408" y="3"/>
                    <a:pt x="408" y="3"/>
                  </a:cubicBezTo>
                  <a:cubicBezTo>
                    <a:pt x="409" y="4"/>
                    <a:pt x="409" y="6"/>
                    <a:pt x="409" y="7"/>
                  </a:cubicBezTo>
                  <a:cubicBezTo>
                    <a:pt x="410" y="10"/>
                    <a:pt x="409" y="14"/>
                    <a:pt x="409" y="17"/>
                  </a:cubicBezTo>
                  <a:cubicBezTo>
                    <a:pt x="407" y="26"/>
                    <a:pt x="408" y="35"/>
                    <a:pt x="408" y="44"/>
                  </a:cubicBezTo>
                  <a:cubicBezTo>
                    <a:pt x="408" y="47"/>
                    <a:pt x="407" y="49"/>
                    <a:pt x="407" y="51"/>
                  </a:cubicBezTo>
                  <a:cubicBezTo>
                    <a:pt x="407" y="51"/>
                    <a:pt x="407" y="52"/>
                    <a:pt x="407" y="52"/>
                  </a:cubicBezTo>
                  <a:cubicBezTo>
                    <a:pt x="407" y="51"/>
                    <a:pt x="406" y="53"/>
                    <a:pt x="407" y="52"/>
                  </a:cubicBezTo>
                  <a:cubicBezTo>
                    <a:pt x="406" y="53"/>
                    <a:pt x="406" y="53"/>
                    <a:pt x="406" y="53"/>
                  </a:cubicBezTo>
                  <a:cubicBezTo>
                    <a:pt x="405" y="52"/>
                    <a:pt x="403" y="51"/>
                    <a:pt x="401" y="51"/>
                  </a:cubicBezTo>
                  <a:cubicBezTo>
                    <a:pt x="401" y="51"/>
                    <a:pt x="401" y="51"/>
                    <a:pt x="401" y="51"/>
                  </a:cubicBezTo>
                  <a:cubicBezTo>
                    <a:pt x="400" y="50"/>
                    <a:pt x="400" y="49"/>
                    <a:pt x="400" y="49"/>
                  </a:cubicBezTo>
                  <a:cubicBezTo>
                    <a:pt x="400" y="48"/>
                    <a:pt x="400" y="48"/>
                    <a:pt x="400" y="48"/>
                  </a:cubicBezTo>
                  <a:cubicBezTo>
                    <a:pt x="400" y="48"/>
                    <a:pt x="400" y="47"/>
                    <a:pt x="400" y="47"/>
                  </a:cubicBezTo>
                  <a:cubicBezTo>
                    <a:pt x="400" y="46"/>
                    <a:pt x="400" y="44"/>
                    <a:pt x="400" y="43"/>
                  </a:cubicBezTo>
                  <a:cubicBezTo>
                    <a:pt x="399" y="41"/>
                    <a:pt x="400" y="39"/>
                    <a:pt x="400" y="37"/>
                  </a:cubicBezTo>
                  <a:cubicBezTo>
                    <a:pt x="400" y="31"/>
                    <a:pt x="400" y="25"/>
                    <a:pt x="400" y="18"/>
                  </a:cubicBezTo>
                  <a:cubicBezTo>
                    <a:pt x="400" y="14"/>
                    <a:pt x="400" y="9"/>
                    <a:pt x="400" y="5"/>
                  </a:cubicBezTo>
                  <a:cubicBezTo>
                    <a:pt x="400" y="3"/>
                    <a:pt x="400" y="2"/>
                    <a:pt x="400" y="0"/>
                  </a:cubicBezTo>
                  <a:cubicBezTo>
                    <a:pt x="400" y="0"/>
                    <a:pt x="400" y="0"/>
                    <a:pt x="400" y="0"/>
                  </a:cubicBezTo>
                  <a:close/>
                  <a:moveTo>
                    <a:pt x="540" y="199"/>
                  </a:moveTo>
                  <a:cubicBezTo>
                    <a:pt x="540" y="199"/>
                    <a:pt x="540" y="199"/>
                    <a:pt x="540" y="199"/>
                  </a:cubicBezTo>
                  <a:cubicBezTo>
                    <a:pt x="540" y="199"/>
                    <a:pt x="540" y="199"/>
                    <a:pt x="540" y="199"/>
                  </a:cubicBezTo>
                  <a:cubicBezTo>
                    <a:pt x="539" y="199"/>
                    <a:pt x="538" y="199"/>
                    <a:pt x="537" y="199"/>
                  </a:cubicBezTo>
                  <a:cubicBezTo>
                    <a:pt x="537" y="199"/>
                    <a:pt x="536" y="199"/>
                    <a:pt x="536" y="199"/>
                  </a:cubicBezTo>
                  <a:cubicBezTo>
                    <a:pt x="535" y="199"/>
                    <a:pt x="534" y="199"/>
                    <a:pt x="533" y="198"/>
                  </a:cubicBezTo>
                  <a:cubicBezTo>
                    <a:pt x="533" y="198"/>
                    <a:pt x="531" y="197"/>
                    <a:pt x="531" y="197"/>
                  </a:cubicBezTo>
                  <a:cubicBezTo>
                    <a:pt x="529" y="196"/>
                    <a:pt x="529" y="196"/>
                    <a:pt x="529" y="194"/>
                  </a:cubicBezTo>
                  <a:cubicBezTo>
                    <a:pt x="528" y="190"/>
                    <a:pt x="528" y="186"/>
                    <a:pt x="531" y="183"/>
                  </a:cubicBezTo>
                  <a:cubicBezTo>
                    <a:pt x="532" y="182"/>
                    <a:pt x="533" y="182"/>
                    <a:pt x="534" y="181"/>
                  </a:cubicBezTo>
                  <a:cubicBezTo>
                    <a:pt x="539" y="184"/>
                    <a:pt x="544" y="183"/>
                    <a:pt x="549" y="186"/>
                  </a:cubicBezTo>
                  <a:cubicBezTo>
                    <a:pt x="551" y="186"/>
                    <a:pt x="551" y="187"/>
                    <a:pt x="552" y="189"/>
                  </a:cubicBezTo>
                  <a:cubicBezTo>
                    <a:pt x="552" y="189"/>
                    <a:pt x="553" y="189"/>
                    <a:pt x="553" y="189"/>
                  </a:cubicBezTo>
                  <a:cubicBezTo>
                    <a:pt x="553" y="189"/>
                    <a:pt x="553" y="189"/>
                    <a:pt x="553" y="190"/>
                  </a:cubicBezTo>
                  <a:cubicBezTo>
                    <a:pt x="553" y="190"/>
                    <a:pt x="553" y="190"/>
                    <a:pt x="553" y="190"/>
                  </a:cubicBezTo>
                  <a:cubicBezTo>
                    <a:pt x="553" y="190"/>
                    <a:pt x="553" y="190"/>
                    <a:pt x="553" y="190"/>
                  </a:cubicBezTo>
                  <a:cubicBezTo>
                    <a:pt x="553" y="190"/>
                    <a:pt x="553" y="191"/>
                    <a:pt x="553" y="192"/>
                  </a:cubicBezTo>
                  <a:cubicBezTo>
                    <a:pt x="553" y="192"/>
                    <a:pt x="553" y="192"/>
                    <a:pt x="553" y="192"/>
                  </a:cubicBezTo>
                  <a:cubicBezTo>
                    <a:pt x="552" y="192"/>
                    <a:pt x="552" y="192"/>
                    <a:pt x="552" y="192"/>
                  </a:cubicBezTo>
                  <a:cubicBezTo>
                    <a:pt x="552" y="193"/>
                    <a:pt x="552" y="193"/>
                    <a:pt x="552" y="193"/>
                  </a:cubicBezTo>
                  <a:cubicBezTo>
                    <a:pt x="552" y="193"/>
                    <a:pt x="552" y="193"/>
                    <a:pt x="552" y="193"/>
                  </a:cubicBezTo>
                  <a:cubicBezTo>
                    <a:pt x="551" y="194"/>
                    <a:pt x="550" y="194"/>
                    <a:pt x="550" y="195"/>
                  </a:cubicBezTo>
                  <a:cubicBezTo>
                    <a:pt x="550" y="195"/>
                    <a:pt x="549" y="196"/>
                    <a:pt x="549" y="196"/>
                  </a:cubicBezTo>
                  <a:cubicBezTo>
                    <a:pt x="548" y="197"/>
                    <a:pt x="547" y="197"/>
                    <a:pt x="546" y="197"/>
                  </a:cubicBezTo>
                  <a:cubicBezTo>
                    <a:pt x="546" y="198"/>
                    <a:pt x="546" y="198"/>
                    <a:pt x="545" y="198"/>
                  </a:cubicBezTo>
                  <a:cubicBezTo>
                    <a:pt x="545" y="198"/>
                    <a:pt x="545" y="198"/>
                    <a:pt x="544" y="198"/>
                  </a:cubicBezTo>
                  <a:cubicBezTo>
                    <a:pt x="543" y="198"/>
                    <a:pt x="542" y="199"/>
                    <a:pt x="541" y="199"/>
                  </a:cubicBezTo>
                  <a:cubicBezTo>
                    <a:pt x="541" y="199"/>
                    <a:pt x="541" y="199"/>
                    <a:pt x="540" y="199"/>
                  </a:cubicBezTo>
                  <a:close/>
                  <a:moveTo>
                    <a:pt x="21" y="187"/>
                  </a:moveTo>
                  <a:cubicBezTo>
                    <a:pt x="21" y="187"/>
                    <a:pt x="21" y="187"/>
                    <a:pt x="21" y="187"/>
                  </a:cubicBezTo>
                  <a:cubicBezTo>
                    <a:pt x="20" y="189"/>
                    <a:pt x="20" y="189"/>
                    <a:pt x="19" y="190"/>
                  </a:cubicBezTo>
                  <a:cubicBezTo>
                    <a:pt x="18" y="191"/>
                    <a:pt x="17" y="192"/>
                    <a:pt x="15" y="193"/>
                  </a:cubicBezTo>
                  <a:cubicBezTo>
                    <a:pt x="14" y="193"/>
                    <a:pt x="11" y="194"/>
                    <a:pt x="9" y="193"/>
                  </a:cubicBezTo>
                  <a:cubicBezTo>
                    <a:pt x="6" y="193"/>
                    <a:pt x="4" y="190"/>
                    <a:pt x="2" y="187"/>
                  </a:cubicBezTo>
                  <a:cubicBezTo>
                    <a:pt x="0" y="183"/>
                    <a:pt x="1" y="179"/>
                    <a:pt x="3" y="176"/>
                  </a:cubicBezTo>
                  <a:cubicBezTo>
                    <a:pt x="6" y="177"/>
                    <a:pt x="11" y="176"/>
                    <a:pt x="14" y="177"/>
                  </a:cubicBezTo>
                  <a:cubicBezTo>
                    <a:pt x="18" y="177"/>
                    <a:pt x="21" y="180"/>
                    <a:pt x="22" y="182"/>
                  </a:cubicBezTo>
                  <a:cubicBezTo>
                    <a:pt x="22" y="184"/>
                    <a:pt x="22" y="185"/>
                    <a:pt x="21" y="187"/>
                  </a:cubicBezTo>
                  <a:close/>
                  <a:moveTo>
                    <a:pt x="113" y="0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0"/>
                    <a:pt x="114" y="0"/>
                  </a:cubicBezTo>
                  <a:cubicBezTo>
                    <a:pt x="114" y="0"/>
                    <a:pt x="114" y="0"/>
                    <a:pt x="114" y="1"/>
                  </a:cubicBezTo>
                  <a:cubicBezTo>
                    <a:pt x="115" y="1"/>
                    <a:pt x="116" y="1"/>
                    <a:pt x="117" y="1"/>
                  </a:cubicBezTo>
                  <a:cubicBezTo>
                    <a:pt x="118" y="2"/>
                    <a:pt x="118" y="2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1" y="4"/>
                    <a:pt x="121" y="4"/>
                  </a:cubicBezTo>
                  <a:cubicBezTo>
                    <a:pt x="123" y="7"/>
                    <a:pt x="123" y="13"/>
                    <a:pt x="123" y="16"/>
                  </a:cubicBezTo>
                  <a:cubicBezTo>
                    <a:pt x="122" y="21"/>
                    <a:pt x="121" y="26"/>
                    <a:pt x="121" y="31"/>
                  </a:cubicBezTo>
                  <a:cubicBezTo>
                    <a:pt x="120" y="36"/>
                    <a:pt x="120" y="42"/>
                    <a:pt x="119" y="48"/>
                  </a:cubicBezTo>
                  <a:cubicBezTo>
                    <a:pt x="119" y="50"/>
                    <a:pt x="119" y="52"/>
                    <a:pt x="118" y="55"/>
                  </a:cubicBezTo>
                  <a:cubicBezTo>
                    <a:pt x="118" y="56"/>
                    <a:pt x="117" y="57"/>
                    <a:pt x="116" y="58"/>
                  </a:cubicBezTo>
                  <a:cubicBezTo>
                    <a:pt x="116" y="58"/>
                    <a:pt x="116" y="58"/>
                    <a:pt x="116" y="58"/>
                  </a:cubicBezTo>
                  <a:cubicBezTo>
                    <a:pt x="116" y="58"/>
                    <a:pt x="116" y="58"/>
                    <a:pt x="115" y="58"/>
                  </a:cubicBezTo>
                  <a:cubicBezTo>
                    <a:pt x="115" y="59"/>
                    <a:pt x="115" y="59"/>
                    <a:pt x="113" y="59"/>
                  </a:cubicBezTo>
                  <a:cubicBezTo>
                    <a:pt x="112" y="59"/>
                    <a:pt x="111" y="60"/>
                    <a:pt x="110" y="60"/>
                  </a:cubicBezTo>
                  <a:cubicBezTo>
                    <a:pt x="110" y="60"/>
                    <a:pt x="110" y="59"/>
                    <a:pt x="110" y="59"/>
                  </a:cubicBezTo>
                  <a:cubicBezTo>
                    <a:pt x="110" y="59"/>
                    <a:pt x="110" y="58"/>
                    <a:pt x="109" y="57"/>
                  </a:cubicBezTo>
                  <a:cubicBezTo>
                    <a:pt x="109" y="55"/>
                    <a:pt x="109" y="53"/>
                    <a:pt x="109" y="50"/>
                  </a:cubicBezTo>
                  <a:cubicBezTo>
                    <a:pt x="109" y="45"/>
                    <a:pt x="108" y="39"/>
                    <a:pt x="108" y="34"/>
                  </a:cubicBezTo>
                  <a:cubicBezTo>
                    <a:pt x="108" y="28"/>
                    <a:pt x="109" y="22"/>
                    <a:pt x="109" y="16"/>
                  </a:cubicBezTo>
                  <a:cubicBezTo>
                    <a:pt x="108" y="12"/>
                    <a:pt x="109" y="7"/>
                    <a:pt x="108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9" y="1"/>
                    <a:pt x="109" y="1"/>
                    <a:pt x="110" y="1"/>
                  </a:cubicBezTo>
                  <a:cubicBezTo>
                    <a:pt x="111" y="0"/>
                    <a:pt x="112" y="0"/>
                    <a:pt x="113" y="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ïṧ1iḑé"/>
            <p:cNvSpPr/>
            <p:nvPr/>
          </p:nvSpPr>
          <p:spPr bwMode="auto">
            <a:xfrm>
              <a:off x="5461054" y="4187631"/>
              <a:ext cx="1029803" cy="294714"/>
            </a:xfrm>
            <a:custGeom>
              <a:avLst/>
              <a:gdLst>
                <a:gd name="T0" fmla="*/ 40 w 146"/>
                <a:gd name="T1" fmla="*/ 4 h 42"/>
                <a:gd name="T2" fmla="*/ 35 w 146"/>
                <a:gd name="T3" fmla="*/ 4 h 42"/>
                <a:gd name="T4" fmla="*/ 34 w 146"/>
                <a:gd name="T5" fmla="*/ 21 h 42"/>
                <a:gd name="T6" fmla="*/ 36 w 146"/>
                <a:gd name="T7" fmla="*/ 39 h 42"/>
                <a:gd name="T8" fmla="*/ 42 w 146"/>
                <a:gd name="T9" fmla="*/ 36 h 42"/>
                <a:gd name="T10" fmla="*/ 42 w 146"/>
                <a:gd name="T11" fmla="*/ 21 h 42"/>
                <a:gd name="T12" fmla="*/ 40 w 146"/>
                <a:gd name="T13" fmla="*/ 4 h 42"/>
                <a:gd name="T14" fmla="*/ 110 w 146"/>
                <a:gd name="T15" fmla="*/ 5 h 42"/>
                <a:gd name="T16" fmla="*/ 106 w 146"/>
                <a:gd name="T17" fmla="*/ 3 h 42"/>
                <a:gd name="T18" fmla="*/ 104 w 146"/>
                <a:gd name="T19" fmla="*/ 17 h 42"/>
                <a:gd name="T20" fmla="*/ 104 w 146"/>
                <a:gd name="T21" fmla="*/ 35 h 42"/>
                <a:gd name="T22" fmla="*/ 111 w 146"/>
                <a:gd name="T23" fmla="*/ 35 h 42"/>
                <a:gd name="T24" fmla="*/ 111 w 146"/>
                <a:gd name="T25" fmla="*/ 18 h 42"/>
                <a:gd name="T26" fmla="*/ 110 w 146"/>
                <a:gd name="T27" fmla="*/ 5 h 42"/>
                <a:gd name="T28" fmla="*/ 121 w 146"/>
                <a:gd name="T29" fmla="*/ 4 h 42"/>
                <a:gd name="T30" fmla="*/ 119 w 146"/>
                <a:gd name="T31" fmla="*/ 33 h 42"/>
                <a:gd name="T32" fmla="*/ 122 w 146"/>
                <a:gd name="T33" fmla="*/ 40 h 42"/>
                <a:gd name="T34" fmla="*/ 124 w 146"/>
                <a:gd name="T35" fmla="*/ 40 h 42"/>
                <a:gd name="T36" fmla="*/ 127 w 146"/>
                <a:gd name="T37" fmla="*/ 33 h 42"/>
                <a:gd name="T38" fmla="*/ 125 w 146"/>
                <a:gd name="T39" fmla="*/ 4 h 42"/>
                <a:gd name="T40" fmla="*/ 121 w 146"/>
                <a:gd name="T41" fmla="*/ 4 h 42"/>
                <a:gd name="T42" fmla="*/ 143 w 146"/>
                <a:gd name="T43" fmla="*/ 4 h 42"/>
                <a:gd name="T44" fmla="*/ 138 w 146"/>
                <a:gd name="T45" fmla="*/ 4 h 42"/>
                <a:gd name="T46" fmla="*/ 137 w 146"/>
                <a:gd name="T47" fmla="*/ 21 h 42"/>
                <a:gd name="T48" fmla="*/ 139 w 146"/>
                <a:gd name="T49" fmla="*/ 39 h 42"/>
                <a:gd name="T50" fmla="*/ 145 w 146"/>
                <a:gd name="T51" fmla="*/ 36 h 42"/>
                <a:gd name="T52" fmla="*/ 145 w 146"/>
                <a:gd name="T53" fmla="*/ 21 h 42"/>
                <a:gd name="T54" fmla="*/ 143 w 146"/>
                <a:gd name="T55" fmla="*/ 4 h 42"/>
                <a:gd name="T56" fmla="*/ 59 w 146"/>
                <a:gd name="T57" fmla="*/ 5 h 42"/>
                <a:gd name="T58" fmla="*/ 55 w 146"/>
                <a:gd name="T59" fmla="*/ 3 h 42"/>
                <a:gd name="T60" fmla="*/ 52 w 146"/>
                <a:gd name="T61" fmla="*/ 17 h 42"/>
                <a:gd name="T62" fmla="*/ 52 w 146"/>
                <a:gd name="T63" fmla="*/ 35 h 42"/>
                <a:gd name="T64" fmla="*/ 60 w 146"/>
                <a:gd name="T65" fmla="*/ 35 h 42"/>
                <a:gd name="T66" fmla="*/ 60 w 146"/>
                <a:gd name="T67" fmla="*/ 18 h 42"/>
                <a:gd name="T68" fmla="*/ 59 w 146"/>
                <a:gd name="T69" fmla="*/ 5 h 42"/>
                <a:gd name="T70" fmla="*/ 69 w 146"/>
                <a:gd name="T71" fmla="*/ 4 h 42"/>
                <a:gd name="T72" fmla="*/ 68 w 146"/>
                <a:gd name="T73" fmla="*/ 33 h 42"/>
                <a:gd name="T74" fmla="*/ 71 w 146"/>
                <a:gd name="T75" fmla="*/ 40 h 42"/>
                <a:gd name="T76" fmla="*/ 73 w 146"/>
                <a:gd name="T77" fmla="*/ 40 h 42"/>
                <a:gd name="T78" fmla="*/ 76 w 146"/>
                <a:gd name="T79" fmla="*/ 33 h 42"/>
                <a:gd name="T80" fmla="*/ 74 w 146"/>
                <a:gd name="T81" fmla="*/ 4 h 42"/>
                <a:gd name="T82" fmla="*/ 69 w 146"/>
                <a:gd name="T83" fmla="*/ 4 h 42"/>
                <a:gd name="T84" fmla="*/ 91 w 146"/>
                <a:gd name="T85" fmla="*/ 4 h 42"/>
                <a:gd name="T86" fmla="*/ 87 w 146"/>
                <a:gd name="T87" fmla="*/ 4 h 42"/>
                <a:gd name="T88" fmla="*/ 86 w 146"/>
                <a:gd name="T89" fmla="*/ 21 h 42"/>
                <a:gd name="T90" fmla="*/ 88 w 146"/>
                <a:gd name="T91" fmla="*/ 39 h 42"/>
                <a:gd name="T92" fmla="*/ 94 w 146"/>
                <a:gd name="T93" fmla="*/ 36 h 42"/>
                <a:gd name="T94" fmla="*/ 94 w 146"/>
                <a:gd name="T95" fmla="*/ 21 h 42"/>
                <a:gd name="T96" fmla="*/ 91 w 146"/>
                <a:gd name="T97" fmla="*/ 4 h 42"/>
                <a:gd name="T98" fmla="*/ 7 w 146"/>
                <a:gd name="T99" fmla="*/ 5 h 42"/>
                <a:gd name="T100" fmla="*/ 3 w 146"/>
                <a:gd name="T101" fmla="*/ 3 h 42"/>
                <a:gd name="T102" fmla="*/ 1 w 146"/>
                <a:gd name="T103" fmla="*/ 17 h 42"/>
                <a:gd name="T104" fmla="*/ 1 w 146"/>
                <a:gd name="T105" fmla="*/ 35 h 42"/>
                <a:gd name="T106" fmla="*/ 9 w 146"/>
                <a:gd name="T107" fmla="*/ 35 h 42"/>
                <a:gd name="T108" fmla="*/ 9 w 146"/>
                <a:gd name="T109" fmla="*/ 18 h 42"/>
                <a:gd name="T110" fmla="*/ 7 w 146"/>
                <a:gd name="T111" fmla="*/ 5 h 42"/>
                <a:gd name="T112" fmla="*/ 18 w 146"/>
                <a:gd name="T113" fmla="*/ 4 h 42"/>
                <a:gd name="T114" fmla="*/ 16 w 146"/>
                <a:gd name="T115" fmla="*/ 33 h 42"/>
                <a:gd name="T116" fmla="*/ 19 w 146"/>
                <a:gd name="T117" fmla="*/ 40 h 42"/>
                <a:gd name="T118" fmla="*/ 22 w 146"/>
                <a:gd name="T119" fmla="*/ 40 h 42"/>
                <a:gd name="T120" fmla="*/ 25 w 146"/>
                <a:gd name="T121" fmla="*/ 33 h 42"/>
                <a:gd name="T122" fmla="*/ 23 w 146"/>
                <a:gd name="T123" fmla="*/ 4 h 42"/>
                <a:gd name="T124" fmla="*/ 18 w 146"/>
                <a:gd name="T125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6" h="42">
                  <a:moveTo>
                    <a:pt x="40" y="4"/>
                  </a:moveTo>
                  <a:cubicBezTo>
                    <a:pt x="40" y="0"/>
                    <a:pt x="36" y="0"/>
                    <a:pt x="35" y="4"/>
                  </a:cubicBezTo>
                  <a:cubicBezTo>
                    <a:pt x="35" y="10"/>
                    <a:pt x="35" y="15"/>
                    <a:pt x="34" y="21"/>
                  </a:cubicBezTo>
                  <a:cubicBezTo>
                    <a:pt x="34" y="28"/>
                    <a:pt x="34" y="34"/>
                    <a:pt x="36" y="39"/>
                  </a:cubicBezTo>
                  <a:cubicBezTo>
                    <a:pt x="38" y="42"/>
                    <a:pt x="41" y="40"/>
                    <a:pt x="42" y="36"/>
                  </a:cubicBezTo>
                  <a:cubicBezTo>
                    <a:pt x="43" y="31"/>
                    <a:pt x="42" y="26"/>
                    <a:pt x="42" y="21"/>
                  </a:cubicBezTo>
                  <a:cubicBezTo>
                    <a:pt x="42" y="15"/>
                    <a:pt x="41" y="10"/>
                    <a:pt x="40" y="4"/>
                  </a:cubicBezTo>
                  <a:close/>
                  <a:moveTo>
                    <a:pt x="110" y="5"/>
                  </a:moveTo>
                  <a:cubicBezTo>
                    <a:pt x="110" y="1"/>
                    <a:pt x="107" y="0"/>
                    <a:pt x="106" y="3"/>
                  </a:cubicBezTo>
                  <a:cubicBezTo>
                    <a:pt x="104" y="7"/>
                    <a:pt x="104" y="12"/>
                    <a:pt x="104" y="17"/>
                  </a:cubicBezTo>
                  <a:cubicBezTo>
                    <a:pt x="104" y="23"/>
                    <a:pt x="103" y="29"/>
                    <a:pt x="104" y="35"/>
                  </a:cubicBezTo>
                  <a:cubicBezTo>
                    <a:pt x="104" y="41"/>
                    <a:pt x="111" y="41"/>
                    <a:pt x="111" y="35"/>
                  </a:cubicBezTo>
                  <a:cubicBezTo>
                    <a:pt x="112" y="29"/>
                    <a:pt x="112" y="24"/>
                    <a:pt x="111" y="18"/>
                  </a:cubicBezTo>
                  <a:cubicBezTo>
                    <a:pt x="111" y="14"/>
                    <a:pt x="110" y="10"/>
                    <a:pt x="110" y="5"/>
                  </a:cubicBezTo>
                  <a:close/>
                  <a:moveTo>
                    <a:pt x="121" y="4"/>
                  </a:moveTo>
                  <a:cubicBezTo>
                    <a:pt x="119" y="13"/>
                    <a:pt x="119" y="24"/>
                    <a:pt x="119" y="33"/>
                  </a:cubicBezTo>
                  <a:cubicBezTo>
                    <a:pt x="119" y="36"/>
                    <a:pt x="120" y="39"/>
                    <a:pt x="122" y="40"/>
                  </a:cubicBezTo>
                  <a:cubicBezTo>
                    <a:pt x="123" y="40"/>
                    <a:pt x="124" y="40"/>
                    <a:pt x="124" y="40"/>
                  </a:cubicBezTo>
                  <a:cubicBezTo>
                    <a:pt x="126" y="39"/>
                    <a:pt x="127" y="36"/>
                    <a:pt x="127" y="33"/>
                  </a:cubicBezTo>
                  <a:cubicBezTo>
                    <a:pt x="128" y="24"/>
                    <a:pt x="127" y="13"/>
                    <a:pt x="125" y="4"/>
                  </a:cubicBezTo>
                  <a:cubicBezTo>
                    <a:pt x="125" y="0"/>
                    <a:pt x="122" y="0"/>
                    <a:pt x="121" y="4"/>
                  </a:cubicBezTo>
                  <a:close/>
                  <a:moveTo>
                    <a:pt x="143" y="4"/>
                  </a:moveTo>
                  <a:cubicBezTo>
                    <a:pt x="142" y="0"/>
                    <a:pt x="139" y="0"/>
                    <a:pt x="138" y="4"/>
                  </a:cubicBezTo>
                  <a:cubicBezTo>
                    <a:pt x="137" y="10"/>
                    <a:pt x="137" y="15"/>
                    <a:pt x="137" y="21"/>
                  </a:cubicBezTo>
                  <a:cubicBezTo>
                    <a:pt x="137" y="28"/>
                    <a:pt x="136" y="34"/>
                    <a:pt x="139" y="39"/>
                  </a:cubicBezTo>
                  <a:cubicBezTo>
                    <a:pt x="141" y="42"/>
                    <a:pt x="144" y="40"/>
                    <a:pt x="145" y="36"/>
                  </a:cubicBezTo>
                  <a:cubicBezTo>
                    <a:pt x="146" y="31"/>
                    <a:pt x="145" y="26"/>
                    <a:pt x="145" y="21"/>
                  </a:cubicBezTo>
                  <a:cubicBezTo>
                    <a:pt x="145" y="15"/>
                    <a:pt x="143" y="10"/>
                    <a:pt x="143" y="4"/>
                  </a:cubicBezTo>
                  <a:close/>
                  <a:moveTo>
                    <a:pt x="59" y="5"/>
                  </a:moveTo>
                  <a:cubicBezTo>
                    <a:pt x="59" y="1"/>
                    <a:pt x="56" y="0"/>
                    <a:pt x="55" y="3"/>
                  </a:cubicBezTo>
                  <a:cubicBezTo>
                    <a:pt x="53" y="7"/>
                    <a:pt x="53" y="12"/>
                    <a:pt x="52" y="17"/>
                  </a:cubicBezTo>
                  <a:cubicBezTo>
                    <a:pt x="52" y="23"/>
                    <a:pt x="52" y="29"/>
                    <a:pt x="52" y="35"/>
                  </a:cubicBezTo>
                  <a:cubicBezTo>
                    <a:pt x="53" y="41"/>
                    <a:pt x="59" y="41"/>
                    <a:pt x="60" y="35"/>
                  </a:cubicBezTo>
                  <a:cubicBezTo>
                    <a:pt x="61" y="29"/>
                    <a:pt x="60" y="24"/>
                    <a:pt x="60" y="18"/>
                  </a:cubicBezTo>
                  <a:cubicBezTo>
                    <a:pt x="60" y="14"/>
                    <a:pt x="59" y="10"/>
                    <a:pt x="59" y="5"/>
                  </a:cubicBezTo>
                  <a:close/>
                  <a:moveTo>
                    <a:pt x="69" y="4"/>
                  </a:moveTo>
                  <a:cubicBezTo>
                    <a:pt x="67" y="13"/>
                    <a:pt x="67" y="24"/>
                    <a:pt x="68" y="33"/>
                  </a:cubicBezTo>
                  <a:cubicBezTo>
                    <a:pt x="68" y="36"/>
                    <a:pt x="69" y="39"/>
                    <a:pt x="71" y="40"/>
                  </a:cubicBezTo>
                  <a:cubicBezTo>
                    <a:pt x="71" y="40"/>
                    <a:pt x="72" y="40"/>
                    <a:pt x="73" y="40"/>
                  </a:cubicBezTo>
                  <a:cubicBezTo>
                    <a:pt x="75" y="39"/>
                    <a:pt x="76" y="36"/>
                    <a:pt x="76" y="33"/>
                  </a:cubicBezTo>
                  <a:cubicBezTo>
                    <a:pt x="76" y="24"/>
                    <a:pt x="76" y="13"/>
                    <a:pt x="74" y="4"/>
                  </a:cubicBezTo>
                  <a:cubicBezTo>
                    <a:pt x="73" y="0"/>
                    <a:pt x="70" y="0"/>
                    <a:pt x="69" y="4"/>
                  </a:cubicBezTo>
                  <a:close/>
                  <a:moveTo>
                    <a:pt x="91" y="4"/>
                  </a:moveTo>
                  <a:cubicBezTo>
                    <a:pt x="91" y="0"/>
                    <a:pt x="87" y="0"/>
                    <a:pt x="87" y="4"/>
                  </a:cubicBezTo>
                  <a:cubicBezTo>
                    <a:pt x="86" y="10"/>
                    <a:pt x="86" y="15"/>
                    <a:pt x="86" y="21"/>
                  </a:cubicBezTo>
                  <a:cubicBezTo>
                    <a:pt x="85" y="28"/>
                    <a:pt x="85" y="34"/>
                    <a:pt x="88" y="39"/>
                  </a:cubicBezTo>
                  <a:cubicBezTo>
                    <a:pt x="90" y="42"/>
                    <a:pt x="93" y="40"/>
                    <a:pt x="94" y="36"/>
                  </a:cubicBezTo>
                  <a:cubicBezTo>
                    <a:pt x="94" y="31"/>
                    <a:pt x="94" y="26"/>
                    <a:pt x="94" y="21"/>
                  </a:cubicBezTo>
                  <a:cubicBezTo>
                    <a:pt x="94" y="15"/>
                    <a:pt x="92" y="10"/>
                    <a:pt x="91" y="4"/>
                  </a:cubicBezTo>
                  <a:close/>
                  <a:moveTo>
                    <a:pt x="7" y="5"/>
                  </a:moveTo>
                  <a:cubicBezTo>
                    <a:pt x="7" y="1"/>
                    <a:pt x="4" y="0"/>
                    <a:pt x="3" y="3"/>
                  </a:cubicBezTo>
                  <a:cubicBezTo>
                    <a:pt x="1" y="7"/>
                    <a:pt x="1" y="12"/>
                    <a:pt x="1" y="17"/>
                  </a:cubicBezTo>
                  <a:cubicBezTo>
                    <a:pt x="1" y="23"/>
                    <a:pt x="0" y="29"/>
                    <a:pt x="1" y="35"/>
                  </a:cubicBezTo>
                  <a:cubicBezTo>
                    <a:pt x="2" y="41"/>
                    <a:pt x="8" y="41"/>
                    <a:pt x="9" y="35"/>
                  </a:cubicBezTo>
                  <a:cubicBezTo>
                    <a:pt x="9" y="29"/>
                    <a:pt x="9" y="24"/>
                    <a:pt x="9" y="18"/>
                  </a:cubicBezTo>
                  <a:cubicBezTo>
                    <a:pt x="8" y="14"/>
                    <a:pt x="7" y="10"/>
                    <a:pt x="7" y="5"/>
                  </a:cubicBezTo>
                  <a:close/>
                  <a:moveTo>
                    <a:pt x="18" y="4"/>
                  </a:moveTo>
                  <a:cubicBezTo>
                    <a:pt x="16" y="13"/>
                    <a:pt x="16" y="24"/>
                    <a:pt x="16" y="33"/>
                  </a:cubicBezTo>
                  <a:cubicBezTo>
                    <a:pt x="16" y="36"/>
                    <a:pt x="18" y="39"/>
                    <a:pt x="19" y="40"/>
                  </a:cubicBezTo>
                  <a:cubicBezTo>
                    <a:pt x="20" y="40"/>
                    <a:pt x="21" y="40"/>
                    <a:pt x="22" y="40"/>
                  </a:cubicBezTo>
                  <a:cubicBezTo>
                    <a:pt x="23" y="39"/>
                    <a:pt x="25" y="36"/>
                    <a:pt x="25" y="33"/>
                  </a:cubicBezTo>
                  <a:cubicBezTo>
                    <a:pt x="25" y="24"/>
                    <a:pt x="25" y="13"/>
                    <a:pt x="23" y="4"/>
                  </a:cubicBezTo>
                  <a:cubicBezTo>
                    <a:pt x="22" y="0"/>
                    <a:pt x="19" y="0"/>
                    <a:pt x="18" y="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ïŝ1îḑé"/>
            <p:cNvSpPr/>
            <p:nvPr/>
          </p:nvSpPr>
          <p:spPr bwMode="auto">
            <a:xfrm>
              <a:off x="5454279" y="3455930"/>
              <a:ext cx="108400" cy="220189"/>
            </a:xfrm>
            <a:custGeom>
              <a:avLst/>
              <a:gdLst>
                <a:gd name="T0" fmla="*/ 10 w 15"/>
                <a:gd name="T1" fmla="*/ 1 h 31"/>
                <a:gd name="T2" fmla="*/ 10 w 15"/>
                <a:gd name="T3" fmla="*/ 1 h 31"/>
                <a:gd name="T4" fmla="*/ 13 w 15"/>
                <a:gd name="T5" fmla="*/ 1 h 31"/>
                <a:gd name="T6" fmla="*/ 14 w 15"/>
                <a:gd name="T7" fmla="*/ 19 h 31"/>
                <a:gd name="T8" fmla="*/ 15 w 15"/>
                <a:gd name="T9" fmla="*/ 29 h 31"/>
                <a:gd name="T10" fmla="*/ 15 w 15"/>
                <a:gd name="T11" fmla="*/ 30 h 31"/>
                <a:gd name="T12" fmla="*/ 6 w 15"/>
                <a:gd name="T13" fmla="*/ 30 h 31"/>
                <a:gd name="T14" fmla="*/ 2 w 15"/>
                <a:gd name="T15" fmla="*/ 31 h 31"/>
                <a:gd name="T16" fmla="*/ 2 w 15"/>
                <a:gd name="T17" fmla="*/ 29 h 31"/>
                <a:gd name="T18" fmla="*/ 2 w 15"/>
                <a:gd name="T19" fmla="*/ 20 h 31"/>
                <a:gd name="T20" fmla="*/ 2 w 15"/>
                <a:gd name="T21" fmla="*/ 10 h 31"/>
                <a:gd name="T22" fmla="*/ 0 w 15"/>
                <a:gd name="T23" fmla="*/ 0 h 31"/>
                <a:gd name="T24" fmla="*/ 1 w 15"/>
                <a:gd name="T25" fmla="*/ 1 h 31"/>
                <a:gd name="T26" fmla="*/ 10 w 15"/>
                <a:gd name="T27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31">
                  <a:moveTo>
                    <a:pt x="1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2" y="1"/>
                    <a:pt x="13" y="1"/>
                  </a:cubicBezTo>
                  <a:cubicBezTo>
                    <a:pt x="13" y="7"/>
                    <a:pt x="14" y="13"/>
                    <a:pt x="14" y="19"/>
                  </a:cubicBezTo>
                  <a:cubicBezTo>
                    <a:pt x="14" y="22"/>
                    <a:pt x="14" y="25"/>
                    <a:pt x="15" y="29"/>
                  </a:cubicBezTo>
                  <a:cubicBezTo>
                    <a:pt x="15" y="29"/>
                    <a:pt x="15" y="29"/>
                    <a:pt x="15" y="30"/>
                  </a:cubicBezTo>
                  <a:cubicBezTo>
                    <a:pt x="12" y="30"/>
                    <a:pt x="9" y="30"/>
                    <a:pt x="6" y="30"/>
                  </a:cubicBezTo>
                  <a:cubicBezTo>
                    <a:pt x="5" y="30"/>
                    <a:pt x="4" y="31"/>
                    <a:pt x="2" y="31"/>
                  </a:cubicBezTo>
                  <a:cubicBezTo>
                    <a:pt x="3" y="30"/>
                    <a:pt x="3" y="30"/>
                    <a:pt x="2" y="29"/>
                  </a:cubicBezTo>
                  <a:cubicBezTo>
                    <a:pt x="2" y="26"/>
                    <a:pt x="3" y="23"/>
                    <a:pt x="2" y="20"/>
                  </a:cubicBezTo>
                  <a:cubicBezTo>
                    <a:pt x="2" y="17"/>
                    <a:pt x="2" y="13"/>
                    <a:pt x="2" y="10"/>
                  </a:cubicBezTo>
                  <a:cubicBezTo>
                    <a:pt x="1" y="7"/>
                    <a:pt x="1" y="4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4" y="1"/>
                    <a:pt x="7" y="1"/>
                    <a:pt x="10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iṥľîḍê"/>
            <p:cNvSpPr/>
            <p:nvPr/>
          </p:nvSpPr>
          <p:spPr bwMode="auto">
            <a:xfrm>
              <a:off x="5576229" y="3455930"/>
              <a:ext cx="111789" cy="213414"/>
            </a:xfrm>
            <a:custGeom>
              <a:avLst/>
              <a:gdLst>
                <a:gd name="T0" fmla="*/ 15 w 16"/>
                <a:gd name="T1" fmla="*/ 0 h 30"/>
                <a:gd name="T2" fmla="*/ 15 w 16"/>
                <a:gd name="T3" fmla="*/ 0 h 30"/>
                <a:gd name="T4" fmla="*/ 15 w 16"/>
                <a:gd name="T5" fmla="*/ 13 h 30"/>
                <a:gd name="T6" fmla="*/ 15 w 16"/>
                <a:gd name="T7" fmla="*/ 22 h 30"/>
                <a:gd name="T8" fmla="*/ 15 w 16"/>
                <a:gd name="T9" fmla="*/ 29 h 30"/>
                <a:gd name="T10" fmla="*/ 16 w 16"/>
                <a:gd name="T11" fmla="*/ 30 h 30"/>
                <a:gd name="T12" fmla="*/ 3 w 16"/>
                <a:gd name="T13" fmla="*/ 30 h 30"/>
                <a:gd name="T14" fmla="*/ 2 w 16"/>
                <a:gd name="T15" fmla="*/ 27 h 30"/>
                <a:gd name="T16" fmla="*/ 2 w 16"/>
                <a:gd name="T17" fmla="*/ 19 h 30"/>
                <a:gd name="T18" fmla="*/ 0 w 16"/>
                <a:gd name="T19" fmla="*/ 1 h 30"/>
                <a:gd name="T20" fmla="*/ 12 w 16"/>
                <a:gd name="T21" fmla="*/ 0 h 30"/>
                <a:gd name="T22" fmla="*/ 15 w 16"/>
                <a:gd name="T2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30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4" y="4"/>
                    <a:pt x="15" y="8"/>
                    <a:pt x="15" y="13"/>
                  </a:cubicBezTo>
                  <a:cubicBezTo>
                    <a:pt x="14" y="16"/>
                    <a:pt x="15" y="19"/>
                    <a:pt x="15" y="22"/>
                  </a:cubicBezTo>
                  <a:cubicBezTo>
                    <a:pt x="15" y="24"/>
                    <a:pt x="14" y="27"/>
                    <a:pt x="15" y="29"/>
                  </a:cubicBezTo>
                  <a:cubicBezTo>
                    <a:pt x="16" y="29"/>
                    <a:pt x="16" y="29"/>
                    <a:pt x="16" y="30"/>
                  </a:cubicBezTo>
                  <a:cubicBezTo>
                    <a:pt x="11" y="30"/>
                    <a:pt x="7" y="30"/>
                    <a:pt x="3" y="30"/>
                  </a:cubicBezTo>
                  <a:cubicBezTo>
                    <a:pt x="2" y="29"/>
                    <a:pt x="2" y="28"/>
                    <a:pt x="2" y="27"/>
                  </a:cubicBezTo>
                  <a:cubicBezTo>
                    <a:pt x="2" y="24"/>
                    <a:pt x="2" y="22"/>
                    <a:pt x="2" y="19"/>
                  </a:cubicBezTo>
                  <a:cubicBezTo>
                    <a:pt x="1" y="13"/>
                    <a:pt x="0" y="7"/>
                    <a:pt x="0" y="1"/>
                  </a:cubicBezTo>
                  <a:cubicBezTo>
                    <a:pt x="4" y="0"/>
                    <a:pt x="8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îşḻîdé"/>
            <p:cNvSpPr/>
            <p:nvPr/>
          </p:nvSpPr>
          <p:spPr bwMode="auto">
            <a:xfrm>
              <a:off x="5701568" y="3455930"/>
              <a:ext cx="125339" cy="206639"/>
            </a:xfrm>
            <a:custGeom>
              <a:avLst/>
              <a:gdLst>
                <a:gd name="T0" fmla="*/ 17 w 18"/>
                <a:gd name="T1" fmla="*/ 1 h 29"/>
                <a:gd name="T2" fmla="*/ 17 w 18"/>
                <a:gd name="T3" fmla="*/ 1 h 29"/>
                <a:gd name="T4" fmla="*/ 17 w 18"/>
                <a:gd name="T5" fmla="*/ 14 h 29"/>
                <a:gd name="T6" fmla="*/ 17 w 18"/>
                <a:gd name="T7" fmla="*/ 25 h 29"/>
                <a:gd name="T8" fmla="*/ 18 w 18"/>
                <a:gd name="T9" fmla="*/ 29 h 29"/>
                <a:gd name="T10" fmla="*/ 17 w 18"/>
                <a:gd name="T11" fmla="*/ 29 h 29"/>
                <a:gd name="T12" fmla="*/ 0 w 18"/>
                <a:gd name="T13" fmla="*/ 29 h 29"/>
                <a:gd name="T14" fmla="*/ 0 w 18"/>
                <a:gd name="T15" fmla="*/ 29 h 29"/>
                <a:gd name="T16" fmla="*/ 1 w 18"/>
                <a:gd name="T17" fmla="*/ 23 h 29"/>
                <a:gd name="T18" fmla="*/ 1 w 18"/>
                <a:gd name="T19" fmla="*/ 14 h 29"/>
                <a:gd name="T20" fmla="*/ 1 w 18"/>
                <a:gd name="T21" fmla="*/ 0 h 29"/>
                <a:gd name="T22" fmla="*/ 17 w 18"/>
                <a:gd name="T2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29">
                  <a:moveTo>
                    <a:pt x="17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8" y="5"/>
                    <a:pt x="17" y="10"/>
                    <a:pt x="17" y="14"/>
                  </a:cubicBezTo>
                  <a:cubicBezTo>
                    <a:pt x="17" y="18"/>
                    <a:pt x="17" y="21"/>
                    <a:pt x="17" y="25"/>
                  </a:cubicBezTo>
                  <a:cubicBezTo>
                    <a:pt x="18" y="26"/>
                    <a:pt x="18" y="28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1" y="29"/>
                    <a:pt x="5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" y="27"/>
                    <a:pt x="1" y="25"/>
                    <a:pt x="1" y="23"/>
                  </a:cubicBezTo>
                  <a:cubicBezTo>
                    <a:pt x="1" y="20"/>
                    <a:pt x="1" y="17"/>
                    <a:pt x="1" y="14"/>
                  </a:cubicBezTo>
                  <a:cubicBezTo>
                    <a:pt x="1" y="9"/>
                    <a:pt x="1" y="5"/>
                    <a:pt x="1" y="0"/>
                  </a:cubicBezTo>
                  <a:cubicBezTo>
                    <a:pt x="6" y="0"/>
                    <a:pt x="11" y="1"/>
                    <a:pt x="17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ïş1îḍe"/>
            <p:cNvSpPr/>
            <p:nvPr/>
          </p:nvSpPr>
          <p:spPr bwMode="auto">
            <a:xfrm>
              <a:off x="5850619" y="3462705"/>
              <a:ext cx="111789" cy="213414"/>
            </a:xfrm>
            <a:custGeom>
              <a:avLst/>
              <a:gdLst>
                <a:gd name="T0" fmla="*/ 11 w 16"/>
                <a:gd name="T1" fmla="*/ 1 h 30"/>
                <a:gd name="T2" fmla="*/ 11 w 16"/>
                <a:gd name="T3" fmla="*/ 1 h 30"/>
                <a:gd name="T4" fmla="*/ 16 w 16"/>
                <a:gd name="T5" fmla="*/ 1 h 30"/>
                <a:gd name="T6" fmla="*/ 16 w 16"/>
                <a:gd name="T7" fmla="*/ 5 h 30"/>
                <a:gd name="T8" fmla="*/ 15 w 16"/>
                <a:gd name="T9" fmla="*/ 16 h 30"/>
                <a:gd name="T10" fmla="*/ 15 w 16"/>
                <a:gd name="T11" fmla="*/ 27 h 30"/>
                <a:gd name="T12" fmla="*/ 15 w 16"/>
                <a:gd name="T13" fmla="*/ 30 h 30"/>
                <a:gd name="T14" fmla="*/ 14 w 16"/>
                <a:gd name="T15" fmla="*/ 30 h 30"/>
                <a:gd name="T16" fmla="*/ 2 w 16"/>
                <a:gd name="T17" fmla="*/ 29 h 30"/>
                <a:gd name="T18" fmla="*/ 2 w 16"/>
                <a:gd name="T19" fmla="*/ 23 h 30"/>
                <a:gd name="T20" fmla="*/ 1 w 16"/>
                <a:gd name="T21" fmla="*/ 11 h 30"/>
                <a:gd name="T22" fmla="*/ 0 w 16"/>
                <a:gd name="T23" fmla="*/ 0 h 30"/>
                <a:gd name="T24" fmla="*/ 11 w 16"/>
                <a:gd name="T25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30">
                  <a:moveTo>
                    <a:pt x="11" y="1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3" y="1"/>
                    <a:pt x="14" y="1"/>
                    <a:pt x="16" y="1"/>
                  </a:cubicBezTo>
                  <a:cubicBezTo>
                    <a:pt x="16" y="2"/>
                    <a:pt x="16" y="4"/>
                    <a:pt x="16" y="5"/>
                  </a:cubicBezTo>
                  <a:cubicBezTo>
                    <a:pt x="16" y="9"/>
                    <a:pt x="16" y="12"/>
                    <a:pt x="15" y="16"/>
                  </a:cubicBezTo>
                  <a:cubicBezTo>
                    <a:pt x="15" y="19"/>
                    <a:pt x="15" y="23"/>
                    <a:pt x="15" y="27"/>
                  </a:cubicBezTo>
                  <a:cubicBezTo>
                    <a:pt x="15" y="28"/>
                    <a:pt x="15" y="29"/>
                    <a:pt x="15" y="30"/>
                  </a:cubicBezTo>
                  <a:cubicBezTo>
                    <a:pt x="15" y="30"/>
                    <a:pt x="14" y="30"/>
                    <a:pt x="14" y="30"/>
                  </a:cubicBezTo>
                  <a:cubicBezTo>
                    <a:pt x="10" y="29"/>
                    <a:pt x="6" y="29"/>
                    <a:pt x="2" y="29"/>
                  </a:cubicBezTo>
                  <a:cubicBezTo>
                    <a:pt x="2" y="27"/>
                    <a:pt x="2" y="25"/>
                    <a:pt x="2" y="23"/>
                  </a:cubicBezTo>
                  <a:cubicBezTo>
                    <a:pt x="1" y="19"/>
                    <a:pt x="1" y="15"/>
                    <a:pt x="1" y="11"/>
                  </a:cubicBezTo>
                  <a:cubicBezTo>
                    <a:pt x="1" y="7"/>
                    <a:pt x="1" y="4"/>
                    <a:pt x="0" y="0"/>
                  </a:cubicBezTo>
                  <a:cubicBezTo>
                    <a:pt x="4" y="1"/>
                    <a:pt x="7" y="1"/>
                    <a:pt x="11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işlíḋé"/>
            <p:cNvSpPr/>
            <p:nvPr/>
          </p:nvSpPr>
          <p:spPr bwMode="auto">
            <a:xfrm>
              <a:off x="5989505" y="3455930"/>
              <a:ext cx="105014" cy="220189"/>
            </a:xfrm>
            <a:custGeom>
              <a:avLst/>
              <a:gdLst>
                <a:gd name="T0" fmla="*/ 15 w 15"/>
                <a:gd name="T1" fmla="*/ 0 h 31"/>
                <a:gd name="T2" fmla="*/ 15 w 15"/>
                <a:gd name="T3" fmla="*/ 0 h 31"/>
                <a:gd name="T4" fmla="*/ 15 w 15"/>
                <a:gd name="T5" fmla="*/ 18 h 31"/>
                <a:gd name="T6" fmla="*/ 15 w 15"/>
                <a:gd name="T7" fmla="*/ 30 h 31"/>
                <a:gd name="T8" fmla="*/ 13 w 15"/>
                <a:gd name="T9" fmla="*/ 30 h 31"/>
                <a:gd name="T10" fmla="*/ 0 w 15"/>
                <a:gd name="T11" fmla="*/ 31 h 31"/>
                <a:gd name="T12" fmla="*/ 0 w 15"/>
                <a:gd name="T13" fmla="*/ 29 h 31"/>
                <a:gd name="T14" fmla="*/ 0 w 15"/>
                <a:gd name="T15" fmla="*/ 18 h 31"/>
                <a:gd name="T16" fmla="*/ 1 w 15"/>
                <a:gd name="T17" fmla="*/ 7 h 31"/>
                <a:gd name="T18" fmla="*/ 1 w 15"/>
                <a:gd name="T19" fmla="*/ 1 h 31"/>
                <a:gd name="T20" fmla="*/ 10 w 15"/>
                <a:gd name="T21" fmla="*/ 0 h 31"/>
                <a:gd name="T22" fmla="*/ 15 w 15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31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6"/>
                    <a:pt x="15" y="12"/>
                    <a:pt x="15" y="18"/>
                  </a:cubicBezTo>
                  <a:cubicBezTo>
                    <a:pt x="15" y="21"/>
                    <a:pt x="14" y="26"/>
                    <a:pt x="15" y="30"/>
                  </a:cubicBezTo>
                  <a:cubicBezTo>
                    <a:pt x="14" y="30"/>
                    <a:pt x="14" y="30"/>
                    <a:pt x="13" y="30"/>
                  </a:cubicBezTo>
                  <a:cubicBezTo>
                    <a:pt x="8" y="31"/>
                    <a:pt x="4" y="31"/>
                    <a:pt x="0" y="31"/>
                  </a:cubicBezTo>
                  <a:cubicBezTo>
                    <a:pt x="0" y="30"/>
                    <a:pt x="0" y="30"/>
                    <a:pt x="0" y="29"/>
                  </a:cubicBezTo>
                  <a:cubicBezTo>
                    <a:pt x="0" y="25"/>
                    <a:pt x="0" y="22"/>
                    <a:pt x="0" y="18"/>
                  </a:cubicBezTo>
                  <a:cubicBezTo>
                    <a:pt x="0" y="15"/>
                    <a:pt x="0" y="11"/>
                    <a:pt x="1" y="7"/>
                  </a:cubicBezTo>
                  <a:cubicBezTo>
                    <a:pt x="1" y="5"/>
                    <a:pt x="1" y="3"/>
                    <a:pt x="1" y="1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1" y="0"/>
                    <a:pt x="13" y="0"/>
                    <a:pt x="15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iśļïdè"/>
            <p:cNvSpPr/>
            <p:nvPr/>
          </p:nvSpPr>
          <p:spPr bwMode="auto">
            <a:xfrm>
              <a:off x="6216470" y="3462705"/>
              <a:ext cx="84689" cy="206639"/>
            </a:xfrm>
            <a:custGeom>
              <a:avLst/>
              <a:gdLst>
                <a:gd name="T0" fmla="*/ 12 w 12"/>
                <a:gd name="T1" fmla="*/ 0 h 29"/>
                <a:gd name="T2" fmla="*/ 12 w 12"/>
                <a:gd name="T3" fmla="*/ 0 h 29"/>
                <a:gd name="T4" fmla="*/ 11 w 12"/>
                <a:gd name="T5" fmla="*/ 18 h 29"/>
                <a:gd name="T6" fmla="*/ 11 w 12"/>
                <a:gd name="T7" fmla="*/ 27 h 29"/>
                <a:gd name="T8" fmla="*/ 11 w 12"/>
                <a:gd name="T9" fmla="*/ 29 h 29"/>
                <a:gd name="T10" fmla="*/ 3 w 12"/>
                <a:gd name="T11" fmla="*/ 28 h 29"/>
                <a:gd name="T12" fmla="*/ 3 w 12"/>
                <a:gd name="T13" fmla="*/ 14 h 29"/>
                <a:gd name="T14" fmla="*/ 0 w 12"/>
                <a:gd name="T15" fmla="*/ 0 h 29"/>
                <a:gd name="T16" fmla="*/ 12 w 12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9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6"/>
                    <a:pt x="11" y="12"/>
                    <a:pt x="11" y="18"/>
                  </a:cubicBezTo>
                  <a:cubicBezTo>
                    <a:pt x="11" y="21"/>
                    <a:pt x="11" y="24"/>
                    <a:pt x="11" y="27"/>
                  </a:cubicBezTo>
                  <a:cubicBezTo>
                    <a:pt x="11" y="28"/>
                    <a:pt x="11" y="28"/>
                    <a:pt x="11" y="29"/>
                  </a:cubicBezTo>
                  <a:cubicBezTo>
                    <a:pt x="8" y="29"/>
                    <a:pt x="5" y="29"/>
                    <a:pt x="3" y="28"/>
                  </a:cubicBezTo>
                  <a:cubicBezTo>
                    <a:pt x="3" y="23"/>
                    <a:pt x="3" y="19"/>
                    <a:pt x="3" y="14"/>
                  </a:cubicBezTo>
                  <a:cubicBezTo>
                    <a:pt x="3" y="9"/>
                    <a:pt x="3" y="4"/>
                    <a:pt x="0" y="0"/>
                  </a:cubicBezTo>
                  <a:cubicBezTo>
                    <a:pt x="4" y="0"/>
                    <a:pt x="8" y="0"/>
                    <a:pt x="12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íṩliḍê"/>
            <p:cNvSpPr/>
            <p:nvPr/>
          </p:nvSpPr>
          <p:spPr bwMode="auto">
            <a:xfrm>
              <a:off x="6328256" y="3462705"/>
              <a:ext cx="111789" cy="206639"/>
            </a:xfrm>
            <a:custGeom>
              <a:avLst/>
              <a:gdLst>
                <a:gd name="T0" fmla="*/ 13 w 16"/>
                <a:gd name="T1" fmla="*/ 0 h 29"/>
                <a:gd name="T2" fmla="*/ 13 w 16"/>
                <a:gd name="T3" fmla="*/ 0 h 29"/>
                <a:gd name="T4" fmla="*/ 13 w 16"/>
                <a:gd name="T5" fmla="*/ 6 h 29"/>
                <a:gd name="T6" fmla="*/ 14 w 16"/>
                <a:gd name="T7" fmla="*/ 14 h 29"/>
                <a:gd name="T8" fmla="*/ 15 w 16"/>
                <a:gd name="T9" fmla="*/ 23 h 29"/>
                <a:gd name="T10" fmla="*/ 16 w 16"/>
                <a:gd name="T11" fmla="*/ 29 h 29"/>
                <a:gd name="T12" fmla="*/ 1 w 16"/>
                <a:gd name="T13" fmla="*/ 29 h 29"/>
                <a:gd name="T14" fmla="*/ 0 w 16"/>
                <a:gd name="T15" fmla="*/ 29 h 29"/>
                <a:gd name="T16" fmla="*/ 0 w 16"/>
                <a:gd name="T17" fmla="*/ 27 h 29"/>
                <a:gd name="T18" fmla="*/ 0 w 16"/>
                <a:gd name="T19" fmla="*/ 18 h 29"/>
                <a:gd name="T20" fmla="*/ 0 w 16"/>
                <a:gd name="T21" fmla="*/ 0 h 29"/>
                <a:gd name="T22" fmla="*/ 13 w 16"/>
                <a:gd name="T2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29"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4" y="2"/>
                    <a:pt x="13" y="4"/>
                    <a:pt x="13" y="6"/>
                  </a:cubicBezTo>
                  <a:cubicBezTo>
                    <a:pt x="13" y="9"/>
                    <a:pt x="13" y="11"/>
                    <a:pt x="14" y="14"/>
                  </a:cubicBezTo>
                  <a:cubicBezTo>
                    <a:pt x="14" y="17"/>
                    <a:pt x="14" y="20"/>
                    <a:pt x="15" y="23"/>
                  </a:cubicBezTo>
                  <a:cubicBezTo>
                    <a:pt x="15" y="24"/>
                    <a:pt x="15" y="27"/>
                    <a:pt x="16" y="29"/>
                  </a:cubicBezTo>
                  <a:cubicBezTo>
                    <a:pt x="11" y="28"/>
                    <a:pt x="6" y="29"/>
                    <a:pt x="1" y="29"/>
                  </a:cubicBezTo>
                  <a:cubicBezTo>
                    <a:pt x="1" y="29"/>
                    <a:pt x="0" y="29"/>
                    <a:pt x="0" y="29"/>
                  </a:cubicBezTo>
                  <a:cubicBezTo>
                    <a:pt x="0" y="28"/>
                    <a:pt x="0" y="28"/>
                    <a:pt x="0" y="27"/>
                  </a:cubicBezTo>
                  <a:cubicBezTo>
                    <a:pt x="0" y="24"/>
                    <a:pt x="0" y="21"/>
                    <a:pt x="0" y="18"/>
                  </a:cubicBezTo>
                  <a:cubicBezTo>
                    <a:pt x="0" y="12"/>
                    <a:pt x="0" y="6"/>
                    <a:pt x="0" y="0"/>
                  </a:cubicBezTo>
                  <a:cubicBezTo>
                    <a:pt x="5" y="0"/>
                    <a:pt x="9" y="0"/>
                    <a:pt x="13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îŝḻiḓe"/>
            <p:cNvSpPr/>
            <p:nvPr/>
          </p:nvSpPr>
          <p:spPr bwMode="auto">
            <a:xfrm>
              <a:off x="6118231" y="3455930"/>
              <a:ext cx="84689" cy="206639"/>
            </a:xfrm>
            <a:custGeom>
              <a:avLst/>
              <a:gdLst>
                <a:gd name="T0" fmla="*/ 3 w 12"/>
                <a:gd name="T1" fmla="*/ 29 h 29"/>
                <a:gd name="T2" fmla="*/ 3 w 12"/>
                <a:gd name="T3" fmla="*/ 29 h 29"/>
                <a:gd name="T4" fmla="*/ 2 w 12"/>
                <a:gd name="T5" fmla="*/ 25 h 29"/>
                <a:gd name="T6" fmla="*/ 2 w 12"/>
                <a:gd name="T7" fmla="*/ 17 h 29"/>
                <a:gd name="T8" fmla="*/ 0 w 12"/>
                <a:gd name="T9" fmla="*/ 0 h 29"/>
                <a:gd name="T10" fmla="*/ 11 w 12"/>
                <a:gd name="T11" fmla="*/ 0 h 29"/>
                <a:gd name="T12" fmla="*/ 12 w 12"/>
                <a:gd name="T13" fmla="*/ 17 h 29"/>
                <a:gd name="T14" fmla="*/ 12 w 12"/>
                <a:gd name="T15" fmla="*/ 29 h 29"/>
                <a:gd name="T16" fmla="*/ 3 w 12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9">
                  <a:moveTo>
                    <a:pt x="3" y="29"/>
                  </a:moveTo>
                  <a:cubicBezTo>
                    <a:pt x="3" y="29"/>
                    <a:pt x="3" y="29"/>
                    <a:pt x="3" y="29"/>
                  </a:cubicBezTo>
                  <a:cubicBezTo>
                    <a:pt x="2" y="28"/>
                    <a:pt x="2" y="26"/>
                    <a:pt x="2" y="25"/>
                  </a:cubicBezTo>
                  <a:cubicBezTo>
                    <a:pt x="2" y="22"/>
                    <a:pt x="2" y="19"/>
                    <a:pt x="2" y="17"/>
                  </a:cubicBezTo>
                  <a:cubicBezTo>
                    <a:pt x="2" y="11"/>
                    <a:pt x="1" y="6"/>
                    <a:pt x="0" y="0"/>
                  </a:cubicBezTo>
                  <a:cubicBezTo>
                    <a:pt x="4" y="0"/>
                    <a:pt x="7" y="0"/>
                    <a:pt x="11" y="0"/>
                  </a:cubicBezTo>
                  <a:cubicBezTo>
                    <a:pt x="12" y="6"/>
                    <a:pt x="12" y="11"/>
                    <a:pt x="12" y="17"/>
                  </a:cubicBezTo>
                  <a:cubicBezTo>
                    <a:pt x="12" y="21"/>
                    <a:pt x="11" y="25"/>
                    <a:pt x="12" y="29"/>
                  </a:cubicBezTo>
                  <a:cubicBezTo>
                    <a:pt x="9" y="29"/>
                    <a:pt x="6" y="29"/>
                    <a:pt x="3" y="29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87" name="矩形: 圆角 186"/>
          <p:cNvSpPr/>
          <p:nvPr userDrawn="1"/>
        </p:nvSpPr>
        <p:spPr>
          <a:xfrm>
            <a:off x="0" y="1800529"/>
            <a:ext cx="12192000" cy="3739164"/>
          </a:xfrm>
          <a:prstGeom prst="roundRect">
            <a:avLst>
              <a:gd name="adj" fmla="val 0"/>
            </a:avLst>
          </a:prstGeom>
          <a:solidFill>
            <a:schemeClr val="bg1">
              <a:alpha val="7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" name="cc47b233-5d22-45c3-93b3-14c33b99385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 rot="20436058">
            <a:off x="360198" y="1228979"/>
            <a:ext cx="3205278" cy="4424639"/>
            <a:chOff x="4414315" y="1367533"/>
            <a:chExt cx="3357022" cy="4634110"/>
          </a:xfrm>
        </p:grpSpPr>
        <p:sp>
          <p:nvSpPr>
            <p:cNvPr id="8" name="íšḻîḍê"/>
            <p:cNvSpPr/>
            <p:nvPr/>
          </p:nvSpPr>
          <p:spPr bwMode="auto">
            <a:xfrm>
              <a:off x="4414315" y="1367533"/>
              <a:ext cx="3357022" cy="4634110"/>
            </a:xfrm>
            <a:custGeom>
              <a:avLst/>
              <a:gdLst>
                <a:gd name="T0" fmla="*/ 39 w 477"/>
                <a:gd name="T1" fmla="*/ 374 h 659"/>
                <a:gd name="T2" fmla="*/ 79 w 477"/>
                <a:gd name="T3" fmla="*/ 378 h 659"/>
                <a:gd name="T4" fmla="*/ 109 w 477"/>
                <a:gd name="T5" fmla="*/ 376 h 659"/>
                <a:gd name="T6" fmla="*/ 152 w 477"/>
                <a:gd name="T7" fmla="*/ 335 h 659"/>
                <a:gd name="T8" fmla="*/ 219 w 477"/>
                <a:gd name="T9" fmla="*/ 260 h 659"/>
                <a:gd name="T10" fmla="*/ 250 w 477"/>
                <a:gd name="T11" fmla="*/ 251 h 659"/>
                <a:gd name="T12" fmla="*/ 186 w 477"/>
                <a:gd name="T13" fmla="*/ 245 h 659"/>
                <a:gd name="T14" fmla="*/ 172 w 477"/>
                <a:gd name="T15" fmla="*/ 244 h 659"/>
                <a:gd name="T16" fmla="*/ 157 w 477"/>
                <a:gd name="T17" fmla="*/ 228 h 659"/>
                <a:gd name="T18" fmla="*/ 151 w 477"/>
                <a:gd name="T19" fmla="*/ 148 h 659"/>
                <a:gd name="T20" fmla="*/ 113 w 477"/>
                <a:gd name="T21" fmla="*/ 122 h 659"/>
                <a:gd name="T22" fmla="*/ 142 w 477"/>
                <a:gd name="T23" fmla="*/ 133 h 659"/>
                <a:gd name="T24" fmla="*/ 231 w 477"/>
                <a:gd name="T25" fmla="*/ 14 h 659"/>
                <a:gd name="T26" fmla="*/ 399 w 477"/>
                <a:gd name="T27" fmla="*/ 133 h 659"/>
                <a:gd name="T28" fmla="*/ 441 w 477"/>
                <a:gd name="T29" fmla="*/ 119 h 659"/>
                <a:gd name="T30" fmla="*/ 460 w 477"/>
                <a:gd name="T31" fmla="*/ 162 h 659"/>
                <a:gd name="T32" fmla="*/ 400 w 477"/>
                <a:gd name="T33" fmla="*/ 148 h 659"/>
                <a:gd name="T34" fmla="*/ 401 w 477"/>
                <a:gd name="T35" fmla="*/ 230 h 659"/>
                <a:gd name="T36" fmla="*/ 334 w 477"/>
                <a:gd name="T37" fmla="*/ 247 h 659"/>
                <a:gd name="T38" fmla="*/ 314 w 477"/>
                <a:gd name="T39" fmla="*/ 259 h 659"/>
                <a:gd name="T40" fmla="*/ 351 w 477"/>
                <a:gd name="T41" fmla="*/ 270 h 659"/>
                <a:gd name="T42" fmla="*/ 447 w 477"/>
                <a:gd name="T43" fmla="*/ 404 h 659"/>
                <a:gd name="T44" fmla="*/ 449 w 477"/>
                <a:gd name="T45" fmla="*/ 493 h 659"/>
                <a:gd name="T46" fmla="*/ 441 w 477"/>
                <a:gd name="T47" fmla="*/ 532 h 659"/>
                <a:gd name="T48" fmla="*/ 425 w 477"/>
                <a:gd name="T49" fmla="*/ 581 h 659"/>
                <a:gd name="T50" fmla="*/ 419 w 477"/>
                <a:gd name="T51" fmla="*/ 567 h 659"/>
                <a:gd name="T52" fmla="*/ 399 w 477"/>
                <a:gd name="T53" fmla="*/ 577 h 659"/>
                <a:gd name="T54" fmla="*/ 400 w 477"/>
                <a:gd name="T55" fmla="*/ 559 h 659"/>
                <a:gd name="T56" fmla="*/ 377 w 477"/>
                <a:gd name="T57" fmla="*/ 569 h 659"/>
                <a:gd name="T58" fmla="*/ 369 w 477"/>
                <a:gd name="T59" fmla="*/ 572 h 659"/>
                <a:gd name="T60" fmla="*/ 368 w 477"/>
                <a:gd name="T61" fmla="*/ 560 h 659"/>
                <a:gd name="T62" fmla="*/ 373 w 477"/>
                <a:gd name="T63" fmla="*/ 547 h 659"/>
                <a:gd name="T64" fmla="*/ 350 w 477"/>
                <a:gd name="T65" fmla="*/ 551 h 659"/>
                <a:gd name="T66" fmla="*/ 355 w 477"/>
                <a:gd name="T67" fmla="*/ 532 h 659"/>
                <a:gd name="T68" fmla="*/ 349 w 477"/>
                <a:gd name="T69" fmla="*/ 519 h 659"/>
                <a:gd name="T70" fmla="*/ 378 w 477"/>
                <a:gd name="T71" fmla="*/ 469 h 659"/>
                <a:gd name="T72" fmla="*/ 390 w 477"/>
                <a:gd name="T73" fmla="*/ 430 h 659"/>
                <a:gd name="T74" fmla="*/ 344 w 477"/>
                <a:gd name="T75" fmla="*/ 335 h 659"/>
                <a:gd name="T76" fmla="*/ 341 w 477"/>
                <a:gd name="T77" fmla="*/ 430 h 659"/>
                <a:gd name="T78" fmla="*/ 296 w 477"/>
                <a:gd name="T79" fmla="*/ 462 h 659"/>
                <a:gd name="T80" fmla="*/ 299 w 477"/>
                <a:gd name="T81" fmla="*/ 557 h 659"/>
                <a:gd name="T82" fmla="*/ 303 w 477"/>
                <a:gd name="T83" fmla="*/ 619 h 659"/>
                <a:gd name="T84" fmla="*/ 240 w 477"/>
                <a:gd name="T85" fmla="*/ 616 h 659"/>
                <a:gd name="T86" fmla="*/ 254 w 477"/>
                <a:gd name="T87" fmla="*/ 556 h 659"/>
                <a:gd name="T88" fmla="*/ 251 w 477"/>
                <a:gd name="T89" fmla="*/ 482 h 659"/>
                <a:gd name="T90" fmla="*/ 213 w 477"/>
                <a:gd name="T91" fmla="*/ 454 h 659"/>
                <a:gd name="T92" fmla="*/ 210 w 477"/>
                <a:gd name="T93" fmla="*/ 378 h 659"/>
                <a:gd name="T94" fmla="*/ 201 w 477"/>
                <a:gd name="T95" fmla="*/ 377 h 659"/>
                <a:gd name="T96" fmla="*/ 130 w 477"/>
                <a:gd name="T97" fmla="*/ 426 h 659"/>
                <a:gd name="T98" fmla="*/ 97 w 477"/>
                <a:gd name="T99" fmla="*/ 441 h 659"/>
                <a:gd name="T100" fmla="*/ 48 w 477"/>
                <a:gd name="T101" fmla="*/ 458 h 659"/>
                <a:gd name="T102" fmla="*/ 35 w 477"/>
                <a:gd name="T103" fmla="*/ 449 h 659"/>
                <a:gd name="T104" fmla="*/ 21 w 477"/>
                <a:gd name="T105" fmla="*/ 435 h 659"/>
                <a:gd name="T106" fmla="*/ 32 w 477"/>
                <a:gd name="T107" fmla="*/ 425 h 659"/>
                <a:gd name="T108" fmla="*/ 26 w 477"/>
                <a:gd name="T109" fmla="*/ 414 h 659"/>
                <a:gd name="T110" fmla="*/ 28 w 477"/>
                <a:gd name="T111" fmla="*/ 407 h 659"/>
                <a:gd name="T112" fmla="*/ 18 w 477"/>
                <a:gd name="T113" fmla="*/ 394 h 659"/>
                <a:gd name="T114" fmla="*/ 25 w 477"/>
                <a:gd name="T115" fmla="*/ 395 h 659"/>
                <a:gd name="T116" fmla="*/ 7 w 477"/>
                <a:gd name="T117" fmla="*/ 378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77" h="659">
                  <a:moveTo>
                    <a:pt x="7" y="378"/>
                  </a:moveTo>
                  <a:cubicBezTo>
                    <a:pt x="10" y="377"/>
                    <a:pt x="13" y="377"/>
                    <a:pt x="17" y="376"/>
                  </a:cubicBezTo>
                  <a:cubicBezTo>
                    <a:pt x="20" y="376"/>
                    <a:pt x="24" y="375"/>
                    <a:pt x="28" y="375"/>
                  </a:cubicBezTo>
                  <a:cubicBezTo>
                    <a:pt x="31" y="375"/>
                    <a:pt x="35" y="374"/>
                    <a:pt x="39" y="374"/>
                  </a:cubicBezTo>
                  <a:cubicBezTo>
                    <a:pt x="41" y="373"/>
                    <a:pt x="43" y="373"/>
                    <a:pt x="45" y="372"/>
                  </a:cubicBezTo>
                  <a:cubicBezTo>
                    <a:pt x="51" y="371"/>
                    <a:pt x="56" y="371"/>
                    <a:pt x="62" y="372"/>
                  </a:cubicBezTo>
                  <a:cubicBezTo>
                    <a:pt x="67" y="373"/>
                    <a:pt x="71" y="373"/>
                    <a:pt x="75" y="375"/>
                  </a:cubicBezTo>
                  <a:cubicBezTo>
                    <a:pt x="77" y="376"/>
                    <a:pt x="78" y="377"/>
                    <a:pt x="79" y="378"/>
                  </a:cubicBezTo>
                  <a:cubicBezTo>
                    <a:pt x="79" y="377"/>
                    <a:pt x="79" y="377"/>
                    <a:pt x="79" y="376"/>
                  </a:cubicBezTo>
                  <a:cubicBezTo>
                    <a:pt x="81" y="369"/>
                    <a:pt x="87" y="363"/>
                    <a:pt x="95" y="363"/>
                  </a:cubicBezTo>
                  <a:cubicBezTo>
                    <a:pt x="101" y="363"/>
                    <a:pt x="104" y="366"/>
                    <a:pt x="105" y="371"/>
                  </a:cubicBezTo>
                  <a:cubicBezTo>
                    <a:pt x="107" y="372"/>
                    <a:pt x="108" y="374"/>
                    <a:pt x="109" y="376"/>
                  </a:cubicBezTo>
                  <a:cubicBezTo>
                    <a:pt x="111" y="375"/>
                    <a:pt x="114" y="375"/>
                    <a:pt x="117" y="374"/>
                  </a:cubicBezTo>
                  <a:cubicBezTo>
                    <a:pt x="121" y="373"/>
                    <a:pt x="125" y="372"/>
                    <a:pt x="129" y="371"/>
                  </a:cubicBezTo>
                  <a:cubicBezTo>
                    <a:pt x="135" y="369"/>
                    <a:pt x="142" y="365"/>
                    <a:pt x="146" y="359"/>
                  </a:cubicBezTo>
                  <a:cubicBezTo>
                    <a:pt x="150" y="352"/>
                    <a:pt x="151" y="343"/>
                    <a:pt x="152" y="335"/>
                  </a:cubicBezTo>
                  <a:cubicBezTo>
                    <a:pt x="153" y="326"/>
                    <a:pt x="155" y="318"/>
                    <a:pt x="159" y="310"/>
                  </a:cubicBezTo>
                  <a:cubicBezTo>
                    <a:pt x="162" y="302"/>
                    <a:pt x="167" y="295"/>
                    <a:pt x="172" y="288"/>
                  </a:cubicBezTo>
                  <a:cubicBezTo>
                    <a:pt x="178" y="282"/>
                    <a:pt x="185" y="277"/>
                    <a:pt x="193" y="272"/>
                  </a:cubicBezTo>
                  <a:cubicBezTo>
                    <a:pt x="201" y="267"/>
                    <a:pt x="210" y="262"/>
                    <a:pt x="219" y="260"/>
                  </a:cubicBezTo>
                  <a:cubicBezTo>
                    <a:pt x="222" y="260"/>
                    <a:pt x="224" y="260"/>
                    <a:pt x="227" y="259"/>
                  </a:cubicBezTo>
                  <a:cubicBezTo>
                    <a:pt x="231" y="257"/>
                    <a:pt x="236" y="256"/>
                    <a:pt x="240" y="256"/>
                  </a:cubicBezTo>
                  <a:cubicBezTo>
                    <a:pt x="243" y="256"/>
                    <a:pt x="246" y="256"/>
                    <a:pt x="249" y="257"/>
                  </a:cubicBezTo>
                  <a:cubicBezTo>
                    <a:pt x="250" y="255"/>
                    <a:pt x="250" y="253"/>
                    <a:pt x="250" y="251"/>
                  </a:cubicBezTo>
                  <a:cubicBezTo>
                    <a:pt x="251" y="250"/>
                    <a:pt x="251" y="248"/>
                    <a:pt x="251" y="247"/>
                  </a:cubicBezTo>
                  <a:cubicBezTo>
                    <a:pt x="246" y="247"/>
                    <a:pt x="240" y="247"/>
                    <a:pt x="235" y="247"/>
                  </a:cubicBezTo>
                  <a:cubicBezTo>
                    <a:pt x="224" y="247"/>
                    <a:pt x="213" y="248"/>
                    <a:pt x="202" y="247"/>
                  </a:cubicBezTo>
                  <a:cubicBezTo>
                    <a:pt x="196" y="247"/>
                    <a:pt x="191" y="246"/>
                    <a:pt x="186" y="245"/>
                  </a:cubicBezTo>
                  <a:cubicBezTo>
                    <a:pt x="183" y="245"/>
                    <a:pt x="181" y="245"/>
                    <a:pt x="179" y="244"/>
                  </a:cubicBezTo>
                  <a:cubicBezTo>
                    <a:pt x="177" y="244"/>
                    <a:pt x="176" y="244"/>
                    <a:pt x="174" y="244"/>
                  </a:cubicBezTo>
                  <a:cubicBezTo>
                    <a:pt x="174" y="244"/>
                    <a:pt x="170" y="243"/>
                    <a:pt x="171" y="243"/>
                  </a:cubicBezTo>
                  <a:cubicBezTo>
                    <a:pt x="171" y="243"/>
                    <a:pt x="171" y="243"/>
                    <a:pt x="172" y="244"/>
                  </a:cubicBezTo>
                  <a:cubicBezTo>
                    <a:pt x="171" y="243"/>
                    <a:pt x="171" y="243"/>
                    <a:pt x="171" y="243"/>
                  </a:cubicBezTo>
                  <a:cubicBezTo>
                    <a:pt x="168" y="243"/>
                    <a:pt x="164" y="243"/>
                    <a:pt x="161" y="241"/>
                  </a:cubicBezTo>
                  <a:cubicBezTo>
                    <a:pt x="157" y="239"/>
                    <a:pt x="156" y="233"/>
                    <a:pt x="157" y="229"/>
                  </a:cubicBezTo>
                  <a:cubicBezTo>
                    <a:pt x="157" y="229"/>
                    <a:pt x="157" y="229"/>
                    <a:pt x="157" y="228"/>
                  </a:cubicBezTo>
                  <a:cubicBezTo>
                    <a:pt x="155" y="217"/>
                    <a:pt x="156" y="206"/>
                    <a:pt x="155" y="194"/>
                  </a:cubicBezTo>
                  <a:cubicBezTo>
                    <a:pt x="155" y="183"/>
                    <a:pt x="154" y="171"/>
                    <a:pt x="154" y="160"/>
                  </a:cubicBezTo>
                  <a:cubicBezTo>
                    <a:pt x="154" y="156"/>
                    <a:pt x="154" y="152"/>
                    <a:pt x="154" y="147"/>
                  </a:cubicBezTo>
                  <a:cubicBezTo>
                    <a:pt x="153" y="148"/>
                    <a:pt x="152" y="148"/>
                    <a:pt x="151" y="148"/>
                  </a:cubicBezTo>
                  <a:cubicBezTo>
                    <a:pt x="148" y="148"/>
                    <a:pt x="145" y="148"/>
                    <a:pt x="142" y="148"/>
                  </a:cubicBezTo>
                  <a:cubicBezTo>
                    <a:pt x="140" y="155"/>
                    <a:pt x="134" y="160"/>
                    <a:pt x="128" y="162"/>
                  </a:cubicBezTo>
                  <a:cubicBezTo>
                    <a:pt x="107" y="170"/>
                    <a:pt x="87" y="145"/>
                    <a:pt x="102" y="128"/>
                  </a:cubicBezTo>
                  <a:cubicBezTo>
                    <a:pt x="105" y="125"/>
                    <a:pt x="109" y="123"/>
                    <a:pt x="113" y="122"/>
                  </a:cubicBezTo>
                  <a:cubicBezTo>
                    <a:pt x="117" y="121"/>
                    <a:pt x="124" y="120"/>
                    <a:pt x="128" y="122"/>
                  </a:cubicBezTo>
                  <a:cubicBezTo>
                    <a:pt x="128" y="122"/>
                    <a:pt x="128" y="122"/>
                    <a:pt x="128" y="122"/>
                  </a:cubicBezTo>
                  <a:cubicBezTo>
                    <a:pt x="134" y="122"/>
                    <a:pt x="138" y="127"/>
                    <a:pt x="141" y="133"/>
                  </a:cubicBezTo>
                  <a:cubicBezTo>
                    <a:pt x="141" y="133"/>
                    <a:pt x="142" y="133"/>
                    <a:pt x="142" y="133"/>
                  </a:cubicBezTo>
                  <a:cubicBezTo>
                    <a:pt x="145" y="133"/>
                    <a:pt x="147" y="133"/>
                    <a:pt x="150" y="133"/>
                  </a:cubicBezTo>
                  <a:cubicBezTo>
                    <a:pt x="152" y="133"/>
                    <a:pt x="154" y="133"/>
                    <a:pt x="155" y="133"/>
                  </a:cubicBezTo>
                  <a:cubicBezTo>
                    <a:pt x="156" y="119"/>
                    <a:pt x="158" y="105"/>
                    <a:pt x="162" y="91"/>
                  </a:cubicBezTo>
                  <a:cubicBezTo>
                    <a:pt x="172" y="56"/>
                    <a:pt x="197" y="28"/>
                    <a:pt x="231" y="14"/>
                  </a:cubicBezTo>
                  <a:cubicBezTo>
                    <a:pt x="256" y="3"/>
                    <a:pt x="283" y="0"/>
                    <a:pt x="309" y="6"/>
                  </a:cubicBezTo>
                  <a:cubicBezTo>
                    <a:pt x="333" y="11"/>
                    <a:pt x="355" y="26"/>
                    <a:pt x="368" y="47"/>
                  </a:cubicBezTo>
                  <a:cubicBezTo>
                    <a:pt x="380" y="54"/>
                    <a:pt x="387" y="69"/>
                    <a:pt x="392" y="81"/>
                  </a:cubicBezTo>
                  <a:cubicBezTo>
                    <a:pt x="398" y="97"/>
                    <a:pt x="397" y="115"/>
                    <a:pt x="399" y="133"/>
                  </a:cubicBezTo>
                  <a:cubicBezTo>
                    <a:pt x="399" y="133"/>
                    <a:pt x="399" y="133"/>
                    <a:pt x="399" y="133"/>
                  </a:cubicBezTo>
                  <a:cubicBezTo>
                    <a:pt x="404" y="133"/>
                    <a:pt x="409" y="133"/>
                    <a:pt x="414" y="133"/>
                  </a:cubicBezTo>
                  <a:cubicBezTo>
                    <a:pt x="417" y="133"/>
                    <a:pt x="421" y="133"/>
                    <a:pt x="424" y="133"/>
                  </a:cubicBezTo>
                  <a:cubicBezTo>
                    <a:pt x="428" y="127"/>
                    <a:pt x="434" y="122"/>
                    <a:pt x="441" y="119"/>
                  </a:cubicBezTo>
                  <a:cubicBezTo>
                    <a:pt x="449" y="116"/>
                    <a:pt x="463" y="117"/>
                    <a:pt x="466" y="125"/>
                  </a:cubicBezTo>
                  <a:cubicBezTo>
                    <a:pt x="467" y="126"/>
                    <a:pt x="467" y="127"/>
                    <a:pt x="467" y="127"/>
                  </a:cubicBezTo>
                  <a:cubicBezTo>
                    <a:pt x="473" y="133"/>
                    <a:pt x="477" y="140"/>
                    <a:pt x="475" y="148"/>
                  </a:cubicBezTo>
                  <a:cubicBezTo>
                    <a:pt x="473" y="155"/>
                    <a:pt x="467" y="160"/>
                    <a:pt x="460" y="162"/>
                  </a:cubicBezTo>
                  <a:cubicBezTo>
                    <a:pt x="454" y="165"/>
                    <a:pt x="447" y="164"/>
                    <a:pt x="441" y="162"/>
                  </a:cubicBezTo>
                  <a:cubicBezTo>
                    <a:pt x="434" y="160"/>
                    <a:pt x="427" y="155"/>
                    <a:pt x="424" y="149"/>
                  </a:cubicBezTo>
                  <a:cubicBezTo>
                    <a:pt x="421" y="149"/>
                    <a:pt x="418" y="149"/>
                    <a:pt x="415" y="149"/>
                  </a:cubicBezTo>
                  <a:cubicBezTo>
                    <a:pt x="410" y="148"/>
                    <a:pt x="405" y="148"/>
                    <a:pt x="400" y="148"/>
                  </a:cubicBezTo>
                  <a:cubicBezTo>
                    <a:pt x="401" y="161"/>
                    <a:pt x="402" y="173"/>
                    <a:pt x="402" y="186"/>
                  </a:cubicBezTo>
                  <a:cubicBezTo>
                    <a:pt x="403" y="194"/>
                    <a:pt x="403" y="203"/>
                    <a:pt x="402" y="211"/>
                  </a:cubicBezTo>
                  <a:cubicBezTo>
                    <a:pt x="402" y="215"/>
                    <a:pt x="401" y="219"/>
                    <a:pt x="401" y="223"/>
                  </a:cubicBezTo>
                  <a:cubicBezTo>
                    <a:pt x="401" y="225"/>
                    <a:pt x="401" y="228"/>
                    <a:pt x="401" y="230"/>
                  </a:cubicBezTo>
                  <a:cubicBezTo>
                    <a:pt x="402" y="232"/>
                    <a:pt x="402" y="235"/>
                    <a:pt x="401" y="237"/>
                  </a:cubicBezTo>
                  <a:cubicBezTo>
                    <a:pt x="401" y="240"/>
                    <a:pt x="400" y="241"/>
                    <a:pt x="398" y="242"/>
                  </a:cubicBezTo>
                  <a:cubicBezTo>
                    <a:pt x="388" y="246"/>
                    <a:pt x="377" y="246"/>
                    <a:pt x="367" y="247"/>
                  </a:cubicBezTo>
                  <a:cubicBezTo>
                    <a:pt x="356" y="247"/>
                    <a:pt x="345" y="247"/>
                    <a:pt x="334" y="247"/>
                  </a:cubicBezTo>
                  <a:cubicBezTo>
                    <a:pt x="326" y="247"/>
                    <a:pt x="318" y="246"/>
                    <a:pt x="310" y="246"/>
                  </a:cubicBezTo>
                  <a:cubicBezTo>
                    <a:pt x="310" y="248"/>
                    <a:pt x="310" y="250"/>
                    <a:pt x="310" y="252"/>
                  </a:cubicBezTo>
                  <a:cubicBezTo>
                    <a:pt x="311" y="254"/>
                    <a:pt x="311" y="257"/>
                    <a:pt x="312" y="259"/>
                  </a:cubicBezTo>
                  <a:cubicBezTo>
                    <a:pt x="312" y="259"/>
                    <a:pt x="313" y="259"/>
                    <a:pt x="314" y="259"/>
                  </a:cubicBezTo>
                  <a:cubicBezTo>
                    <a:pt x="315" y="259"/>
                    <a:pt x="316" y="260"/>
                    <a:pt x="318" y="260"/>
                  </a:cubicBezTo>
                  <a:cubicBezTo>
                    <a:pt x="318" y="260"/>
                    <a:pt x="318" y="260"/>
                    <a:pt x="318" y="260"/>
                  </a:cubicBezTo>
                  <a:cubicBezTo>
                    <a:pt x="324" y="259"/>
                    <a:pt x="329" y="260"/>
                    <a:pt x="334" y="262"/>
                  </a:cubicBezTo>
                  <a:cubicBezTo>
                    <a:pt x="340" y="264"/>
                    <a:pt x="346" y="267"/>
                    <a:pt x="351" y="270"/>
                  </a:cubicBezTo>
                  <a:cubicBezTo>
                    <a:pt x="361" y="275"/>
                    <a:pt x="370" y="281"/>
                    <a:pt x="379" y="288"/>
                  </a:cubicBezTo>
                  <a:cubicBezTo>
                    <a:pt x="397" y="301"/>
                    <a:pt x="412" y="318"/>
                    <a:pt x="422" y="338"/>
                  </a:cubicBezTo>
                  <a:cubicBezTo>
                    <a:pt x="427" y="349"/>
                    <a:pt x="431" y="359"/>
                    <a:pt x="434" y="370"/>
                  </a:cubicBezTo>
                  <a:cubicBezTo>
                    <a:pt x="438" y="381"/>
                    <a:pt x="443" y="392"/>
                    <a:pt x="447" y="404"/>
                  </a:cubicBezTo>
                  <a:cubicBezTo>
                    <a:pt x="450" y="415"/>
                    <a:pt x="453" y="427"/>
                    <a:pt x="453" y="439"/>
                  </a:cubicBezTo>
                  <a:cubicBezTo>
                    <a:pt x="454" y="452"/>
                    <a:pt x="452" y="464"/>
                    <a:pt x="449" y="476"/>
                  </a:cubicBezTo>
                  <a:cubicBezTo>
                    <a:pt x="448" y="480"/>
                    <a:pt x="447" y="485"/>
                    <a:pt x="445" y="488"/>
                  </a:cubicBezTo>
                  <a:cubicBezTo>
                    <a:pt x="446" y="490"/>
                    <a:pt x="448" y="491"/>
                    <a:pt x="449" y="493"/>
                  </a:cubicBezTo>
                  <a:cubicBezTo>
                    <a:pt x="450" y="494"/>
                    <a:pt x="452" y="495"/>
                    <a:pt x="453" y="497"/>
                  </a:cubicBezTo>
                  <a:cubicBezTo>
                    <a:pt x="455" y="501"/>
                    <a:pt x="455" y="506"/>
                    <a:pt x="454" y="511"/>
                  </a:cubicBezTo>
                  <a:cubicBezTo>
                    <a:pt x="453" y="517"/>
                    <a:pt x="446" y="522"/>
                    <a:pt x="439" y="523"/>
                  </a:cubicBezTo>
                  <a:cubicBezTo>
                    <a:pt x="440" y="526"/>
                    <a:pt x="441" y="528"/>
                    <a:pt x="441" y="532"/>
                  </a:cubicBezTo>
                  <a:cubicBezTo>
                    <a:pt x="442" y="538"/>
                    <a:pt x="442" y="544"/>
                    <a:pt x="440" y="550"/>
                  </a:cubicBezTo>
                  <a:cubicBezTo>
                    <a:pt x="439" y="555"/>
                    <a:pt x="437" y="563"/>
                    <a:pt x="432" y="565"/>
                  </a:cubicBezTo>
                  <a:cubicBezTo>
                    <a:pt x="432" y="568"/>
                    <a:pt x="431" y="571"/>
                    <a:pt x="430" y="573"/>
                  </a:cubicBezTo>
                  <a:cubicBezTo>
                    <a:pt x="428" y="576"/>
                    <a:pt x="426" y="578"/>
                    <a:pt x="425" y="581"/>
                  </a:cubicBezTo>
                  <a:cubicBezTo>
                    <a:pt x="423" y="584"/>
                    <a:pt x="421" y="587"/>
                    <a:pt x="419" y="590"/>
                  </a:cubicBezTo>
                  <a:cubicBezTo>
                    <a:pt x="416" y="594"/>
                    <a:pt x="408" y="590"/>
                    <a:pt x="409" y="585"/>
                  </a:cubicBezTo>
                  <a:cubicBezTo>
                    <a:pt x="409" y="579"/>
                    <a:pt x="414" y="573"/>
                    <a:pt x="418" y="569"/>
                  </a:cubicBezTo>
                  <a:cubicBezTo>
                    <a:pt x="419" y="568"/>
                    <a:pt x="419" y="567"/>
                    <a:pt x="419" y="567"/>
                  </a:cubicBezTo>
                  <a:cubicBezTo>
                    <a:pt x="417" y="566"/>
                    <a:pt x="415" y="565"/>
                    <a:pt x="413" y="564"/>
                  </a:cubicBezTo>
                  <a:cubicBezTo>
                    <a:pt x="411" y="564"/>
                    <a:pt x="410" y="563"/>
                    <a:pt x="408" y="562"/>
                  </a:cubicBezTo>
                  <a:cubicBezTo>
                    <a:pt x="408" y="564"/>
                    <a:pt x="407" y="566"/>
                    <a:pt x="406" y="567"/>
                  </a:cubicBezTo>
                  <a:cubicBezTo>
                    <a:pt x="405" y="571"/>
                    <a:pt x="402" y="574"/>
                    <a:pt x="399" y="577"/>
                  </a:cubicBezTo>
                  <a:cubicBezTo>
                    <a:pt x="395" y="579"/>
                    <a:pt x="391" y="575"/>
                    <a:pt x="392" y="571"/>
                  </a:cubicBezTo>
                  <a:cubicBezTo>
                    <a:pt x="393" y="567"/>
                    <a:pt x="397" y="564"/>
                    <a:pt x="399" y="561"/>
                  </a:cubicBezTo>
                  <a:cubicBezTo>
                    <a:pt x="400" y="560"/>
                    <a:pt x="400" y="560"/>
                    <a:pt x="400" y="559"/>
                  </a:cubicBezTo>
                  <a:cubicBezTo>
                    <a:pt x="400" y="559"/>
                    <a:pt x="400" y="559"/>
                    <a:pt x="400" y="559"/>
                  </a:cubicBezTo>
                  <a:cubicBezTo>
                    <a:pt x="396" y="558"/>
                    <a:pt x="392" y="556"/>
                    <a:pt x="389" y="555"/>
                  </a:cubicBezTo>
                  <a:cubicBezTo>
                    <a:pt x="388" y="555"/>
                    <a:pt x="388" y="555"/>
                    <a:pt x="388" y="555"/>
                  </a:cubicBezTo>
                  <a:cubicBezTo>
                    <a:pt x="386" y="558"/>
                    <a:pt x="385" y="560"/>
                    <a:pt x="383" y="562"/>
                  </a:cubicBezTo>
                  <a:cubicBezTo>
                    <a:pt x="381" y="564"/>
                    <a:pt x="379" y="567"/>
                    <a:pt x="377" y="569"/>
                  </a:cubicBezTo>
                  <a:cubicBezTo>
                    <a:pt x="376" y="570"/>
                    <a:pt x="375" y="570"/>
                    <a:pt x="374" y="571"/>
                  </a:cubicBezTo>
                  <a:cubicBezTo>
                    <a:pt x="373" y="572"/>
                    <a:pt x="372" y="572"/>
                    <a:pt x="371" y="572"/>
                  </a:cubicBezTo>
                  <a:cubicBezTo>
                    <a:pt x="371" y="572"/>
                    <a:pt x="369" y="572"/>
                    <a:pt x="368" y="572"/>
                  </a:cubicBezTo>
                  <a:cubicBezTo>
                    <a:pt x="369" y="572"/>
                    <a:pt x="369" y="572"/>
                    <a:pt x="369" y="572"/>
                  </a:cubicBezTo>
                  <a:cubicBezTo>
                    <a:pt x="368" y="572"/>
                    <a:pt x="368" y="572"/>
                    <a:pt x="368" y="572"/>
                  </a:cubicBezTo>
                  <a:cubicBezTo>
                    <a:pt x="364" y="571"/>
                    <a:pt x="362" y="567"/>
                    <a:pt x="365" y="563"/>
                  </a:cubicBezTo>
                  <a:cubicBezTo>
                    <a:pt x="364" y="564"/>
                    <a:pt x="365" y="562"/>
                    <a:pt x="366" y="562"/>
                  </a:cubicBezTo>
                  <a:cubicBezTo>
                    <a:pt x="366" y="561"/>
                    <a:pt x="367" y="561"/>
                    <a:pt x="368" y="560"/>
                  </a:cubicBezTo>
                  <a:cubicBezTo>
                    <a:pt x="369" y="560"/>
                    <a:pt x="369" y="559"/>
                    <a:pt x="370" y="558"/>
                  </a:cubicBezTo>
                  <a:cubicBezTo>
                    <a:pt x="373" y="555"/>
                    <a:pt x="375" y="553"/>
                    <a:pt x="378" y="550"/>
                  </a:cubicBezTo>
                  <a:cubicBezTo>
                    <a:pt x="378" y="550"/>
                    <a:pt x="378" y="550"/>
                    <a:pt x="378" y="550"/>
                  </a:cubicBezTo>
                  <a:cubicBezTo>
                    <a:pt x="376" y="549"/>
                    <a:pt x="375" y="548"/>
                    <a:pt x="373" y="547"/>
                  </a:cubicBezTo>
                  <a:cubicBezTo>
                    <a:pt x="372" y="546"/>
                    <a:pt x="371" y="545"/>
                    <a:pt x="370" y="544"/>
                  </a:cubicBezTo>
                  <a:cubicBezTo>
                    <a:pt x="369" y="546"/>
                    <a:pt x="368" y="547"/>
                    <a:pt x="368" y="548"/>
                  </a:cubicBezTo>
                  <a:cubicBezTo>
                    <a:pt x="365" y="553"/>
                    <a:pt x="361" y="557"/>
                    <a:pt x="356" y="560"/>
                  </a:cubicBezTo>
                  <a:cubicBezTo>
                    <a:pt x="351" y="562"/>
                    <a:pt x="347" y="555"/>
                    <a:pt x="350" y="551"/>
                  </a:cubicBezTo>
                  <a:cubicBezTo>
                    <a:pt x="352" y="548"/>
                    <a:pt x="355" y="545"/>
                    <a:pt x="358" y="542"/>
                  </a:cubicBezTo>
                  <a:cubicBezTo>
                    <a:pt x="359" y="541"/>
                    <a:pt x="360" y="539"/>
                    <a:pt x="361" y="538"/>
                  </a:cubicBezTo>
                  <a:cubicBezTo>
                    <a:pt x="360" y="537"/>
                    <a:pt x="358" y="536"/>
                    <a:pt x="357" y="535"/>
                  </a:cubicBezTo>
                  <a:cubicBezTo>
                    <a:pt x="356" y="534"/>
                    <a:pt x="356" y="533"/>
                    <a:pt x="355" y="532"/>
                  </a:cubicBezTo>
                  <a:cubicBezTo>
                    <a:pt x="352" y="536"/>
                    <a:pt x="348" y="541"/>
                    <a:pt x="344" y="544"/>
                  </a:cubicBezTo>
                  <a:cubicBezTo>
                    <a:pt x="337" y="548"/>
                    <a:pt x="329" y="538"/>
                    <a:pt x="335" y="533"/>
                  </a:cubicBezTo>
                  <a:cubicBezTo>
                    <a:pt x="340" y="529"/>
                    <a:pt x="344" y="525"/>
                    <a:pt x="349" y="520"/>
                  </a:cubicBezTo>
                  <a:cubicBezTo>
                    <a:pt x="349" y="520"/>
                    <a:pt x="349" y="520"/>
                    <a:pt x="349" y="519"/>
                  </a:cubicBezTo>
                  <a:cubicBezTo>
                    <a:pt x="351" y="511"/>
                    <a:pt x="356" y="502"/>
                    <a:pt x="363" y="496"/>
                  </a:cubicBezTo>
                  <a:cubicBezTo>
                    <a:pt x="366" y="493"/>
                    <a:pt x="370" y="492"/>
                    <a:pt x="374" y="491"/>
                  </a:cubicBezTo>
                  <a:cubicBezTo>
                    <a:pt x="374" y="489"/>
                    <a:pt x="373" y="488"/>
                    <a:pt x="374" y="487"/>
                  </a:cubicBezTo>
                  <a:cubicBezTo>
                    <a:pt x="371" y="481"/>
                    <a:pt x="373" y="474"/>
                    <a:pt x="378" y="469"/>
                  </a:cubicBezTo>
                  <a:cubicBezTo>
                    <a:pt x="381" y="465"/>
                    <a:pt x="386" y="464"/>
                    <a:pt x="390" y="464"/>
                  </a:cubicBezTo>
                  <a:cubicBezTo>
                    <a:pt x="390" y="463"/>
                    <a:pt x="390" y="463"/>
                    <a:pt x="390" y="462"/>
                  </a:cubicBezTo>
                  <a:cubicBezTo>
                    <a:pt x="391" y="459"/>
                    <a:pt x="391" y="455"/>
                    <a:pt x="391" y="452"/>
                  </a:cubicBezTo>
                  <a:cubicBezTo>
                    <a:pt x="392" y="444"/>
                    <a:pt x="391" y="437"/>
                    <a:pt x="390" y="430"/>
                  </a:cubicBezTo>
                  <a:cubicBezTo>
                    <a:pt x="388" y="415"/>
                    <a:pt x="384" y="401"/>
                    <a:pt x="379" y="387"/>
                  </a:cubicBezTo>
                  <a:cubicBezTo>
                    <a:pt x="374" y="375"/>
                    <a:pt x="368" y="363"/>
                    <a:pt x="360" y="352"/>
                  </a:cubicBezTo>
                  <a:cubicBezTo>
                    <a:pt x="357" y="347"/>
                    <a:pt x="353" y="342"/>
                    <a:pt x="348" y="338"/>
                  </a:cubicBezTo>
                  <a:cubicBezTo>
                    <a:pt x="347" y="337"/>
                    <a:pt x="346" y="336"/>
                    <a:pt x="344" y="335"/>
                  </a:cubicBezTo>
                  <a:cubicBezTo>
                    <a:pt x="344" y="339"/>
                    <a:pt x="344" y="343"/>
                    <a:pt x="343" y="347"/>
                  </a:cubicBezTo>
                  <a:cubicBezTo>
                    <a:pt x="343" y="363"/>
                    <a:pt x="342" y="379"/>
                    <a:pt x="341" y="395"/>
                  </a:cubicBezTo>
                  <a:cubicBezTo>
                    <a:pt x="341" y="403"/>
                    <a:pt x="341" y="411"/>
                    <a:pt x="341" y="418"/>
                  </a:cubicBezTo>
                  <a:cubicBezTo>
                    <a:pt x="341" y="422"/>
                    <a:pt x="341" y="426"/>
                    <a:pt x="341" y="430"/>
                  </a:cubicBezTo>
                  <a:cubicBezTo>
                    <a:pt x="341" y="434"/>
                    <a:pt x="342" y="438"/>
                    <a:pt x="341" y="441"/>
                  </a:cubicBezTo>
                  <a:cubicBezTo>
                    <a:pt x="343" y="447"/>
                    <a:pt x="342" y="453"/>
                    <a:pt x="338" y="457"/>
                  </a:cubicBezTo>
                  <a:cubicBezTo>
                    <a:pt x="331" y="465"/>
                    <a:pt x="319" y="463"/>
                    <a:pt x="309" y="462"/>
                  </a:cubicBezTo>
                  <a:cubicBezTo>
                    <a:pt x="305" y="462"/>
                    <a:pt x="300" y="462"/>
                    <a:pt x="296" y="462"/>
                  </a:cubicBezTo>
                  <a:cubicBezTo>
                    <a:pt x="297" y="468"/>
                    <a:pt x="296" y="475"/>
                    <a:pt x="296" y="481"/>
                  </a:cubicBezTo>
                  <a:cubicBezTo>
                    <a:pt x="296" y="490"/>
                    <a:pt x="296" y="499"/>
                    <a:pt x="296" y="509"/>
                  </a:cubicBezTo>
                  <a:cubicBezTo>
                    <a:pt x="296" y="518"/>
                    <a:pt x="297" y="527"/>
                    <a:pt x="297" y="536"/>
                  </a:cubicBezTo>
                  <a:cubicBezTo>
                    <a:pt x="298" y="543"/>
                    <a:pt x="300" y="550"/>
                    <a:pt x="299" y="557"/>
                  </a:cubicBezTo>
                  <a:cubicBezTo>
                    <a:pt x="301" y="558"/>
                    <a:pt x="304" y="559"/>
                    <a:pt x="305" y="561"/>
                  </a:cubicBezTo>
                  <a:cubicBezTo>
                    <a:pt x="310" y="564"/>
                    <a:pt x="315" y="569"/>
                    <a:pt x="319" y="574"/>
                  </a:cubicBezTo>
                  <a:cubicBezTo>
                    <a:pt x="325" y="583"/>
                    <a:pt x="333" y="600"/>
                    <a:pt x="326" y="611"/>
                  </a:cubicBezTo>
                  <a:cubicBezTo>
                    <a:pt x="321" y="617"/>
                    <a:pt x="312" y="619"/>
                    <a:pt x="303" y="619"/>
                  </a:cubicBezTo>
                  <a:cubicBezTo>
                    <a:pt x="303" y="619"/>
                    <a:pt x="303" y="619"/>
                    <a:pt x="303" y="619"/>
                  </a:cubicBezTo>
                  <a:cubicBezTo>
                    <a:pt x="304" y="623"/>
                    <a:pt x="303" y="628"/>
                    <a:pt x="301" y="632"/>
                  </a:cubicBezTo>
                  <a:cubicBezTo>
                    <a:pt x="298" y="642"/>
                    <a:pt x="290" y="650"/>
                    <a:pt x="280" y="652"/>
                  </a:cubicBezTo>
                  <a:cubicBezTo>
                    <a:pt x="258" y="659"/>
                    <a:pt x="244" y="634"/>
                    <a:pt x="240" y="616"/>
                  </a:cubicBezTo>
                  <a:cubicBezTo>
                    <a:pt x="235" y="617"/>
                    <a:pt x="229" y="613"/>
                    <a:pt x="226" y="609"/>
                  </a:cubicBezTo>
                  <a:cubicBezTo>
                    <a:pt x="222" y="603"/>
                    <a:pt x="224" y="593"/>
                    <a:pt x="225" y="586"/>
                  </a:cubicBezTo>
                  <a:cubicBezTo>
                    <a:pt x="227" y="579"/>
                    <a:pt x="231" y="572"/>
                    <a:pt x="237" y="567"/>
                  </a:cubicBezTo>
                  <a:cubicBezTo>
                    <a:pt x="242" y="562"/>
                    <a:pt x="248" y="559"/>
                    <a:pt x="254" y="556"/>
                  </a:cubicBezTo>
                  <a:cubicBezTo>
                    <a:pt x="253" y="554"/>
                    <a:pt x="253" y="551"/>
                    <a:pt x="253" y="549"/>
                  </a:cubicBezTo>
                  <a:cubicBezTo>
                    <a:pt x="253" y="544"/>
                    <a:pt x="253" y="540"/>
                    <a:pt x="253" y="536"/>
                  </a:cubicBezTo>
                  <a:cubicBezTo>
                    <a:pt x="253" y="527"/>
                    <a:pt x="253" y="518"/>
                    <a:pt x="252" y="509"/>
                  </a:cubicBezTo>
                  <a:cubicBezTo>
                    <a:pt x="252" y="500"/>
                    <a:pt x="251" y="491"/>
                    <a:pt x="251" y="482"/>
                  </a:cubicBezTo>
                  <a:cubicBezTo>
                    <a:pt x="251" y="475"/>
                    <a:pt x="250" y="468"/>
                    <a:pt x="251" y="461"/>
                  </a:cubicBezTo>
                  <a:cubicBezTo>
                    <a:pt x="249" y="461"/>
                    <a:pt x="247" y="461"/>
                    <a:pt x="245" y="461"/>
                  </a:cubicBezTo>
                  <a:cubicBezTo>
                    <a:pt x="240" y="461"/>
                    <a:pt x="234" y="461"/>
                    <a:pt x="229" y="461"/>
                  </a:cubicBezTo>
                  <a:cubicBezTo>
                    <a:pt x="223" y="460"/>
                    <a:pt x="216" y="459"/>
                    <a:pt x="213" y="454"/>
                  </a:cubicBezTo>
                  <a:cubicBezTo>
                    <a:pt x="210" y="451"/>
                    <a:pt x="209" y="448"/>
                    <a:pt x="210" y="445"/>
                  </a:cubicBezTo>
                  <a:cubicBezTo>
                    <a:pt x="209" y="444"/>
                    <a:pt x="209" y="443"/>
                    <a:pt x="210" y="441"/>
                  </a:cubicBezTo>
                  <a:cubicBezTo>
                    <a:pt x="212" y="431"/>
                    <a:pt x="211" y="421"/>
                    <a:pt x="210" y="411"/>
                  </a:cubicBezTo>
                  <a:cubicBezTo>
                    <a:pt x="210" y="400"/>
                    <a:pt x="210" y="389"/>
                    <a:pt x="210" y="378"/>
                  </a:cubicBezTo>
                  <a:cubicBezTo>
                    <a:pt x="210" y="364"/>
                    <a:pt x="210" y="350"/>
                    <a:pt x="210" y="336"/>
                  </a:cubicBezTo>
                  <a:cubicBezTo>
                    <a:pt x="210" y="337"/>
                    <a:pt x="210" y="337"/>
                    <a:pt x="209" y="338"/>
                  </a:cubicBezTo>
                  <a:cubicBezTo>
                    <a:pt x="207" y="344"/>
                    <a:pt x="206" y="351"/>
                    <a:pt x="205" y="358"/>
                  </a:cubicBezTo>
                  <a:cubicBezTo>
                    <a:pt x="204" y="364"/>
                    <a:pt x="203" y="370"/>
                    <a:pt x="201" y="377"/>
                  </a:cubicBezTo>
                  <a:cubicBezTo>
                    <a:pt x="199" y="383"/>
                    <a:pt x="195" y="388"/>
                    <a:pt x="191" y="393"/>
                  </a:cubicBezTo>
                  <a:cubicBezTo>
                    <a:pt x="183" y="404"/>
                    <a:pt x="172" y="411"/>
                    <a:pt x="161" y="417"/>
                  </a:cubicBezTo>
                  <a:cubicBezTo>
                    <a:pt x="154" y="419"/>
                    <a:pt x="148" y="422"/>
                    <a:pt x="141" y="423"/>
                  </a:cubicBezTo>
                  <a:cubicBezTo>
                    <a:pt x="137" y="425"/>
                    <a:pt x="134" y="425"/>
                    <a:pt x="130" y="426"/>
                  </a:cubicBezTo>
                  <a:cubicBezTo>
                    <a:pt x="126" y="427"/>
                    <a:pt x="122" y="428"/>
                    <a:pt x="118" y="427"/>
                  </a:cubicBezTo>
                  <a:cubicBezTo>
                    <a:pt x="118" y="428"/>
                    <a:pt x="118" y="430"/>
                    <a:pt x="117" y="432"/>
                  </a:cubicBezTo>
                  <a:cubicBezTo>
                    <a:pt x="114" y="439"/>
                    <a:pt x="106" y="445"/>
                    <a:pt x="98" y="442"/>
                  </a:cubicBezTo>
                  <a:cubicBezTo>
                    <a:pt x="98" y="442"/>
                    <a:pt x="97" y="441"/>
                    <a:pt x="97" y="441"/>
                  </a:cubicBezTo>
                  <a:cubicBezTo>
                    <a:pt x="95" y="445"/>
                    <a:pt x="92" y="448"/>
                    <a:pt x="89" y="451"/>
                  </a:cubicBezTo>
                  <a:cubicBezTo>
                    <a:pt x="84" y="455"/>
                    <a:pt x="78" y="455"/>
                    <a:pt x="72" y="456"/>
                  </a:cubicBezTo>
                  <a:cubicBezTo>
                    <a:pt x="66" y="457"/>
                    <a:pt x="59" y="459"/>
                    <a:pt x="53" y="459"/>
                  </a:cubicBezTo>
                  <a:cubicBezTo>
                    <a:pt x="51" y="460"/>
                    <a:pt x="49" y="459"/>
                    <a:pt x="48" y="458"/>
                  </a:cubicBezTo>
                  <a:cubicBezTo>
                    <a:pt x="47" y="459"/>
                    <a:pt x="46" y="459"/>
                    <a:pt x="46" y="459"/>
                  </a:cubicBezTo>
                  <a:cubicBezTo>
                    <a:pt x="39" y="461"/>
                    <a:pt x="31" y="465"/>
                    <a:pt x="25" y="463"/>
                  </a:cubicBezTo>
                  <a:cubicBezTo>
                    <a:pt x="18" y="461"/>
                    <a:pt x="19" y="453"/>
                    <a:pt x="25" y="451"/>
                  </a:cubicBezTo>
                  <a:cubicBezTo>
                    <a:pt x="28" y="449"/>
                    <a:pt x="31" y="450"/>
                    <a:pt x="35" y="449"/>
                  </a:cubicBezTo>
                  <a:cubicBezTo>
                    <a:pt x="36" y="449"/>
                    <a:pt x="38" y="448"/>
                    <a:pt x="39" y="448"/>
                  </a:cubicBezTo>
                  <a:cubicBezTo>
                    <a:pt x="39" y="447"/>
                    <a:pt x="38" y="445"/>
                    <a:pt x="38" y="444"/>
                  </a:cubicBezTo>
                  <a:cubicBezTo>
                    <a:pt x="34" y="445"/>
                    <a:pt x="30" y="445"/>
                    <a:pt x="26" y="446"/>
                  </a:cubicBezTo>
                  <a:cubicBezTo>
                    <a:pt x="19" y="448"/>
                    <a:pt x="15" y="438"/>
                    <a:pt x="21" y="435"/>
                  </a:cubicBezTo>
                  <a:cubicBezTo>
                    <a:pt x="25" y="434"/>
                    <a:pt x="29" y="434"/>
                    <a:pt x="33" y="434"/>
                  </a:cubicBezTo>
                  <a:cubicBezTo>
                    <a:pt x="34" y="434"/>
                    <a:pt x="34" y="434"/>
                    <a:pt x="35" y="434"/>
                  </a:cubicBezTo>
                  <a:cubicBezTo>
                    <a:pt x="35" y="432"/>
                    <a:pt x="34" y="429"/>
                    <a:pt x="33" y="427"/>
                  </a:cubicBezTo>
                  <a:cubicBezTo>
                    <a:pt x="33" y="426"/>
                    <a:pt x="33" y="426"/>
                    <a:pt x="32" y="425"/>
                  </a:cubicBezTo>
                  <a:cubicBezTo>
                    <a:pt x="31" y="425"/>
                    <a:pt x="29" y="426"/>
                    <a:pt x="27" y="426"/>
                  </a:cubicBezTo>
                  <a:cubicBezTo>
                    <a:pt x="22" y="427"/>
                    <a:pt x="17" y="430"/>
                    <a:pt x="11" y="427"/>
                  </a:cubicBezTo>
                  <a:cubicBezTo>
                    <a:pt x="8" y="426"/>
                    <a:pt x="8" y="421"/>
                    <a:pt x="10" y="418"/>
                  </a:cubicBezTo>
                  <a:cubicBezTo>
                    <a:pt x="14" y="415"/>
                    <a:pt x="21" y="414"/>
                    <a:pt x="26" y="414"/>
                  </a:cubicBezTo>
                  <a:cubicBezTo>
                    <a:pt x="27" y="414"/>
                    <a:pt x="29" y="413"/>
                    <a:pt x="30" y="413"/>
                  </a:cubicBezTo>
                  <a:cubicBezTo>
                    <a:pt x="30" y="413"/>
                    <a:pt x="30" y="412"/>
                    <a:pt x="30" y="412"/>
                  </a:cubicBezTo>
                  <a:cubicBezTo>
                    <a:pt x="30" y="410"/>
                    <a:pt x="30" y="408"/>
                    <a:pt x="29" y="406"/>
                  </a:cubicBezTo>
                  <a:cubicBezTo>
                    <a:pt x="29" y="406"/>
                    <a:pt x="28" y="406"/>
                    <a:pt x="28" y="407"/>
                  </a:cubicBezTo>
                  <a:cubicBezTo>
                    <a:pt x="25" y="407"/>
                    <a:pt x="22" y="407"/>
                    <a:pt x="20" y="407"/>
                  </a:cubicBezTo>
                  <a:cubicBezTo>
                    <a:pt x="17" y="407"/>
                    <a:pt x="15" y="408"/>
                    <a:pt x="12" y="407"/>
                  </a:cubicBezTo>
                  <a:cubicBezTo>
                    <a:pt x="8" y="407"/>
                    <a:pt x="7" y="402"/>
                    <a:pt x="9" y="398"/>
                  </a:cubicBezTo>
                  <a:cubicBezTo>
                    <a:pt x="10" y="395"/>
                    <a:pt x="14" y="394"/>
                    <a:pt x="18" y="394"/>
                  </a:cubicBezTo>
                  <a:cubicBezTo>
                    <a:pt x="20" y="394"/>
                    <a:pt x="21" y="394"/>
                    <a:pt x="23" y="395"/>
                  </a:cubicBezTo>
                  <a:cubicBezTo>
                    <a:pt x="23" y="395"/>
                    <a:pt x="24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6" y="395"/>
                    <a:pt x="27" y="395"/>
                    <a:pt x="28" y="394"/>
                  </a:cubicBezTo>
                  <a:cubicBezTo>
                    <a:pt x="27" y="392"/>
                    <a:pt x="27" y="390"/>
                    <a:pt x="27" y="388"/>
                  </a:cubicBezTo>
                  <a:cubicBezTo>
                    <a:pt x="21" y="390"/>
                    <a:pt x="15" y="391"/>
                    <a:pt x="9" y="391"/>
                  </a:cubicBezTo>
                  <a:cubicBezTo>
                    <a:pt x="0" y="391"/>
                    <a:pt x="0" y="380"/>
                    <a:pt x="7" y="37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îṡḻiḓé"/>
            <p:cNvSpPr/>
            <p:nvPr/>
          </p:nvSpPr>
          <p:spPr bwMode="auto">
            <a:xfrm>
              <a:off x="5616882" y="3074837"/>
              <a:ext cx="6775" cy="677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ṡḷïḑè"/>
            <p:cNvSpPr/>
            <p:nvPr/>
          </p:nvSpPr>
          <p:spPr bwMode="auto">
            <a:xfrm>
              <a:off x="6433270" y="2099235"/>
              <a:ext cx="220189" cy="189700"/>
            </a:xfrm>
            <a:custGeom>
              <a:avLst/>
              <a:gdLst>
                <a:gd name="T0" fmla="*/ 6 w 31"/>
                <a:gd name="T1" fmla="*/ 7 h 27"/>
                <a:gd name="T2" fmla="*/ 19 w 31"/>
                <a:gd name="T3" fmla="*/ 1 h 27"/>
                <a:gd name="T4" fmla="*/ 24 w 31"/>
                <a:gd name="T5" fmla="*/ 5 h 27"/>
                <a:gd name="T6" fmla="*/ 25 w 31"/>
                <a:gd name="T7" fmla="*/ 5 h 27"/>
                <a:gd name="T8" fmla="*/ 30 w 31"/>
                <a:gd name="T9" fmla="*/ 18 h 27"/>
                <a:gd name="T10" fmla="*/ 16 w 31"/>
                <a:gd name="T11" fmla="*/ 27 h 27"/>
                <a:gd name="T12" fmla="*/ 6 w 31"/>
                <a:gd name="T1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6" y="7"/>
                  </a:moveTo>
                  <a:cubicBezTo>
                    <a:pt x="9" y="2"/>
                    <a:pt x="14" y="0"/>
                    <a:pt x="19" y="1"/>
                  </a:cubicBezTo>
                  <a:cubicBezTo>
                    <a:pt x="21" y="2"/>
                    <a:pt x="23" y="3"/>
                    <a:pt x="24" y="5"/>
                  </a:cubicBezTo>
                  <a:cubicBezTo>
                    <a:pt x="24" y="5"/>
                    <a:pt x="24" y="5"/>
                    <a:pt x="25" y="5"/>
                  </a:cubicBezTo>
                  <a:cubicBezTo>
                    <a:pt x="29" y="8"/>
                    <a:pt x="31" y="13"/>
                    <a:pt x="30" y="18"/>
                  </a:cubicBezTo>
                  <a:cubicBezTo>
                    <a:pt x="29" y="24"/>
                    <a:pt x="22" y="27"/>
                    <a:pt x="16" y="27"/>
                  </a:cubicBezTo>
                  <a:cubicBezTo>
                    <a:pt x="6" y="27"/>
                    <a:pt x="0" y="15"/>
                    <a:pt x="6" y="7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îṥliḍe"/>
            <p:cNvSpPr/>
            <p:nvPr/>
          </p:nvSpPr>
          <p:spPr bwMode="auto">
            <a:xfrm>
              <a:off x="5813357" y="2092460"/>
              <a:ext cx="226964" cy="196475"/>
            </a:xfrm>
            <a:custGeom>
              <a:avLst/>
              <a:gdLst>
                <a:gd name="T0" fmla="*/ 16 w 32"/>
                <a:gd name="T1" fmla="*/ 28 h 28"/>
                <a:gd name="T2" fmla="*/ 4 w 32"/>
                <a:gd name="T3" fmla="*/ 10 h 28"/>
                <a:gd name="T4" fmla="*/ 13 w 32"/>
                <a:gd name="T5" fmla="*/ 1 h 28"/>
                <a:gd name="T6" fmla="*/ 25 w 32"/>
                <a:gd name="T7" fmla="*/ 3 h 28"/>
                <a:gd name="T8" fmla="*/ 28 w 32"/>
                <a:gd name="T9" fmla="*/ 5 h 28"/>
                <a:gd name="T10" fmla="*/ 32 w 32"/>
                <a:gd name="T11" fmla="*/ 14 h 28"/>
                <a:gd name="T12" fmla="*/ 16 w 3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8">
                  <a:moveTo>
                    <a:pt x="16" y="28"/>
                  </a:moveTo>
                  <a:cubicBezTo>
                    <a:pt x="7" y="27"/>
                    <a:pt x="0" y="19"/>
                    <a:pt x="4" y="10"/>
                  </a:cubicBezTo>
                  <a:cubicBezTo>
                    <a:pt x="6" y="5"/>
                    <a:pt x="9" y="3"/>
                    <a:pt x="13" y="1"/>
                  </a:cubicBezTo>
                  <a:cubicBezTo>
                    <a:pt x="16" y="0"/>
                    <a:pt x="22" y="1"/>
                    <a:pt x="25" y="3"/>
                  </a:cubicBezTo>
                  <a:cubicBezTo>
                    <a:pt x="26" y="4"/>
                    <a:pt x="27" y="4"/>
                    <a:pt x="28" y="5"/>
                  </a:cubicBezTo>
                  <a:cubicBezTo>
                    <a:pt x="31" y="7"/>
                    <a:pt x="32" y="11"/>
                    <a:pt x="32" y="14"/>
                  </a:cubicBezTo>
                  <a:cubicBezTo>
                    <a:pt x="31" y="22"/>
                    <a:pt x="25" y="28"/>
                    <a:pt x="16" y="2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işḷîḑé"/>
            <p:cNvSpPr/>
            <p:nvPr/>
          </p:nvSpPr>
          <p:spPr bwMode="auto">
            <a:xfrm>
              <a:off x="6019994" y="2349910"/>
              <a:ext cx="399726" cy="149050"/>
            </a:xfrm>
            <a:custGeom>
              <a:avLst/>
              <a:gdLst>
                <a:gd name="T0" fmla="*/ 26 w 57"/>
                <a:gd name="T1" fmla="*/ 20 h 21"/>
                <a:gd name="T2" fmla="*/ 10 w 57"/>
                <a:gd name="T3" fmla="*/ 17 h 21"/>
                <a:gd name="T4" fmla="*/ 3 w 57"/>
                <a:gd name="T5" fmla="*/ 3 h 21"/>
                <a:gd name="T6" fmla="*/ 9 w 57"/>
                <a:gd name="T7" fmla="*/ 2 h 21"/>
                <a:gd name="T8" fmla="*/ 16 w 57"/>
                <a:gd name="T9" fmla="*/ 8 h 21"/>
                <a:gd name="T10" fmla="*/ 26 w 57"/>
                <a:gd name="T11" fmla="*/ 10 h 21"/>
                <a:gd name="T12" fmla="*/ 52 w 57"/>
                <a:gd name="T13" fmla="*/ 2 h 21"/>
                <a:gd name="T14" fmla="*/ 56 w 57"/>
                <a:gd name="T15" fmla="*/ 4 h 21"/>
                <a:gd name="T16" fmla="*/ 26 w 57"/>
                <a:gd name="T1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21">
                  <a:moveTo>
                    <a:pt x="26" y="20"/>
                  </a:moveTo>
                  <a:cubicBezTo>
                    <a:pt x="20" y="21"/>
                    <a:pt x="15" y="19"/>
                    <a:pt x="10" y="17"/>
                  </a:cubicBezTo>
                  <a:cubicBezTo>
                    <a:pt x="5" y="15"/>
                    <a:pt x="0" y="9"/>
                    <a:pt x="3" y="3"/>
                  </a:cubicBezTo>
                  <a:cubicBezTo>
                    <a:pt x="4" y="1"/>
                    <a:pt x="7" y="1"/>
                    <a:pt x="9" y="2"/>
                  </a:cubicBezTo>
                  <a:cubicBezTo>
                    <a:pt x="12" y="3"/>
                    <a:pt x="13" y="6"/>
                    <a:pt x="16" y="8"/>
                  </a:cubicBezTo>
                  <a:cubicBezTo>
                    <a:pt x="19" y="9"/>
                    <a:pt x="23" y="9"/>
                    <a:pt x="26" y="10"/>
                  </a:cubicBezTo>
                  <a:cubicBezTo>
                    <a:pt x="35" y="10"/>
                    <a:pt x="47" y="9"/>
                    <a:pt x="52" y="2"/>
                  </a:cubicBezTo>
                  <a:cubicBezTo>
                    <a:pt x="54" y="0"/>
                    <a:pt x="57" y="2"/>
                    <a:pt x="56" y="4"/>
                  </a:cubicBezTo>
                  <a:cubicBezTo>
                    <a:pt x="50" y="15"/>
                    <a:pt x="38" y="20"/>
                    <a:pt x="26" y="2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î$ľidé"/>
            <p:cNvSpPr/>
            <p:nvPr/>
          </p:nvSpPr>
          <p:spPr bwMode="auto">
            <a:xfrm>
              <a:off x="6968496" y="1909534"/>
              <a:ext cx="57589" cy="40650"/>
            </a:xfrm>
            <a:custGeom>
              <a:avLst/>
              <a:gdLst>
                <a:gd name="T0" fmla="*/ 4 w 8"/>
                <a:gd name="T1" fmla="*/ 6 h 6"/>
                <a:gd name="T2" fmla="*/ 4 w 8"/>
                <a:gd name="T3" fmla="*/ 0 h 6"/>
                <a:gd name="T4" fmla="*/ 4 w 8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cubicBezTo>
                    <a:pt x="0" y="6"/>
                    <a:pt x="0" y="0"/>
                    <a:pt x="4" y="0"/>
                  </a:cubicBezTo>
                  <a:cubicBezTo>
                    <a:pt x="8" y="0"/>
                    <a:pt x="8" y="6"/>
                    <a:pt x="4" y="6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ïŝ1îḋé"/>
            <p:cNvSpPr/>
            <p:nvPr/>
          </p:nvSpPr>
          <p:spPr bwMode="auto">
            <a:xfrm>
              <a:off x="7012535" y="2055196"/>
              <a:ext cx="40650" cy="50814"/>
            </a:xfrm>
            <a:custGeom>
              <a:avLst/>
              <a:gdLst>
                <a:gd name="T0" fmla="*/ 5 w 6"/>
                <a:gd name="T1" fmla="*/ 5 h 7"/>
                <a:gd name="T2" fmla="*/ 1 w 6"/>
                <a:gd name="T3" fmla="*/ 5 h 7"/>
                <a:gd name="T4" fmla="*/ 0 w 6"/>
                <a:gd name="T5" fmla="*/ 4 h 7"/>
                <a:gd name="T6" fmla="*/ 0 w 6"/>
                <a:gd name="T7" fmla="*/ 1 h 7"/>
                <a:gd name="T8" fmla="*/ 3 w 6"/>
                <a:gd name="T9" fmla="*/ 0 h 7"/>
                <a:gd name="T10" fmla="*/ 5 w 6"/>
                <a:gd name="T11" fmla="*/ 1 h 7"/>
                <a:gd name="T12" fmla="*/ 5 w 6"/>
                <a:gd name="T13" fmla="*/ 4 h 7"/>
                <a:gd name="T14" fmla="*/ 5 w 6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7">
                  <a:moveTo>
                    <a:pt x="5" y="5"/>
                  </a:moveTo>
                  <a:cubicBezTo>
                    <a:pt x="4" y="7"/>
                    <a:pt x="1" y="7"/>
                    <a:pt x="1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6" y="2"/>
                    <a:pt x="6" y="3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ïṥlïḑé"/>
            <p:cNvSpPr/>
            <p:nvPr/>
          </p:nvSpPr>
          <p:spPr bwMode="auto">
            <a:xfrm>
              <a:off x="7012535" y="2183921"/>
              <a:ext cx="33875" cy="47425"/>
            </a:xfrm>
            <a:custGeom>
              <a:avLst/>
              <a:gdLst>
                <a:gd name="T0" fmla="*/ 2 w 5"/>
                <a:gd name="T1" fmla="*/ 0 h 7"/>
                <a:gd name="T2" fmla="*/ 5 w 5"/>
                <a:gd name="T3" fmla="*/ 3 h 7"/>
                <a:gd name="T4" fmla="*/ 5 w 5"/>
                <a:gd name="T5" fmla="*/ 5 h 7"/>
                <a:gd name="T6" fmla="*/ 2 w 5"/>
                <a:gd name="T7" fmla="*/ 7 h 7"/>
                <a:gd name="T8" fmla="*/ 0 w 5"/>
                <a:gd name="T9" fmla="*/ 5 h 7"/>
                <a:gd name="T10" fmla="*/ 0 w 5"/>
                <a:gd name="T11" fmla="*/ 3 h 7"/>
                <a:gd name="T12" fmla="*/ 2 w 5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7">
                  <a:moveTo>
                    <a:pt x="2" y="0"/>
                  </a:moveTo>
                  <a:cubicBezTo>
                    <a:pt x="4" y="0"/>
                    <a:pt x="5" y="1"/>
                    <a:pt x="5" y="3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4" y="6"/>
                    <a:pt x="3" y="7"/>
                    <a:pt x="2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ṧľiḋê"/>
            <p:cNvSpPr/>
            <p:nvPr/>
          </p:nvSpPr>
          <p:spPr bwMode="auto">
            <a:xfrm>
              <a:off x="7019310" y="2434597"/>
              <a:ext cx="33875" cy="44039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íṡľïḑè"/>
            <p:cNvSpPr/>
            <p:nvPr/>
          </p:nvSpPr>
          <p:spPr bwMode="auto">
            <a:xfrm>
              <a:off x="7019310" y="2556547"/>
              <a:ext cx="40650" cy="47425"/>
            </a:xfrm>
            <a:custGeom>
              <a:avLst/>
              <a:gdLst>
                <a:gd name="T0" fmla="*/ 3 w 6"/>
                <a:gd name="T1" fmla="*/ 0 h 7"/>
                <a:gd name="T2" fmla="*/ 5 w 6"/>
                <a:gd name="T3" fmla="*/ 1 h 7"/>
                <a:gd name="T4" fmla="*/ 6 w 6"/>
                <a:gd name="T5" fmla="*/ 4 h 7"/>
                <a:gd name="T6" fmla="*/ 6 w 6"/>
                <a:gd name="T7" fmla="*/ 5 h 7"/>
                <a:gd name="T8" fmla="*/ 3 w 6"/>
                <a:gd name="T9" fmla="*/ 7 h 7"/>
                <a:gd name="T10" fmla="*/ 0 w 6"/>
                <a:gd name="T11" fmla="*/ 5 h 7"/>
                <a:gd name="T12" fmla="*/ 0 w 6"/>
                <a:gd name="T13" fmla="*/ 4 h 7"/>
                <a:gd name="T14" fmla="*/ 1 w 6"/>
                <a:gd name="T15" fmla="*/ 2 h 7"/>
                <a:gd name="T16" fmla="*/ 3 w 6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4" y="0"/>
                    <a:pt x="5" y="1"/>
                    <a:pt x="5" y="1"/>
                  </a:cubicBezTo>
                  <a:cubicBezTo>
                    <a:pt x="6" y="2"/>
                    <a:pt x="6" y="3"/>
                    <a:pt x="6" y="4"/>
                  </a:cubicBezTo>
                  <a:cubicBezTo>
                    <a:pt x="6" y="4"/>
                    <a:pt x="6" y="5"/>
                    <a:pt x="6" y="5"/>
                  </a:cubicBezTo>
                  <a:cubicBezTo>
                    <a:pt x="6" y="6"/>
                    <a:pt x="4" y="7"/>
                    <a:pt x="3" y="7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íSḷiḍè"/>
            <p:cNvSpPr/>
            <p:nvPr/>
          </p:nvSpPr>
          <p:spPr bwMode="auto">
            <a:xfrm>
              <a:off x="7026085" y="2695436"/>
              <a:ext cx="40650" cy="50814"/>
            </a:xfrm>
            <a:prstGeom prst="ellipse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íSlidê"/>
            <p:cNvSpPr/>
            <p:nvPr/>
          </p:nvSpPr>
          <p:spPr bwMode="auto">
            <a:xfrm>
              <a:off x="7019310" y="2813998"/>
              <a:ext cx="40650" cy="37264"/>
            </a:xfrm>
            <a:custGeom>
              <a:avLst/>
              <a:gdLst>
                <a:gd name="T0" fmla="*/ 1 w 6"/>
                <a:gd name="T1" fmla="*/ 0 h 5"/>
                <a:gd name="T2" fmla="*/ 3 w 6"/>
                <a:gd name="T3" fmla="*/ 0 h 5"/>
                <a:gd name="T4" fmla="*/ 3 w 6"/>
                <a:gd name="T5" fmla="*/ 0 h 5"/>
                <a:gd name="T6" fmla="*/ 4 w 6"/>
                <a:gd name="T7" fmla="*/ 0 h 5"/>
                <a:gd name="T8" fmla="*/ 6 w 6"/>
                <a:gd name="T9" fmla="*/ 0 h 5"/>
                <a:gd name="T10" fmla="*/ 6 w 6"/>
                <a:gd name="T11" fmla="*/ 2 h 5"/>
                <a:gd name="T12" fmla="*/ 6 w 6"/>
                <a:gd name="T13" fmla="*/ 4 h 5"/>
                <a:gd name="T14" fmla="*/ 4 w 6"/>
                <a:gd name="T15" fmla="*/ 5 h 5"/>
                <a:gd name="T16" fmla="*/ 3 w 6"/>
                <a:gd name="T17" fmla="*/ 5 h 5"/>
                <a:gd name="T18" fmla="*/ 3 w 6"/>
                <a:gd name="T19" fmla="*/ 5 h 5"/>
                <a:gd name="T20" fmla="*/ 1 w 6"/>
                <a:gd name="T21" fmla="*/ 4 h 5"/>
                <a:gd name="T22" fmla="*/ 1 w 6"/>
                <a:gd name="T23" fmla="*/ 4 h 5"/>
                <a:gd name="T24" fmla="*/ 0 w 6"/>
                <a:gd name="T25" fmla="*/ 2 h 5"/>
                <a:gd name="T26" fmla="*/ 1 w 6"/>
                <a:gd name="T27" fmla="*/ 0 h 5"/>
                <a:gd name="T28" fmla="*/ 1 w 6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5">
                  <a:moveTo>
                    <a:pt x="1" y="0"/>
                  </a:move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5" y="5"/>
                    <a:pt x="5" y="5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šlîdê"/>
            <p:cNvSpPr/>
            <p:nvPr/>
          </p:nvSpPr>
          <p:spPr bwMode="auto">
            <a:xfrm>
              <a:off x="7032860" y="2922398"/>
              <a:ext cx="57589" cy="40650"/>
            </a:xfrm>
            <a:custGeom>
              <a:avLst/>
              <a:gdLst>
                <a:gd name="T0" fmla="*/ 4 w 8"/>
                <a:gd name="T1" fmla="*/ 0 h 6"/>
                <a:gd name="T2" fmla="*/ 4 w 8"/>
                <a:gd name="T3" fmla="*/ 6 h 6"/>
                <a:gd name="T4" fmla="*/ 4 w 8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6">
                  <a:moveTo>
                    <a:pt x="4" y="0"/>
                  </a:moveTo>
                  <a:cubicBezTo>
                    <a:pt x="8" y="0"/>
                    <a:pt x="8" y="6"/>
                    <a:pt x="4" y="6"/>
                  </a:cubicBezTo>
                  <a:cubicBezTo>
                    <a:pt x="0" y="6"/>
                    <a:pt x="0" y="0"/>
                    <a:pt x="4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ṩľiḑê"/>
            <p:cNvSpPr/>
            <p:nvPr/>
          </p:nvSpPr>
          <p:spPr bwMode="auto">
            <a:xfrm>
              <a:off x="7005760" y="5388503"/>
              <a:ext cx="6775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ŝḻíḓê"/>
            <p:cNvSpPr/>
            <p:nvPr/>
          </p:nvSpPr>
          <p:spPr bwMode="auto">
            <a:xfrm>
              <a:off x="4414315" y="1367533"/>
              <a:ext cx="3357022" cy="4634110"/>
            </a:xfrm>
            <a:custGeom>
              <a:avLst/>
              <a:gdLst>
                <a:gd name="T0" fmla="*/ 109 w 477"/>
                <a:gd name="T1" fmla="*/ 376 h 659"/>
                <a:gd name="T2" fmla="*/ 250 w 477"/>
                <a:gd name="T3" fmla="*/ 251 h 659"/>
                <a:gd name="T4" fmla="*/ 154 w 477"/>
                <a:gd name="T5" fmla="*/ 160 h 659"/>
                <a:gd name="T6" fmla="*/ 155 w 477"/>
                <a:gd name="T7" fmla="*/ 133 h 659"/>
                <a:gd name="T8" fmla="*/ 467 w 477"/>
                <a:gd name="T9" fmla="*/ 127 h 659"/>
                <a:gd name="T10" fmla="*/ 398 w 477"/>
                <a:gd name="T11" fmla="*/ 242 h 659"/>
                <a:gd name="T12" fmla="*/ 422 w 477"/>
                <a:gd name="T13" fmla="*/ 338 h 659"/>
                <a:gd name="T14" fmla="*/ 432 w 477"/>
                <a:gd name="T15" fmla="*/ 565 h 659"/>
                <a:gd name="T16" fmla="*/ 399 w 477"/>
                <a:gd name="T17" fmla="*/ 561 h 659"/>
                <a:gd name="T18" fmla="*/ 368 w 477"/>
                <a:gd name="T19" fmla="*/ 560 h 659"/>
                <a:gd name="T20" fmla="*/ 355 w 477"/>
                <a:gd name="T21" fmla="*/ 532 h 659"/>
                <a:gd name="T22" fmla="*/ 390 w 477"/>
                <a:gd name="T23" fmla="*/ 430 h 659"/>
                <a:gd name="T24" fmla="*/ 296 w 477"/>
                <a:gd name="T25" fmla="*/ 462 h 659"/>
                <a:gd name="T26" fmla="*/ 240 w 477"/>
                <a:gd name="T27" fmla="*/ 616 h 659"/>
                <a:gd name="T28" fmla="*/ 213 w 477"/>
                <a:gd name="T29" fmla="*/ 454 h 659"/>
                <a:gd name="T30" fmla="*/ 130 w 477"/>
                <a:gd name="T31" fmla="*/ 426 h 659"/>
                <a:gd name="T32" fmla="*/ 35 w 477"/>
                <a:gd name="T33" fmla="*/ 449 h 659"/>
                <a:gd name="T34" fmla="*/ 26 w 477"/>
                <a:gd name="T35" fmla="*/ 414 h 659"/>
                <a:gd name="T36" fmla="*/ 25 w 477"/>
                <a:gd name="T37" fmla="*/ 395 h 659"/>
                <a:gd name="T38" fmla="*/ 112 w 477"/>
                <a:gd name="T39" fmla="*/ 141 h 659"/>
                <a:gd name="T40" fmla="*/ 450 w 477"/>
                <a:gd name="T41" fmla="*/ 149 h 659"/>
                <a:gd name="T42" fmla="*/ 439 w 477"/>
                <a:gd name="T43" fmla="*/ 144 h 659"/>
                <a:gd name="T44" fmla="*/ 333 w 477"/>
                <a:gd name="T45" fmla="*/ 307 h 659"/>
                <a:gd name="T46" fmla="*/ 319 w 477"/>
                <a:gd name="T47" fmla="*/ 289 h 659"/>
                <a:gd name="T48" fmla="*/ 232 w 477"/>
                <a:gd name="T49" fmla="*/ 303 h 659"/>
                <a:gd name="T50" fmla="*/ 228 w 477"/>
                <a:gd name="T51" fmla="*/ 346 h 659"/>
                <a:gd name="T52" fmla="*/ 282 w 477"/>
                <a:gd name="T53" fmla="*/ 434 h 659"/>
                <a:gd name="T54" fmla="*/ 283 w 477"/>
                <a:gd name="T55" fmla="*/ 270 h 659"/>
                <a:gd name="T56" fmla="*/ 238 w 477"/>
                <a:gd name="T57" fmla="*/ 343 h 659"/>
                <a:gd name="T58" fmla="*/ 225 w 477"/>
                <a:gd name="T59" fmla="*/ 300 h 659"/>
                <a:gd name="T60" fmla="*/ 365 w 477"/>
                <a:gd name="T61" fmla="*/ 61 h 659"/>
                <a:gd name="T62" fmla="*/ 388 w 477"/>
                <a:gd name="T63" fmla="*/ 229 h 659"/>
                <a:gd name="T64" fmla="*/ 385 w 477"/>
                <a:gd name="T65" fmla="*/ 232 h 659"/>
                <a:gd name="T66" fmla="*/ 342 w 477"/>
                <a:gd name="T67" fmla="*/ 35 h 659"/>
                <a:gd name="T68" fmla="*/ 276 w 477"/>
                <a:gd name="T69" fmla="*/ 231 h 659"/>
                <a:gd name="T70" fmla="*/ 345 w 477"/>
                <a:gd name="T71" fmla="*/ 281 h 659"/>
                <a:gd name="T72" fmla="*/ 418 w 477"/>
                <a:gd name="T73" fmla="*/ 365 h 659"/>
                <a:gd name="T74" fmla="*/ 437 w 477"/>
                <a:gd name="T75" fmla="*/ 420 h 659"/>
                <a:gd name="T76" fmla="*/ 440 w 477"/>
                <a:gd name="T77" fmla="*/ 449 h 659"/>
                <a:gd name="T78" fmla="*/ 437 w 477"/>
                <a:gd name="T79" fmla="*/ 468 h 659"/>
                <a:gd name="T80" fmla="*/ 427 w 477"/>
                <a:gd name="T81" fmla="*/ 524 h 659"/>
                <a:gd name="T82" fmla="*/ 433 w 477"/>
                <a:gd name="T83" fmla="*/ 505 h 659"/>
                <a:gd name="T84" fmla="*/ 428 w 477"/>
                <a:gd name="T85" fmla="*/ 479 h 659"/>
                <a:gd name="T86" fmla="*/ 404 w 477"/>
                <a:gd name="T87" fmla="*/ 396 h 659"/>
                <a:gd name="T88" fmla="*/ 389 w 477"/>
                <a:gd name="T89" fmla="*/ 346 h 659"/>
                <a:gd name="T90" fmla="*/ 363 w 477"/>
                <a:gd name="T91" fmla="*/ 292 h 659"/>
                <a:gd name="T92" fmla="*/ 265 w 477"/>
                <a:gd name="T93" fmla="*/ 539 h 659"/>
                <a:gd name="T94" fmla="*/ 264 w 477"/>
                <a:gd name="T95" fmla="*/ 507 h 659"/>
                <a:gd name="T96" fmla="*/ 285 w 477"/>
                <a:gd name="T97" fmla="*/ 558 h 659"/>
                <a:gd name="T98" fmla="*/ 263 w 477"/>
                <a:gd name="T99" fmla="*/ 479 h 659"/>
                <a:gd name="T100" fmla="*/ 239 w 477"/>
                <a:gd name="T101" fmla="*/ 600 h 659"/>
                <a:gd name="T102" fmla="*/ 285 w 477"/>
                <a:gd name="T103" fmla="*/ 570 h 659"/>
                <a:gd name="T104" fmla="*/ 261 w 477"/>
                <a:gd name="T105" fmla="*/ 461 h 659"/>
                <a:gd name="T106" fmla="*/ 281 w 477"/>
                <a:gd name="T107" fmla="*/ 440 h 659"/>
                <a:gd name="T108" fmla="*/ 193 w 477"/>
                <a:gd name="T109" fmla="*/ 289 h 659"/>
                <a:gd name="T110" fmla="*/ 194 w 477"/>
                <a:gd name="T111" fmla="*/ 345 h 659"/>
                <a:gd name="T112" fmla="*/ 193 w 477"/>
                <a:gd name="T113" fmla="*/ 351 h 659"/>
                <a:gd name="T114" fmla="*/ 118 w 477"/>
                <a:gd name="T115" fmla="*/ 413 h 659"/>
                <a:gd name="T116" fmla="*/ 138 w 477"/>
                <a:gd name="T117" fmla="*/ 407 h 659"/>
                <a:gd name="T118" fmla="*/ 94 w 477"/>
                <a:gd name="T119" fmla="*/ 375 h 659"/>
                <a:gd name="T120" fmla="*/ 81 w 477"/>
                <a:gd name="T121" fmla="*/ 39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7" h="659">
                  <a:moveTo>
                    <a:pt x="7" y="378"/>
                  </a:moveTo>
                  <a:cubicBezTo>
                    <a:pt x="10" y="377"/>
                    <a:pt x="13" y="377"/>
                    <a:pt x="17" y="376"/>
                  </a:cubicBezTo>
                  <a:cubicBezTo>
                    <a:pt x="20" y="376"/>
                    <a:pt x="24" y="375"/>
                    <a:pt x="28" y="375"/>
                  </a:cubicBezTo>
                  <a:cubicBezTo>
                    <a:pt x="31" y="375"/>
                    <a:pt x="35" y="374"/>
                    <a:pt x="39" y="374"/>
                  </a:cubicBezTo>
                  <a:cubicBezTo>
                    <a:pt x="41" y="373"/>
                    <a:pt x="43" y="373"/>
                    <a:pt x="45" y="372"/>
                  </a:cubicBezTo>
                  <a:cubicBezTo>
                    <a:pt x="51" y="371"/>
                    <a:pt x="56" y="371"/>
                    <a:pt x="62" y="372"/>
                  </a:cubicBezTo>
                  <a:cubicBezTo>
                    <a:pt x="67" y="373"/>
                    <a:pt x="71" y="373"/>
                    <a:pt x="75" y="375"/>
                  </a:cubicBezTo>
                  <a:cubicBezTo>
                    <a:pt x="77" y="376"/>
                    <a:pt x="78" y="377"/>
                    <a:pt x="79" y="378"/>
                  </a:cubicBezTo>
                  <a:cubicBezTo>
                    <a:pt x="79" y="377"/>
                    <a:pt x="79" y="377"/>
                    <a:pt x="79" y="376"/>
                  </a:cubicBezTo>
                  <a:cubicBezTo>
                    <a:pt x="81" y="369"/>
                    <a:pt x="87" y="363"/>
                    <a:pt x="95" y="363"/>
                  </a:cubicBezTo>
                  <a:cubicBezTo>
                    <a:pt x="101" y="363"/>
                    <a:pt x="104" y="366"/>
                    <a:pt x="105" y="371"/>
                  </a:cubicBezTo>
                  <a:cubicBezTo>
                    <a:pt x="107" y="372"/>
                    <a:pt x="108" y="374"/>
                    <a:pt x="109" y="376"/>
                  </a:cubicBezTo>
                  <a:cubicBezTo>
                    <a:pt x="111" y="375"/>
                    <a:pt x="114" y="375"/>
                    <a:pt x="117" y="374"/>
                  </a:cubicBezTo>
                  <a:cubicBezTo>
                    <a:pt x="121" y="373"/>
                    <a:pt x="125" y="372"/>
                    <a:pt x="129" y="371"/>
                  </a:cubicBezTo>
                  <a:cubicBezTo>
                    <a:pt x="135" y="369"/>
                    <a:pt x="142" y="365"/>
                    <a:pt x="146" y="359"/>
                  </a:cubicBezTo>
                  <a:cubicBezTo>
                    <a:pt x="150" y="352"/>
                    <a:pt x="151" y="343"/>
                    <a:pt x="152" y="335"/>
                  </a:cubicBezTo>
                  <a:cubicBezTo>
                    <a:pt x="153" y="326"/>
                    <a:pt x="155" y="318"/>
                    <a:pt x="159" y="310"/>
                  </a:cubicBezTo>
                  <a:cubicBezTo>
                    <a:pt x="162" y="302"/>
                    <a:pt x="167" y="295"/>
                    <a:pt x="172" y="288"/>
                  </a:cubicBezTo>
                  <a:cubicBezTo>
                    <a:pt x="178" y="282"/>
                    <a:pt x="185" y="277"/>
                    <a:pt x="193" y="272"/>
                  </a:cubicBezTo>
                  <a:cubicBezTo>
                    <a:pt x="201" y="267"/>
                    <a:pt x="210" y="262"/>
                    <a:pt x="219" y="260"/>
                  </a:cubicBezTo>
                  <a:cubicBezTo>
                    <a:pt x="222" y="260"/>
                    <a:pt x="224" y="260"/>
                    <a:pt x="227" y="259"/>
                  </a:cubicBezTo>
                  <a:cubicBezTo>
                    <a:pt x="231" y="257"/>
                    <a:pt x="236" y="256"/>
                    <a:pt x="240" y="256"/>
                  </a:cubicBezTo>
                  <a:cubicBezTo>
                    <a:pt x="243" y="256"/>
                    <a:pt x="246" y="256"/>
                    <a:pt x="249" y="257"/>
                  </a:cubicBezTo>
                  <a:cubicBezTo>
                    <a:pt x="250" y="255"/>
                    <a:pt x="250" y="253"/>
                    <a:pt x="250" y="251"/>
                  </a:cubicBezTo>
                  <a:cubicBezTo>
                    <a:pt x="251" y="250"/>
                    <a:pt x="251" y="248"/>
                    <a:pt x="251" y="247"/>
                  </a:cubicBezTo>
                  <a:cubicBezTo>
                    <a:pt x="246" y="247"/>
                    <a:pt x="240" y="247"/>
                    <a:pt x="235" y="247"/>
                  </a:cubicBezTo>
                  <a:cubicBezTo>
                    <a:pt x="224" y="247"/>
                    <a:pt x="213" y="248"/>
                    <a:pt x="202" y="247"/>
                  </a:cubicBezTo>
                  <a:cubicBezTo>
                    <a:pt x="196" y="247"/>
                    <a:pt x="191" y="246"/>
                    <a:pt x="186" y="245"/>
                  </a:cubicBezTo>
                  <a:cubicBezTo>
                    <a:pt x="183" y="245"/>
                    <a:pt x="181" y="245"/>
                    <a:pt x="179" y="244"/>
                  </a:cubicBezTo>
                  <a:cubicBezTo>
                    <a:pt x="177" y="244"/>
                    <a:pt x="176" y="244"/>
                    <a:pt x="174" y="244"/>
                  </a:cubicBezTo>
                  <a:cubicBezTo>
                    <a:pt x="174" y="244"/>
                    <a:pt x="170" y="243"/>
                    <a:pt x="171" y="243"/>
                  </a:cubicBezTo>
                  <a:cubicBezTo>
                    <a:pt x="168" y="243"/>
                    <a:pt x="164" y="243"/>
                    <a:pt x="161" y="241"/>
                  </a:cubicBezTo>
                  <a:cubicBezTo>
                    <a:pt x="157" y="239"/>
                    <a:pt x="156" y="233"/>
                    <a:pt x="157" y="229"/>
                  </a:cubicBezTo>
                  <a:cubicBezTo>
                    <a:pt x="157" y="229"/>
                    <a:pt x="157" y="229"/>
                    <a:pt x="157" y="228"/>
                  </a:cubicBezTo>
                  <a:cubicBezTo>
                    <a:pt x="155" y="217"/>
                    <a:pt x="156" y="206"/>
                    <a:pt x="155" y="194"/>
                  </a:cubicBezTo>
                  <a:cubicBezTo>
                    <a:pt x="155" y="183"/>
                    <a:pt x="154" y="171"/>
                    <a:pt x="154" y="160"/>
                  </a:cubicBezTo>
                  <a:cubicBezTo>
                    <a:pt x="154" y="156"/>
                    <a:pt x="154" y="152"/>
                    <a:pt x="154" y="147"/>
                  </a:cubicBezTo>
                  <a:cubicBezTo>
                    <a:pt x="153" y="148"/>
                    <a:pt x="152" y="148"/>
                    <a:pt x="151" y="148"/>
                  </a:cubicBezTo>
                  <a:cubicBezTo>
                    <a:pt x="148" y="148"/>
                    <a:pt x="145" y="148"/>
                    <a:pt x="142" y="148"/>
                  </a:cubicBezTo>
                  <a:cubicBezTo>
                    <a:pt x="140" y="155"/>
                    <a:pt x="134" y="160"/>
                    <a:pt x="128" y="162"/>
                  </a:cubicBezTo>
                  <a:cubicBezTo>
                    <a:pt x="107" y="170"/>
                    <a:pt x="87" y="145"/>
                    <a:pt x="102" y="128"/>
                  </a:cubicBezTo>
                  <a:cubicBezTo>
                    <a:pt x="105" y="125"/>
                    <a:pt x="109" y="123"/>
                    <a:pt x="113" y="122"/>
                  </a:cubicBezTo>
                  <a:cubicBezTo>
                    <a:pt x="117" y="121"/>
                    <a:pt x="124" y="120"/>
                    <a:pt x="128" y="122"/>
                  </a:cubicBezTo>
                  <a:cubicBezTo>
                    <a:pt x="128" y="122"/>
                    <a:pt x="128" y="122"/>
                    <a:pt x="128" y="122"/>
                  </a:cubicBezTo>
                  <a:cubicBezTo>
                    <a:pt x="134" y="122"/>
                    <a:pt x="138" y="127"/>
                    <a:pt x="141" y="133"/>
                  </a:cubicBezTo>
                  <a:cubicBezTo>
                    <a:pt x="141" y="133"/>
                    <a:pt x="142" y="133"/>
                    <a:pt x="142" y="133"/>
                  </a:cubicBezTo>
                  <a:cubicBezTo>
                    <a:pt x="145" y="133"/>
                    <a:pt x="147" y="133"/>
                    <a:pt x="150" y="133"/>
                  </a:cubicBezTo>
                  <a:cubicBezTo>
                    <a:pt x="152" y="133"/>
                    <a:pt x="154" y="133"/>
                    <a:pt x="155" y="133"/>
                  </a:cubicBezTo>
                  <a:cubicBezTo>
                    <a:pt x="156" y="119"/>
                    <a:pt x="158" y="105"/>
                    <a:pt x="162" y="91"/>
                  </a:cubicBezTo>
                  <a:cubicBezTo>
                    <a:pt x="172" y="56"/>
                    <a:pt x="197" y="28"/>
                    <a:pt x="231" y="14"/>
                  </a:cubicBezTo>
                  <a:cubicBezTo>
                    <a:pt x="256" y="3"/>
                    <a:pt x="283" y="0"/>
                    <a:pt x="309" y="6"/>
                  </a:cubicBezTo>
                  <a:cubicBezTo>
                    <a:pt x="333" y="11"/>
                    <a:pt x="355" y="26"/>
                    <a:pt x="368" y="47"/>
                  </a:cubicBezTo>
                  <a:cubicBezTo>
                    <a:pt x="380" y="54"/>
                    <a:pt x="387" y="69"/>
                    <a:pt x="392" y="81"/>
                  </a:cubicBezTo>
                  <a:cubicBezTo>
                    <a:pt x="398" y="97"/>
                    <a:pt x="397" y="115"/>
                    <a:pt x="399" y="133"/>
                  </a:cubicBezTo>
                  <a:cubicBezTo>
                    <a:pt x="399" y="133"/>
                    <a:pt x="399" y="133"/>
                    <a:pt x="399" y="133"/>
                  </a:cubicBezTo>
                  <a:cubicBezTo>
                    <a:pt x="404" y="133"/>
                    <a:pt x="409" y="133"/>
                    <a:pt x="414" y="133"/>
                  </a:cubicBezTo>
                  <a:cubicBezTo>
                    <a:pt x="417" y="133"/>
                    <a:pt x="421" y="133"/>
                    <a:pt x="424" y="133"/>
                  </a:cubicBezTo>
                  <a:cubicBezTo>
                    <a:pt x="428" y="127"/>
                    <a:pt x="434" y="122"/>
                    <a:pt x="441" y="119"/>
                  </a:cubicBezTo>
                  <a:cubicBezTo>
                    <a:pt x="449" y="116"/>
                    <a:pt x="463" y="117"/>
                    <a:pt x="466" y="125"/>
                  </a:cubicBezTo>
                  <a:cubicBezTo>
                    <a:pt x="467" y="126"/>
                    <a:pt x="467" y="127"/>
                    <a:pt x="467" y="127"/>
                  </a:cubicBezTo>
                  <a:cubicBezTo>
                    <a:pt x="473" y="133"/>
                    <a:pt x="477" y="140"/>
                    <a:pt x="475" y="148"/>
                  </a:cubicBezTo>
                  <a:cubicBezTo>
                    <a:pt x="473" y="155"/>
                    <a:pt x="467" y="160"/>
                    <a:pt x="460" y="162"/>
                  </a:cubicBezTo>
                  <a:cubicBezTo>
                    <a:pt x="454" y="165"/>
                    <a:pt x="447" y="164"/>
                    <a:pt x="441" y="162"/>
                  </a:cubicBezTo>
                  <a:cubicBezTo>
                    <a:pt x="434" y="160"/>
                    <a:pt x="427" y="155"/>
                    <a:pt x="424" y="149"/>
                  </a:cubicBezTo>
                  <a:cubicBezTo>
                    <a:pt x="421" y="149"/>
                    <a:pt x="418" y="149"/>
                    <a:pt x="415" y="149"/>
                  </a:cubicBezTo>
                  <a:cubicBezTo>
                    <a:pt x="410" y="148"/>
                    <a:pt x="405" y="148"/>
                    <a:pt x="400" y="148"/>
                  </a:cubicBezTo>
                  <a:cubicBezTo>
                    <a:pt x="401" y="161"/>
                    <a:pt x="402" y="173"/>
                    <a:pt x="402" y="186"/>
                  </a:cubicBezTo>
                  <a:cubicBezTo>
                    <a:pt x="403" y="194"/>
                    <a:pt x="403" y="203"/>
                    <a:pt x="402" y="211"/>
                  </a:cubicBezTo>
                  <a:cubicBezTo>
                    <a:pt x="402" y="215"/>
                    <a:pt x="401" y="219"/>
                    <a:pt x="401" y="223"/>
                  </a:cubicBezTo>
                  <a:cubicBezTo>
                    <a:pt x="401" y="225"/>
                    <a:pt x="401" y="228"/>
                    <a:pt x="401" y="230"/>
                  </a:cubicBezTo>
                  <a:cubicBezTo>
                    <a:pt x="402" y="232"/>
                    <a:pt x="402" y="235"/>
                    <a:pt x="401" y="237"/>
                  </a:cubicBezTo>
                  <a:cubicBezTo>
                    <a:pt x="401" y="240"/>
                    <a:pt x="400" y="241"/>
                    <a:pt x="398" y="242"/>
                  </a:cubicBezTo>
                  <a:cubicBezTo>
                    <a:pt x="388" y="246"/>
                    <a:pt x="377" y="246"/>
                    <a:pt x="367" y="247"/>
                  </a:cubicBezTo>
                  <a:cubicBezTo>
                    <a:pt x="356" y="247"/>
                    <a:pt x="345" y="247"/>
                    <a:pt x="334" y="247"/>
                  </a:cubicBezTo>
                  <a:cubicBezTo>
                    <a:pt x="326" y="247"/>
                    <a:pt x="318" y="246"/>
                    <a:pt x="310" y="246"/>
                  </a:cubicBezTo>
                  <a:cubicBezTo>
                    <a:pt x="310" y="248"/>
                    <a:pt x="310" y="250"/>
                    <a:pt x="310" y="252"/>
                  </a:cubicBezTo>
                  <a:cubicBezTo>
                    <a:pt x="311" y="254"/>
                    <a:pt x="311" y="257"/>
                    <a:pt x="312" y="259"/>
                  </a:cubicBezTo>
                  <a:cubicBezTo>
                    <a:pt x="312" y="259"/>
                    <a:pt x="313" y="259"/>
                    <a:pt x="314" y="259"/>
                  </a:cubicBezTo>
                  <a:cubicBezTo>
                    <a:pt x="315" y="259"/>
                    <a:pt x="316" y="260"/>
                    <a:pt x="318" y="260"/>
                  </a:cubicBezTo>
                  <a:cubicBezTo>
                    <a:pt x="318" y="260"/>
                    <a:pt x="318" y="260"/>
                    <a:pt x="318" y="260"/>
                  </a:cubicBezTo>
                  <a:cubicBezTo>
                    <a:pt x="324" y="259"/>
                    <a:pt x="329" y="260"/>
                    <a:pt x="334" y="262"/>
                  </a:cubicBezTo>
                  <a:cubicBezTo>
                    <a:pt x="340" y="264"/>
                    <a:pt x="346" y="267"/>
                    <a:pt x="351" y="270"/>
                  </a:cubicBezTo>
                  <a:cubicBezTo>
                    <a:pt x="361" y="275"/>
                    <a:pt x="370" y="281"/>
                    <a:pt x="379" y="288"/>
                  </a:cubicBezTo>
                  <a:cubicBezTo>
                    <a:pt x="397" y="301"/>
                    <a:pt x="412" y="318"/>
                    <a:pt x="422" y="338"/>
                  </a:cubicBezTo>
                  <a:cubicBezTo>
                    <a:pt x="427" y="349"/>
                    <a:pt x="431" y="359"/>
                    <a:pt x="434" y="370"/>
                  </a:cubicBezTo>
                  <a:cubicBezTo>
                    <a:pt x="438" y="381"/>
                    <a:pt x="443" y="392"/>
                    <a:pt x="447" y="404"/>
                  </a:cubicBezTo>
                  <a:cubicBezTo>
                    <a:pt x="450" y="415"/>
                    <a:pt x="453" y="427"/>
                    <a:pt x="453" y="439"/>
                  </a:cubicBezTo>
                  <a:cubicBezTo>
                    <a:pt x="454" y="452"/>
                    <a:pt x="452" y="464"/>
                    <a:pt x="449" y="476"/>
                  </a:cubicBezTo>
                  <a:cubicBezTo>
                    <a:pt x="448" y="480"/>
                    <a:pt x="447" y="485"/>
                    <a:pt x="445" y="488"/>
                  </a:cubicBezTo>
                  <a:cubicBezTo>
                    <a:pt x="446" y="490"/>
                    <a:pt x="448" y="491"/>
                    <a:pt x="449" y="493"/>
                  </a:cubicBezTo>
                  <a:cubicBezTo>
                    <a:pt x="450" y="494"/>
                    <a:pt x="452" y="495"/>
                    <a:pt x="453" y="497"/>
                  </a:cubicBezTo>
                  <a:cubicBezTo>
                    <a:pt x="455" y="501"/>
                    <a:pt x="455" y="506"/>
                    <a:pt x="454" y="511"/>
                  </a:cubicBezTo>
                  <a:cubicBezTo>
                    <a:pt x="453" y="517"/>
                    <a:pt x="446" y="522"/>
                    <a:pt x="439" y="523"/>
                  </a:cubicBezTo>
                  <a:cubicBezTo>
                    <a:pt x="440" y="526"/>
                    <a:pt x="441" y="528"/>
                    <a:pt x="441" y="532"/>
                  </a:cubicBezTo>
                  <a:cubicBezTo>
                    <a:pt x="442" y="538"/>
                    <a:pt x="442" y="544"/>
                    <a:pt x="440" y="550"/>
                  </a:cubicBezTo>
                  <a:cubicBezTo>
                    <a:pt x="439" y="555"/>
                    <a:pt x="437" y="563"/>
                    <a:pt x="432" y="565"/>
                  </a:cubicBezTo>
                  <a:cubicBezTo>
                    <a:pt x="432" y="568"/>
                    <a:pt x="431" y="571"/>
                    <a:pt x="430" y="573"/>
                  </a:cubicBezTo>
                  <a:cubicBezTo>
                    <a:pt x="428" y="576"/>
                    <a:pt x="426" y="578"/>
                    <a:pt x="425" y="581"/>
                  </a:cubicBezTo>
                  <a:cubicBezTo>
                    <a:pt x="423" y="584"/>
                    <a:pt x="421" y="587"/>
                    <a:pt x="419" y="590"/>
                  </a:cubicBezTo>
                  <a:cubicBezTo>
                    <a:pt x="416" y="594"/>
                    <a:pt x="408" y="590"/>
                    <a:pt x="409" y="585"/>
                  </a:cubicBezTo>
                  <a:cubicBezTo>
                    <a:pt x="409" y="579"/>
                    <a:pt x="414" y="573"/>
                    <a:pt x="418" y="569"/>
                  </a:cubicBezTo>
                  <a:cubicBezTo>
                    <a:pt x="419" y="568"/>
                    <a:pt x="419" y="567"/>
                    <a:pt x="419" y="567"/>
                  </a:cubicBezTo>
                  <a:cubicBezTo>
                    <a:pt x="417" y="566"/>
                    <a:pt x="415" y="565"/>
                    <a:pt x="413" y="564"/>
                  </a:cubicBezTo>
                  <a:cubicBezTo>
                    <a:pt x="411" y="564"/>
                    <a:pt x="410" y="563"/>
                    <a:pt x="408" y="562"/>
                  </a:cubicBezTo>
                  <a:cubicBezTo>
                    <a:pt x="408" y="564"/>
                    <a:pt x="407" y="566"/>
                    <a:pt x="406" y="567"/>
                  </a:cubicBezTo>
                  <a:cubicBezTo>
                    <a:pt x="405" y="571"/>
                    <a:pt x="402" y="574"/>
                    <a:pt x="399" y="577"/>
                  </a:cubicBezTo>
                  <a:cubicBezTo>
                    <a:pt x="395" y="579"/>
                    <a:pt x="391" y="575"/>
                    <a:pt x="392" y="571"/>
                  </a:cubicBezTo>
                  <a:cubicBezTo>
                    <a:pt x="393" y="567"/>
                    <a:pt x="397" y="564"/>
                    <a:pt x="399" y="561"/>
                  </a:cubicBezTo>
                  <a:cubicBezTo>
                    <a:pt x="400" y="560"/>
                    <a:pt x="400" y="560"/>
                    <a:pt x="400" y="559"/>
                  </a:cubicBezTo>
                  <a:cubicBezTo>
                    <a:pt x="400" y="559"/>
                    <a:pt x="400" y="559"/>
                    <a:pt x="400" y="559"/>
                  </a:cubicBezTo>
                  <a:cubicBezTo>
                    <a:pt x="396" y="558"/>
                    <a:pt x="392" y="556"/>
                    <a:pt x="389" y="555"/>
                  </a:cubicBezTo>
                  <a:cubicBezTo>
                    <a:pt x="388" y="555"/>
                    <a:pt x="388" y="555"/>
                    <a:pt x="388" y="555"/>
                  </a:cubicBezTo>
                  <a:cubicBezTo>
                    <a:pt x="386" y="558"/>
                    <a:pt x="385" y="560"/>
                    <a:pt x="383" y="562"/>
                  </a:cubicBezTo>
                  <a:cubicBezTo>
                    <a:pt x="381" y="564"/>
                    <a:pt x="379" y="567"/>
                    <a:pt x="377" y="569"/>
                  </a:cubicBezTo>
                  <a:cubicBezTo>
                    <a:pt x="376" y="570"/>
                    <a:pt x="375" y="570"/>
                    <a:pt x="374" y="571"/>
                  </a:cubicBezTo>
                  <a:cubicBezTo>
                    <a:pt x="373" y="572"/>
                    <a:pt x="372" y="572"/>
                    <a:pt x="371" y="572"/>
                  </a:cubicBezTo>
                  <a:cubicBezTo>
                    <a:pt x="371" y="572"/>
                    <a:pt x="369" y="572"/>
                    <a:pt x="368" y="572"/>
                  </a:cubicBezTo>
                  <a:cubicBezTo>
                    <a:pt x="364" y="571"/>
                    <a:pt x="362" y="567"/>
                    <a:pt x="365" y="563"/>
                  </a:cubicBezTo>
                  <a:cubicBezTo>
                    <a:pt x="364" y="564"/>
                    <a:pt x="365" y="562"/>
                    <a:pt x="366" y="562"/>
                  </a:cubicBezTo>
                  <a:cubicBezTo>
                    <a:pt x="366" y="561"/>
                    <a:pt x="367" y="561"/>
                    <a:pt x="368" y="560"/>
                  </a:cubicBezTo>
                  <a:cubicBezTo>
                    <a:pt x="369" y="560"/>
                    <a:pt x="369" y="559"/>
                    <a:pt x="370" y="558"/>
                  </a:cubicBezTo>
                  <a:cubicBezTo>
                    <a:pt x="373" y="555"/>
                    <a:pt x="375" y="553"/>
                    <a:pt x="378" y="550"/>
                  </a:cubicBezTo>
                  <a:cubicBezTo>
                    <a:pt x="378" y="550"/>
                    <a:pt x="378" y="550"/>
                    <a:pt x="378" y="550"/>
                  </a:cubicBezTo>
                  <a:cubicBezTo>
                    <a:pt x="376" y="549"/>
                    <a:pt x="375" y="548"/>
                    <a:pt x="373" y="547"/>
                  </a:cubicBezTo>
                  <a:cubicBezTo>
                    <a:pt x="372" y="546"/>
                    <a:pt x="371" y="545"/>
                    <a:pt x="370" y="544"/>
                  </a:cubicBezTo>
                  <a:cubicBezTo>
                    <a:pt x="369" y="546"/>
                    <a:pt x="368" y="547"/>
                    <a:pt x="368" y="548"/>
                  </a:cubicBezTo>
                  <a:cubicBezTo>
                    <a:pt x="365" y="553"/>
                    <a:pt x="361" y="557"/>
                    <a:pt x="356" y="560"/>
                  </a:cubicBezTo>
                  <a:cubicBezTo>
                    <a:pt x="351" y="562"/>
                    <a:pt x="347" y="555"/>
                    <a:pt x="350" y="551"/>
                  </a:cubicBezTo>
                  <a:cubicBezTo>
                    <a:pt x="352" y="548"/>
                    <a:pt x="355" y="545"/>
                    <a:pt x="358" y="542"/>
                  </a:cubicBezTo>
                  <a:cubicBezTo>
                    <a:pt x="359" y="541"/>
                    <a:pt x="360" y="539"/>
                    <a:pt x="361" y="538"/>
                  </a:cubicBezTo>
                  <a:cubicBezTo>
                    <a:pt x="360" y="537"/>
                    <a:pt x="358" y="536"/>
                    <a:pt x="357" y="535"/>
                  </a:cubicBezTo>
                  <a:cubicBezTo>
                    <a:pt x="356" y="534"/>
                    <a:pt x="356" y="533"/>
                    <a:pt x="355" y="532"/>
                  </a:cubicBezTo>
                  <a:cubicBezTo>
                    <a:pt x="352" y="536"/>
                    <a:pt x="348" y="541"/>
                    <a:pt x="344" y="544"/>
                  </a:cubicBezTo>
                  <a:cubicBezTo>
                    <a:pt x="337" y="548"/>
                    <a:pt x="329" y="538"/>
                    <a:pt x="335" y="533"/>
                  </a:cubicBezTo>
                  <a:cubicBezTo>
                    <a:pt x="340" y="529"/>
                    <a:pt x="344" y="525"/>
                    <a:pt x="349" y="520"/>
                  </a:cubicBezTo>
                  <a:cubicBezTo>
                    <a:pt x="349" y="520"/>
                    <a:pt x="349" y="520"/>
                    <a:pt x="349" y="519"/>
                  </a:cubicBezTo>
                  <a:cubicBezTo>
                    <a:pt x="351" y="511"/>
                    <a:pt x="356" y="502"/>
                    <a:pt x="363" y="496"/>
                  </a:cubicBezTo>
                  <a:cubicBezTo>
                    <a:pt x="366" y="493"/>
                    <a:pt x="370" y="492"/>
                    <a:pt x="374" y="491"/>
                  </a:cubicBezTo>
                  <a:cubicBezTo>
                    <a:pt x="374" y="489"/>
                    <a:pt x="373" y="488"/>
                    <a:pt x="374" y="487"/>
                  </a:cubicBezTo>
                  <a:cubicBezTo>
                    <a:pt x="371" y="481"/>
                    <a:pt x="373" y="474"/>
                    <a:pt x="378" y="469"/>
                  </a:cubicBezTo>
                  <a:cubicBezTo>
                    <a:pt x="381" y="465"/>
                    <a:pt x="386" y="464"/>
                    <a:pt x="390" y="464"/>
                  </a:cubicBezTo>
                  <a:cubicBezTo>
                    <a:pt x="390" y="463"/>
                    <a:pt x="390" y="463"/>
                    <a:pt x="390" y="462"/>
                  </a:cubicBezTo>
                  <a:cubicBezTo>
                    <a:pt x="391" y="459"/>
                    <a:pt x="391" y="455"/>
                    <a:pt x="391" y="452"/>
                  </a:cubicBezTo>
                  <a:cubicBezTo>
                    <a:pt x="392" y="444"/>
                    <a:pt x="391" y="437"/>
                    <a:pt x="390" y="430"/>
                  </a:cubicBezTo>
                  <a:cubicBezTo>
                    <a:pt x="388" y="415"/>
                    <a:pt x="384" y="401"/>
                    <a:pt x="379" y="387"/>
                  </a:cubicBezTo>
                  <a:cubicBezTo>
                    <a:pt x="374" y="375"/>
                    <a:pt x="368" y="363"/>
                    <a:pt x="360" y="352"/>
                  </a:cubicBezTo>
                  <a:cubicBezTo>
                    <a:pt x="357" y="347"/>
                    <a:pt x="353" y="342"/>
                    <a:pt x="348" y="338"/>
                  </a:cubicBezTo>
                  <a:cubicBezTo>
                    <a:pt x="347" y="337"/>
                    <a:pt x="346" y="336"/>
                    <a:pt x="344" y="335"/>
                  </a:cubicBezTo>
                  <a:cubicBezTo>
                    <a:pt x="344" y="339"/>
                    <a:pt x="344" y="343"/>
                    <a:pt x="343" y="347"/>
                  </a:cubicBezTo>
                  <a:cubicBezTo>
                    <a:pt x="343" y="363"/>
                    <a:pt x="342" y="379"/>
                    <a:pt x="341" y="395"/>
                  </a:cubicBezTo>
                  <a:cubicBezTo>
                    <a:pt x="341" y="403"/>
                    <a:pt x="341" y="411"/>
                    <a:pt x="341" y="418"/>
                  </a:cubicBezTo>
                  <a:cubicBezTo>
                    <a:pt x="341" y="422"/>
                    <a:pt x="341" y="426"/>
                    <a:pt x="341" y="430"/>
                  </a:cubicBezTo>
                  <a:cubicBezTo>
                    <a:pt x="341" y="434"/>
                    <a:pt x="342" y="438"/>
                    <a:pt x="341" y="441"/>
                  </a:cubicBezTo>
                  <a:cubicBezTo>
                    <a:pt x="343" y="447"/>
                    <a:pt x="342" y="453"/>
                    <a:pt x="338" y="457"/>
                  </a:cubicBezTo>
                  <a:cubicBezTo>
                    <a:pt x="331" y="465"/>
                    <a:pt x="319" y="463"/>
                    <a:pt x="309" y="462"/>
                  </a:cubicBezTo>
                  <a:cubicBezTo>
                    <a:pt x="305" y="462"/>
                    <a:pt x="300" y="462"/>
                    <a:pt x="296" y="462"/>
                  </a:cubicBezTo>
                  <a:cubicBezTo>
                    <a:pt x="297" y="468"/>
                    <a:pt x="296" y="475"/>
                    <a:pt x="296" y="481"/>
                  </a:cubicBezTo>
                  <a:cubicBezTo>
                    <a:pt x="296" y="490"/>
                    <a:pt x="296" y="499"/>
                    <a:pt x="296" y="509"/>
                  </a:cubicBezTo>
                  <a:cubicBezTo>
                    <a:pt x="296" y="518"/>
                    <a:pt x="297" y="527"/>
                    <a:pt x="297" y="536"/>
                  </a:cubicBezTo>
                  <a:cubicBezTo>
                    <a:pt x="298" y="543"/>
                    <a:pt x="300" y="550"/>
                    <a:pt x="299" y="557"/>
                  </a:cubicBezTo>
                  <a:cubicBezTo>
                    <a:pt x="301" y="558"/>
                    <a:pt x="304" y="559"/>
                    <a:pt x="305" y="561"/>
                  </a:cubicBezTo>
                  <a:cubicBezTo>
                    <a:pt x="310" y="564"/>
                    <a:pt x="315" y="569"/>
                    <a:pt x="319" y="574"/>
                  </a:cubicBezTo>
                  <a:cubicBezTo>
                    <a:pt x="325" y="583"/>
                    <a:pt x="333" y="600"/>
                    <a:pt x="326" y="611"/>
                  </a:cubicBezTo>
                  <a:cubicBezTo>
                    <a:pt x="321" y="617"/>
                    <a:pt x="312" y="619"/>
                    <a:pt x="303" y="619"/>
                  </a:cubicBezTo>
                  <a:cubicBezTo>
                    <a:pt x="303" y="619"/>
                    <a:pt x="303" y="619"/>
                    <a:pt x="303" y="619"/>
                  </a:cubicBezTo>
                  <a:cubicBezTo>
                    <a:pt x="304" y="623"/>
                    <a:pt x="303" y="628"/>
                    <a:pt x="301" y="632"/>
                  </a:cubicBezTo>
                  <a:cubicBezTo>
                    <a:pt x="298" y="642"/>
                    <a:pt x="290" y="650"/>
                    <a:pt x="280" y="652"/>
                  </a:cubicBezTo>
                  <a:cubicBezTo>
                    <a:pt x="258" y="659"/>
                    <a:pt x="244" y="634"/>
                    <a:pt x="240" y="616"/>
                  </a:cubicBezTo>
                  <a:cubicBezTo>
                    <a:pt x="235" y="617"/>
                    <a:pt x="229" y="613"/>
                    <a:pt x="226" y="609"/>
                  </a:cubicBezTo>
                  <a:cubicBezTo>
                    <a:pt x="222" y="603"/>
                    <a:pt x="224" y="593"/>
                    <a:pt x="225" y="586"/>
                  </a:cubicBezTo>
                  <a:cubicBezTo>
                    <a:pt x="227" y="579"/>
                    <a:pt x="231" y="572"/>
                    <a:pt x="237" y="567"/>
                  </a:cubicBezTo>
                  <a:cubicBezTo>
                    <a:pt x="242" y="562"/>
                    <a:pt x="248" y="559"/>
                    <a:pt x="254" y="556"/>
                  </a:cubicBezTo>
                  <a:cubicBezTo>
                    <a:pt x="253" y="554"/>
                    <a:pt x="253" y="551"/>
                    <a:pt x="253" y="549"/>
                  </a:cubicBezTo>
                  <a:cubicBezTo>
                    <a:pt x="253" y="544"/>
                    <a:pt x="253" y="540"/>
                    <a:pt x="253" y="536"/>
                  </a:cubicBezTo>
                  <a:cubicBezTo>
                    <a:pt x="253" y="527"/>
                    <a:pt x="253" y="518"/>
                    <a:pt x="252" y="509"/>
                  </a:cubicBezTo>
                  <a:cubicBezTo>
                    <a:pt x="252" y="500"/>
                    <a:pt x="251" y="491"/>
                    <a:pt x="251" y="482"/>
                  </a:cubicBezTo>
                  <a:cubicBezTo>
                    <a:pt x="251" y="475"/>
                    <a:pt x="250" y="468"/>
                    <a:pt x="251" y="461"/>
                  </a:cubicBezTo>
                  <a:cubicBezTo>
                    <a:pt x="249" y="461"/>
                    <a:pt x="247" y="461"/>
                    <a:pt x="245" y="461"/>
                  </a:cubicBezTo>
                  <a:cubicBezTo>
                    <a:pt x="240" y="461"/>
                    <a:pt x="234" y="461"/>
                    <a:pt x="229" y="461"/>
                  </a:cubicBezTo>
                  <a:cubicBezTo>
                    <a:pt x="223" y="460"/>
                    <a:pt x="216" y="459"/>
                    <a:pt x="213" y="454"/>
                  </a:cubicBezTo>
                  <a:cubicBezTo>
                    <a:pt x="210" y="451"/>
                    <a:pt x="209" y="448"/>
                    <a:pt x="210" y="445"/>
                  </a:cubicBezTo>
                  <a:cubicBezTo>
                    <a:pt x="209" y="444"/>
                    <a:pt x="209" y="443"/>
                    <a:pt x="210" y="441"/>
                  </a:cubicBezTo>
                  <a:cubicBezTo>
                    <a:pt x="212" y="431"/>
                    <a:pt x="211" y="421"/>
                    <a:pt x="210" y="411"/>
                  </a:cubicBezTo>
                  <a:cubicBezTo>
                    <a:pt x="210" y="400"/>
                    <a:pt x="210" y="389"/>
                    <a:pt x="210" y="378"/>
                  </a:cubicBezTo>
                  <a:cubicBezTo>
                    <a:pt x="210" y="364"/>
                    <a:pt x="210" y="350"/>
                    <a:pt x="210" y="336"/>
                  </a:cubicBezTo>
                  <a:cubicBezTo>
                    <a:pt x="210" y="337"/>
                    <a:pt x="210" y="337"/>
                    <a:pt x="209" y="338"/>
                  </a:cubicBezTo>
                  <a:cubicBezTo>
                    <a:pt x="207" y="344"/>
                    <a:pt x="206" y="351"/>
                    <a:pt x="205" y="358"/>
                  </a:cubicBezTo>
                  <a:cubicBezTo>
                    <a:pt x="204" y="364"/>
                    <a:pt x="203" y="370"/>
                    <a:pt x="201" y="377"/>
                  </a:cubicBezTo>
                  <a:cubicBezTo>
                    <a:pt x="199" y="383"/>
                    <a:pt x="195" y="388"/>
                    <a:pt x="191" y="393"/>
                  </a:cubicBezTo>
                  <a:cubicBezTo>
                    <a:pt x="183" y="404"/>
                    <a:pt x="172" y="411"/>
                    <a:pt x="161" y="417"/>
                  </a:cubicBezTo>
                  <a:cubicBezTo>
                    <a:pt x="154" y="419"/>
                    <a:pt x="148" y="422"/>
                    <a:pt x="141" y="423"/>
                  </a:cubicBezTo>
                  <a:cubicBezTo>
                    <a:pt x="137" y="425"/>
                    <a:pt x="134" y="425"/>
                    <a:pt x="130" y="426"/>
                  </a:cubicBezTo>
                  <a:cubicBezTo>
                    <a:pt x="126" y="427"/>
                    <a:pt x="122" y="428"/>
                    <a:pt x="118" y="427"/>
                  </a:cubicBezTo>
                  <a:cubicBezTo>
                    <a:pt x="118" y="428"/>
                    <a:pt x="118" y="430"/>
                    <a:pt x="117" y="432"/>
                  </a:cubicBezTo>
                  <a:cubicBezTo>
                    <a:pt x="114" y="439"/>
                    <a:pt x="106" y="445"/>
                    <a:pt x="98" y="442"/>
                  </a:cubicBezTo>
                  <a:cubicBezTo>
                    <a:pt x="98" y="442"/>
                    <a:pt x="97" y="441"/>
                    <a:pt x="97" y="441"/>
                  </a:cubicBezTo>
                  <a:cubicBezTo>
                    <a:pt x="95" y="445"/>
                    <a:pt x="92" y="448"/>
                    <a:pt x="89" y="451"/>
                  </a:cubicBezTo>
                  <a:cubicBezTo>
                    <a:pt x="84" y="455"/>
                    <a:pt x="78" y="455"/>
                    <a:pt x="72" y="456"/>
                  </a:cubicBezTo>
                  <a:cubicBezTo>
                    <a:pt x="66" y="457"/>
                    <a:pt x="59" y="459"/>
                    <a:pt x="53" y="459"/>
                  </a:cubicBezTo>
                  <a:cubicBezTo>
                    <a:pt x="51" y="460"/>
                    <a:pt x="49" y="459"/>
                    <a:pt x="48" y="458"/>
                  </a:cubicBezTo>
                  <a:cubicBezTo>
                    <a:pt x="47" y="459"/>
                    <a:pt x="46" y="459"/>
                    <a:pt x="46" y="459"/>
                  </a:cubicBezTo>
                  <a:cubicBezTo>
                    <a:pt x="39" y="461"/>
                    <a:pt x="31" y="465"/>
                    <a:pt x="25" y="463"/>
                  </a:cubicBezTo>
                  <a:cubicBezTo>
                    <a:pt x="18" y="461"/>
                    <a:pt x="19" y="453"/>
                    <a:pt x="25" y="451"/>
                  </a:cubicBezTo>
                  <a:cubicBezTo>
                    <a:pt x="28" y="449"/>
                    <a:pt x="31" y="450"/>
                    <a:pt x="35" y="449"/>
                  </a:cubicBezTo>
                  <a:cubicBezTo>
                    <a:pt x="36" y="449"/>
                    <a:pt x="38" y="448"/>
                    <a:pt x="39" y="448"/>
                  </a:cubicBezTo>
                  <a:cubicBezTo>
                    <a:pt x="39" y="447"/>
                    <a:pt x="38" y="445"/>
                    <a:pt x="38" y="444"/>
                  </a:cubicBezTo>
                  <a:cubicBezTo>
                    <a:pt x="34" y="445"/>
                    <a:pt x="30" y="445"/>
                    <a:pt x="26" y="446"/>
                  </a:cubicBezTo>
                  <a:cubicBezTo>
                    <a:pt x="19" y="448"/>
                    <a:pt x="15" y="438"/>
                    <a:pt x="21" y="435"/>
                  </a:cubicBezTo>
                  <a:cubicBezTo>
                    <a:pt x="25" y="434"/>
                    <a:pt x="29" y="434"/>
                    <a:pt x="33" y="434"/>
                  </a:cubicBezTo>
                  <a:cubicBezTo>
                    <a:pt x="34" y="434"/>
                    <a:pt x="34" y="434"/>
                    <a:pt x="35" y="434"/>
                  </a:cubicBezTo>
                  <a:cubicBezTo>
                    <a:pt x="35" y="432"/>
                    <a:pt x="34" y="429"/>
                    <a:pt x="33" y="427"/>
                  </a:cubicBezTo>
                  <a:cubicBezTo>
                    <a:pt x="33" y="426"/>
                    <a:pt x="33" y="426"/>
                    <a:pt x="32" y="425"/>
                  </a:cubicBezTo>
                  <a:cubicBezTo>
                    <a:pt x="31" y="425"/>
                    <a:pt x="29" y="426"/>
                    <a:pt x="27" y="426"/>
                  </a:cubicBezTo>
                  <a:cubicBezTo>
                    <a:pt x="22" y="427"/>
                    <a:pt x="17" y="430"/>
                    <a:pt x="11" y="427"/>
                  </a:cubicBezTo>
                  <a:cubicBezTo>
                    <a:pt x="8" y="426"/>
                    <a:pt x="8" y="421"/>
                    <a:pt x="10" y="418"/>
                  </a:cubicBezTo>
                  <a:cubicBezTo>
                    <a:pt x="14" y="415"/>
                    <a:pt x="21" y="414"/>
                    <a:pt x="26" y="414"/>
                  </a:cubicBezTo>
                  <a:cubicBezTo>
                    <a:pt x="27" y="414"/>
                    <a:pt x="29" y="413"/>
                    <a:pt x="30" y="413"/>
                  </a:cubicBezTo>
                  <a:cubicBezTo>
                    <a:pt x="30" y="413"/>
                    <a:pt x="30" y="412"/>
                    <a:pt x="30" y="412"/>
                  </a:cubicBezTo>
                  <a:cubicBezTo>
                    <a:pt x="30" y="410"/>
                    <a:pt x="30" y="408"/>
                    <a:pt x="29" y="406"/>
                  </a:cubicBezTo>
                  <a:cubicBezTo>
                    <a:pt x="29" y="406"/>
                    <a:pt x="28" y="406"/>
                    <a:pt x="28" y="407"/>
                  </a:cubicBezTo>
                  <a:cubicBezTo>
                    <a:pt x="25" y="407"/>
                    <a:pt x="22" y="407"/>
                    <a:pt x="20" y="407"/>
                  </a:cubicBezTo>
                  <a:cubicBezTo>
                    <a:pt x="17" y="407"/>
                    <a:pt x="15" y="408"/>
                    <a:pt x="12" y="407"/>
                  </a:cubicBezTo>
                  <a:cubicBezTo>
                    <a:pt x="8" y="407"/>
                    <a:pt x="7" y="402"/>
                    <a:pt x="9" y="398"/>
                  </a:cubicBezTo>
                  <a:cubicBezTo>
                    <a:pt x="10" y="395"/>
                    <a:pt x="14" y="394"/>
                    <a:pt x="18" y="394"/>
                  </a:cubicBezTo>
                  <a:cubicBezTo>
                    <a:pt x="20" y="394"/>
                    <a:pt x="21" y="394"/>
                    <a:pt x="23" y="395"/>
                  </a:cubicBezTo>
                  <a:cubicBezTo>
                    <a:pt x="23" y="395"/>
                    <a:pt x="24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5" y="395"/>
                    <a:pt x="25" y="395"/>
                    <a:pt x="25" y="395"/>
                  </a:cubicBezTo>
                  <a:cubicBezTo>
                    <a:pt x="26" y="395"/>
                    <a:pt x="27" y="395"/>
                    <a:pt x="28" y="394"/>
                  </a:cubicBezTo>
                  <a:cubicBezTo>
                    <a:pt x="27" y="392"/>
                    <a:pt x="27" y="390"/>
                    <a:pt x="27" y="388"/>
                  </a:cubicBezTo>
                  <a:cubicBezTo>
                    <a:pt x="21" y="390"/>
                    <a:pt x="15" y="391"/>
                    <a:pt x="9" y="391"/>
                  </a:cubicBezTo>
                  <a:cubicBezTo>
                    <a:pt x="0" y="391"/>
                    <a:pt x="0" y="380"/>
                    <a:pt x="7" y="378"/>
                  </a:cubicBezTo>
                  <a:close/>
                  <a:moveTo>
                    <a:pt x="112" y="141"/>
                  </a:moveTo>
                  <a:cubicBezTo>
                    <a:pt x="112" y="141"/>
                    <a:pt x="112" y="141"/>
                    <a:pt x="112" y="141"/>
                  </a:cubicBezTo>
                  <a:cubicBezTo>
                    <a:pt x="112" y="143"/>
                    <a:pt x="114" y="146"/>
                    <a:pt x="116" y="147"/>
                  </a:cubicBezTo>
                  <a:cubicBezTo>
                    <a:pt x="119" y="149"/>
                    <a:pt x="121" y="149"/>
                    <a:pt x="124" y="147"/>
                  </a:cubicBezTo>
                  <a:cubicBezTo>
                    <a:pt x="126" y="146"/>
                    <a:pt x="128" y="144"/>
                    <a:pt x="128" y="141"/>
                  </a:cubicBezTo>
                  <a:cubicBezTo>
                    <a:pt x="128" y="139"/>
                    <a:pt x="127" y="138"/>
                    <a:pt x="126" y="136"/>
                  </a:cubicBezTo>
                  <a:cubicBezTo>
                    <a:pt x="122" y="137"/>
                    <a:pt x="119" y="136"/>
                    <a:pt x="115" y="137"/>
                  </a:cubicBezTo>
                  <a:cubicBezTo>
                    <a:pt x="114" y="137"/>
                    <a:pt x="112" y="139"/>
                    <a:pt x="112" y="141"/>
                  </a:cubicBezTo>
                  <a:close/>
                  <a:moveTo>
                    <a:pt x="141" y="133"/>
                  </a:moveTo>
                  <a:cubicBezTo>
                    <a:pt x="141" y="133"/>
                    <a:pt x="141" y="133"/>
                    <a:pt x="141" y="133"/>
                  </a:cubicBezTo>
                  <a:cubicBezTo>
                    <a:pt x="141" y="133"/>
                    <a:pt x="141" y="133"/>
                    <a:pt x="141" y="133"/>
                  </a:cubicBezTo>
                  <a:cubicBezTo>
                    <a:pt x="141" y="133"/>
                    <a:pt x="141" y="133"/>
                    <a:pt x="141" y="133"/>
                  </a:cubicBezTo>
                  <a:cubicBezTo>
                    <a:pt x="141" y="133"/>
                    <a:pt x="141" y="133"/>
                    <a:pt x="141" y="133"/>
                  </a:cubicBezTo>
                  <a:close/>
                  <a:moveTo>
                    <a:pt x="440" y="145"/>
                  </a:moveTo>
                  <a:cubicBezTo>
                    <a:pt x="440" y="145"/>
                    <a:pt x="440" y="145"/>
                    <a:pt x="440" y="145"/>
                  </a:cubicBezTo>
                  <a:cubicBezTo>
                    <a:pt x="439" y="144"/>
                    <a:pt x="441" y="146"/>
                    <a:pt x="442" y="146"/>
                  </a:cubicBezTo>
                  <a:cubicBezTo>
                    <a:pt x="444" y="147"/>
                    <a:pt x="443" y="147"/>
                    <a:pt x="446" y="148"/>
                  </a:cubicBezTo>
                  <a:cubicBezTo>
                    <a:pt x="447" y="148"/>
                    <a:pt x="448" y="148"/>
                    <a:pt x="448" y="148"/>
                  </a:cubicBezTo>
                  <a:cubicBezTo>
                    <a:pt x="449" y="148"/>
                    <a:pt x="449" y="149"/>
                    <a:pt x="449" y="149"/>
                  </a:cubicBezTo>
                  <a:cubicBezTo>
                    <a:pt x="449" y="149"/>
                    <a:pt x="450" y="149"/>
                    <a:pt x="450" y="149"/>
                  </a:cubicBezTo>
                  <a:cubicBezTo>
                    <a:pt x="451" y="149"/>
                    <a:pt x="452" y="149"/>
                    <a:pt x="453" y="149"/>
                  </a:cubicBezTo>
                  <a:cubicBezTo>
                    <a:pt x="454" y="149"/>
                    <a:pt x="454" y="149"/>
                    <a:pt x="454" y="149"/>
                  </a:cubicBezTo>
                  <a:cubicBezTo>
                    <a:pt x="454" y="149"/>
                    <a:pt x="455" y="148"/>
                    <a:pt x="455" y="148"/>
                  </a:cubicBezTo>
                  <a:cubicBezTo>
                    <a:pt x="458" y="148"/>
                    <a:pt x="461" y="147"/>
                    <a:pt x="462" y="145"/>
                  </a:cubicBezTo>
                  <a:cubicBezTo>
                    <a:pt x="463" y="141"/>
                    <a:pt x="460" y="138"/>
                    <a:pt x="458" y="135"/>
                  </a:cubicBezTo>
                  <a:cubicBezTo>
                    <a:pt x="458" y="135"/>
                    <a:pt x="458" y="135"/>
                    <a:pt x="458" y="134"/>
                  </a:cubicBezTo>
                  <a:cubicBezTo>
                    <a:pt x="454" y="134"/>
                    <a:pt x="450" y="132"/>
                    <a:pt x="446" y="133"/>
                  </a:cubicBezTo>
                  <a:cubicBezTo>
                    <a:pt x="444" y="134"/>
                    <a:pt x="442" y="135"/>
                    <a:pt x="441" y="137"/>
                  </a:cubicBezTo>
                  <a:cubicBezTo>
                    <a:pt x="440" y="138"/>
                    <a:pt x="439" y="138"/>
                    <a:pt x="439" y="139"/>
                  </a:cubicBezTo>
                  <a:cubicBezTo>
                    <a:pt x="439" y="139"/>
                    <a:pt x="439" y="139"/>
                    <a:pt x="439" y="139"/>
                  </a:cubicBezTo>
                  <a:cubicBezTo>
                    <a:pt x="439" y="141"/>
                    <a:pt x="439" y="142"/>
                    <a:pt x="439" y="144"/>
                  </a:cubicBezTo>
                  <a:cubicBezTo>
                    <a:pt x="439" y="144"/>
                    <a:pt x="439" y="144"/>
                    <a:pt x="439" y="144"/>
                  </a:cubicBezTo>
                  <a:cubicBezTo>
                    <a:pt x="439" y="144"/>
                    <a:pt x="440" y="145"/>
                    <a:pt x="440" y="145"/>
                  </a:cubicBezTo>
                  <a:close/>
                  <a:moveTo>
                    <a:pt x="197" y="285"/>
                  </a:moveTo>
                  <a:cubicBezTo>
                    <a:pt x="197" y="285"/>
                    <a:pt x="197" y="285"/>
                    <a:pt x="197" y="285"/>
                  </a:cubicBezTo>
                  <a:cubicBezTo>
                    <a:pt x="197" y="285"/>
                    <a:pt x="197" y="285"/>
                    <a:pt x="197" y="285"/>
                  </a:cubicBezTo>
                  <a:cubicBezTo>
                    <a:pt x="200" y="287"/>
                    <a:pt x="203" y="289"/>
                    <a:pt x="205" y="292"/>
                  </a:cubicBezTo>
                  <a:cubicBezTo>
                    <a:pt x="207" y="294"/>
                    <a:pt x="209" y="297"/>
                    <a:pt x="210" y="299"/>
                  </a:cubicBezTo>
                  <a:cubicBezTo>
                    <a:pt x="210" y="293"/>
                    <a:pt x="211" y="287"/>
                    <a:pt x="213" y="280"/>
                  </a:cubicBezTo>
                  <a:cubicBezTo>
                    <a:pt x="213" y="278"/>
                    <a:pt x="214" y="276"/>
                    <a:pt x="215" y="274"/>
                  </a:cubicBezTo>
                  <a:cubicBezTo>
                    <a:pt x="209" y="276"/>
                    <a:pt x="204" y="280"/>
                    <a:pt x="199" y="283"/>
                  </a:cubicBezTo>
                  <a:cubicBezTo>
                    <a:pt x="198" y="283"/>
                    <a:pt x="198" y="284"/>
                    <a:pt x="197" y="285"/>
                  </a:cubicBezTo>
                  <a:close/>
                  <a:moveTo>
                    <a:pt x="333" y="307"/>
                  </a:moveTo>
                  <a:cubicBezTo>
                    <a:pt x="333" y="307"/>
                    <a:pt x="333" y="307"/>
                    <a:pt x="333" y="307"/>
                  </a:cubicBezTo>
                  <a:cubicBezTo>
                    <a:pt x="334" y="299"/>
                    <a:pt x="334" y="292"/>
                    <a:pt x="334" y="284"/>
                  </a:cubicBezTo>
                  <a:cubicBezTo>
                    <a:pt x="334" y="284"/>
                    <a:pt x="333" y="284"/>
                    <a:pt x="333" y="283"/>
                  </a:cubicBezTo>
                  <a:cubicBezTo>
                    <a:pt x="331" y="281"/>
                    <a:pt x="331" y="278"/>
                    <a:pt x="329" y="276"/>
                  </a:cubicBezTo>
                  <a:cubicBezTo>
                    <a:pt x="329" y="277"/>
                    <a:pt x="328" y="278"/>
                    <a:pt x="328" y="279"/>
                  </a:cubicBezTo>
                  <a:cubicBezTo>
                    <a:pt x="327" y="283"/>
                    <a:pt x="326" y="287"/>
                    <a:pt x="326" y="291"/>
                  </a:cubicBezTo>
                  <a:cubicBezTo>
                    <a:pt x="325" y="300"/>
                    <a:pt x="326" y="310"/>
                    <a:pt x="332" y="317"/>
                  </a:cubicBezTo>
                  <a:cubicBezTo>
                    <a:pt x="332" y="314"/>
                    <a:pt x="332" y="310"/>
                    <a:pt x="333" y="307"/>
                  </a:cubicBezTo>
                  <a:close/>
                  <a:moveTo>
                    <a:pt x="326" y="398"/>
                  </a:moveTo>
                  <a:cubicBezTo>
                    <a:pt x="326" y="398"/>
                    <a:pt x="326" y="398"/>
                    <a:pt x="326" y="398"/>
                  </a:cubicBezTo>
                  <a:cubicBezTo>
                    <a:pt x="327" y="382"/>
                    <a:pt x="328" y="366"/>
                    <a:pt x="329" y="350"/>
                  </a:cubicBezTo>
                  <a:cubicBezTo>
                    <a:pt x="330" y="342"/>
                    <a:pt x="330" y="335"/>
                    <a:pt x="331" y="328"/>
                  </a:cubicBezTo>
                  <a:cubicBezTo>
                    <a:pt x="319" y="318"/>
                    <a:pt x="317" y="303"/>
                    <a:pt x="319" y="289"/>
                  </a:cubicBezTo>
                  <a:cubicBezTo>
                    <a:pt x="319" y="286"/>
                    <a:pt x="321" y="277"/>
                    <a:pt x="324" y="272"/>
                  </a:cubicBezTo>
                  <a:cubicBezTo>
                    <a:pt x="322" y="272"/>
                    <a:pt x="320" y="272"/>
                    <a:pt x="318" y="271"/>
                  </a:cubicBezTo>
                  <a:cubicBezTo>
                    <a:pt x="316" y="271"/>
                    <a:pt x="315" y="271"/>
                    <a:pt x="313" y="271"/>
                  </a:cubicBezTo>
                  <a:cubicBezTo>
                    <a:pt x="310" y="274"/>
                    <a:pt x="306" y="276"/>
                    <a:pt x="303" y="277"/>
                  </a:cubicBezTo>
                  <a:cubicBezTo>
                    <a:pt x="294" y="281"/>
                    <a:pt x="285" y="283"/>
                    <a:pt x="275" y="285"/>
                  </a:cubicBezTo>
                  <a:cubicBezTo>
                    <a:pt x="267" y="286"/>
                    <a:pt x="260" y="282"/>
                    <a:pt x="254" y="276"/>
                  </a:cubicBezTo>
                  <a:cubicBezTo>
                    <a:pt x="252" y="275"/>
                    <a:pt x="249" y="272"/>
                    <a:pt x="247" y="269"/>
                  </a:cubicBezTo>
                  <a:cubicBezTo>
                    <a:pt x="243" y="269"/>
                    <a:pt x="240" y="269"/>
                    <a:pt x="236" y="270"/>
                  </a:cubicBezTo>
                  <a:cubicBezTo>
                    <a:pt x="236" y="270"/>
                    <a:pt x="236" y="270"/>
                    <a:pt x="236" y="270"/>
                  </a:cubicBezTo>
                  <a:cubicBezTo>
                    <a:pt x="237" y="274"/>
                    <a:pt x="237" y="280"/>
                    <a:pt x="237" y="285"/>
                  </a:cubicBezTo>
                  <a:cubicBezTo>
                    <a:pt x="237" y="290"/>
                    <a:pt x="235" y="295"/>
                    <a:pt x="233" y="300"/>
                  </a:cubicBezTo>
                  <a:cubicBezTo>
                    <a:pt x="233" y="301"/>
                    <a:pt x="233" y="302"/>
                    <a:pt x="232" y="303"/>
                  </a:cubicBezTo>
                  <a:cubicBezTo>
                    <a:pt x="236" y="300"/>
                    <a:pt x="241" y="300"/>
                    <a:pt x="246" y="300"/>
                  </a:cubicBezTo>
                  <a:cubicBezTo>
                    <a:pt x="252" y="301"/>
                    <a:pt x="258" y="301"/>
                    <a:pt x="263" y="305"/>
                  </a:cubicBezTo>
                  <a:cubicBezTo>
                    <a:pt x="264" y="305"/>
                    <a:pt x="264" y="305"/>
                    <a:pt x="265" y="305"/>
                  </a:cubicBezTo>
                  <a:cubicBezTo>
                    <a:pt x="267" y="308"/>
                    <a:pt x="267" y="312"/>
                    <a:pt x="267" y="316"/>
                  </a:cubicBezTo>
                  <a:cubicBezTo>
                    <a:pt x="267" y="320"/>
                    <a:pt x="266" y="325"/>
                    <a:pt x="266" y="329"/>
                  </a:cubicBezTo>
                  <a:cubicBezTo>
                    <a:pt x="266" y="333"/>
                    <a:pt x="266" y="338"/>
                    <a:pt x="266" y="342"/>
                  </a:cubicBezTo>
                  <a:cubicBezTo>
                    <a:pt x="265" y="345"/>
                    <a:pt x="266" y="350"/>
                    <a:pt x="262" y="350"/>
                  </a:cubicBezTo>
                  <a:cubicBezTo>
                    <a:pt x="262" y="351"/>
                    <a:pt x="262" y="351"/>
                    <a:pt x="261" y="351"/>
                  </a:cubicBezTo>
                  <a:cubicBezTo>
                    <a:pt x="257" y="353"/>
                    <a:pt x="251" y="352"/>
                    <a:pt x="246" y="351"/>
                  </a:cubicBezTo>
                  <a:cubicBezTo>
                    <a:pt x="243" y="351"/>
                    <a:pt x="240" y="351"/>
                    <a:pt x="238" y="351"/>
                  </a:cubicBezTo>
                  <a:cubicBezTo>
                    <a:pt x="235" y="351"/>
                    <a:pt x="232" y="351"/>
                    <a:pt x="230" y="350"/>
                  </a:cubicBezTo>
                  <a:cubicBezTo>
                    <a:pt x="228" y="349"/>
                    <a:pt x="227" y="347"/>
                    <a:pt x="228" y="346"/>
                  </a:cubicBezTo>
                  <a:cubicBezTo>
                    <a:pt x="227" y="343"/>
                    <a:pt x="227" y="340"/>
                    <a:pt x="227" y="338"/>
                  </a:cubicBezTo>
                  <a:cubicBezTo>
                    <a:pt x="227" y="333"/>
                    <a:pt x="227" y="329"/>
                    <a:pt x="227" y="325"/>
                  </a:cubicBezTo>
                  <a:cubicBezTo>
                    <a:pt x="227" y="320"/>
                    <a:pt x="227" y="316"/>
                    <a:pt x="228" y="311"/>
                  </a:cubicBezTo>
                  <a:cubicBezTo>
                    <a:pt x="228" y="312"/>
                    <a:pt x="228" y="312"/>
                    <a:pt x="227" y="313"/>
                  </a:cubicBezTo>
                  <a:cubicBezTo>
                    <a:pt x="227" y="313"/>
                    <a:pt x="226" y="314"/>
                    <a:pt x="225" y="315"/>
                  </a:cubicBezTo>
                  <a:cubicBezTo>
                    <a:pt x="225" y="317"/>
                    <a:pt x="225" y="319"/>
                    <a:pt x="225" y="321"/>
                  </a:cubicBezTo>
                  <a:cubicBezTo>
                    <a:pt x="225" y="342"/>
                    <a:pt x="226" y="363"/>
                    <a:pt x="225" y="384"/>
                  </a:cubicBezTo>
                  <a:cubicBezTo>
                    <a:pt x="225" y="394"/>
                    <a:pt x="225" y="404"/>
                    <a:pt x="226" y="414"/>
                  </a:cubicBezTo>
                  <a:cubicBezTo>
                    <a:pt x="226" y="420"/>
                    <a:pt x="226" y="426"/>
                    <a:pt x="226" y="432"/>
                  </a:cubicBezTo>
                  <a:cubicBezTo>
                    <a:pt x="230" y="431"/>
                    <a:pt x="235" y="433"/>
                    <a:pt x="239" y="433"/>
                  </a:cubicBezTo>
                  <a:cubicBezTo>
                    <a:pt x="243" y="433"/>
                    <a:pt x="248" y="434"/>
                    <a:pt x="253" y="434"/>
                  </a:cubicBezTo>
                  <a:cubicBezTo>
                    <a:pt x="263" y="435"/>
                    <a:pt x="272" y="434"/>
                    <a:pt x="282" y="434"/>
                  </a:cubicBezTo>
                  <a:cubicBezTo>
                    <a:pt x="292" y="433"/>
                    <a:pt x="302" y="432"/>
                    <a:pt x="312" y="432"/>
                  </a:cubicBezTo>
                  <a:cubicBezTo>
                    <a:pt x="316" y="432"/>
                    <a:pt x="321" y="432"/>
                    <a:pt x="326" y="432"/>
                  </a:cubicBezTo>
                  <a:cubicBezTo>
                    <a:pt x="326" y="429"/>
                    <a:pt x="326" y="425"/>
                    <a:pt x="326" y="421"/>
                  </a:cubicBezTo>
                  <a:cubicBezTo>
                    <a:pt x="326" y="414"/>
                    <a:pt x="326" y="406"/>
                    <a:pt x="326" y="398"/>
                  </a:cubicBezTo>
                  <a:close/>
                  <a:moveTo>
                    <a:pt x="283" y="270"/>
                  </a:moveTo>
                  <a:cubicBezTo>
                    <a:pt x="283" y="270"/>
                    <a:pt x="283" y="270"/>
                    <a:pt x="283" y="270"/>
                  </a:cubicBezTo>
                  <a:cubicBezTo>
                    <a:pt x="274" y="270"/>
                    <a:pt x="265" y="270"/>
                    <a:pt x="256" y="270"/>
                  </a:cubicBezTo>
                  <a:cubicBezTo>
                    <a:pt x="257" y="271"/>
                    <a:pt x="258" y="271"/>
                    <a:pt x="258" y="272"/>
                  </a:cubicBezTo>
                  <a:cubicBezTo>
                    <a:pt x="263" y="276"/>
                    <a:pt x="269" y="279"/>
                    <a:pt x="275" y="278"/>
                  </a:cubicBezTo>
                  <a:cubicBezTo>
                    <a:pt x="283" y="278"/>
                    <a:pt x="291" y="276"/>
                    <a:pt x="298" y="273"/>
                  </a:cubicBezTo>
                  <a:cubicBezTo>
                    <a:pt x="300" y="272"/>
                    <a:pt x="301" y="271"/>
                    <a:pt x="303" y="271"/>
                  </a:cubicBezTo>
                  <a:cubicBezTo>
                    <a:pt x="296" y="270"/>
                    <a:pt x="290" y="270"/>
                    <a:pt x="283" y="270"/>
                  </a:cubicBezTo>
                  <a:close/>
                  <a:moveTo>
                    <a:pt x="258" y="344"/>
                  </a:moveTo>
                  <a:cubicBezTo>
                    <a:pt x="258" y="344"/>
                    <a:pt x="258" y="344"/>
                    <a:pt x="258" y="344"/>
                  </a:cubicBezTo>
                  <a:cubicBezTo>
                    <a:pt x="258" y="339"/>
                    <a:pt x="258" y="335"/>
                    <a:pt x="259" y="330"/>
                  </a:cubicBezTo>
                  <a:cubicBezTo>
                    <a:pt x="259" y="326"/>
                    <a:pt x="259" y="322"/>
                    <a:pt x="259" y="317"/>
                  </a:cubicBezTo>
                  <a:cubicBezTo>
                    <a:pt x="260" y="314"/>
                    <a:pt x="259" y="311"/>
                    <a:pt x="260" y="309"/>
                  </a:cubicBezTo>
                  <a:cubicBezTo>
                    <a:pt x="256" y="307"/>
                    <a:pt x="251" y="308"/>
                    <a:pt x="246" y="308"/>
                  </a:cubicBezTo>
                  <a:cubicBezTo>
                    <a:pt x="244" y="307"/>
                    <a:pt x="241" y="307"/>
                    <a:pt x="239" y="308"/>
                  </a:cubicBezTo>
                  <a:cubicBezTo>
                    <a:pt x="237" y="309"/>
                    <a:pt x="237" y="312"/>
                    <a:pt x="237" y="314"/>
                  </a:cubicBezTo>
                  <a:cubicBezTo>
                    <a:pt x="236" y="318"/>
                    <a:pt x="236" y="323"/>
                    <a:pt x="236" y="327"/>
                  </a:cubicBezTo>
                  <a:cubicBezTo>
                    <a:pt x="235" y="331"/>
                    <a:pt x="236" y="335"/>
                    <a:pt x="236" y="339"/>
                  </a:cubicBezTo>
                  <a:cubicBezTo>
                    <a:pt x="236" y="340"/>
                    <a:pt x="236" y="342"/>
                    <a:pt x="236" y="343"/>
                  </a:cubicBezTo>
                  <a:cubicBezTo>
                    <a:pt x="237" y="343"/>
                    <a:pt x="237" y="343"/>
                    <a:pt x="238" y="343"/>
                  </a:cubicBezTo>
                  <a:cubicBezTo>
                    <a:pt x="241" y="343"/>
                    <a:pt x="244" y="343"/>
                    <a:pt x="247" y="344"/>
                  </a:cubicBezTo>
                  <a:cubicBezTo>
                    <a:pt x="251" y="344"/>
                    <a:pt x="255" y="344"/>
                    <a:pt x="258" y="346"/>
                  </a:cubicBezTo>
                  <a:cubicBezTo>
                    <a:pt x="258" y="345"/>
                    <a:pt x="258" y="344"/>
                    <a:pt x="258" y="344"/>
                  </a:cubicBezTo>
                  <a:close/>
                  <a:moveTo>
                    <a:pt x="230" y="274"/>
                  </a:moveTo>
                  <a:cubicBezTo>
                    <a:pt x="230" y="274"/>
                    <a:pt x="230" y="274"/>
                    <a:pt x="230" y="274"/>
                  </a:cubicBezTo>
                  <a:cubicBezTo>
                    <a:pt x="229" y="275"/>
                    <a:pt x="229" y="275"/>
                    <a:pt x="229" y="275"/>
                  </a:cubicBezTo>
                  <a:cubicBezTo>
                    <a:pt x="228" y="277"/>
                    <a:pt x="227" y="280"/>
                    <a:pt x="227" y="282"/>
                  </a:cubicBezTo>
                  <a:cubicBezTo>
                    <a:pt x="227" y="282"/>
                    <a:pt x="227" y="283"/>
                    <a:pt x="227" y="283"/>
                  </a:cubicBezTo>
                  <a:cubicBezTo>
                    <a:pt x="227" y="283"/>
                    <a:pt x="227" y="285"/>
                    <a:pt x="227" y="285"/>
                  </a:cubicBezTo>
                  <a:cubicBezTo>
                    <a:pt x="226" y="286"/>
                    <a:pt x="226" y="288"/>
                    <a:pt x="226" y="289"/>
                  </a:cubicBezTo>
                  <a:cubicBezTo>
                    <a:pt x="226" y="293"/>
                    <a:pt x="226" y="297"/>
                    <a:pt x="225" y="301"/>
                  </a:cubicBezTo>
                  <a:cubicBezTo>
                    <a:pt x="225" y="300"/>
                    <a:pt x="225" y="300"/>
                    <a:pt x="225" y="300"/>
                  </a:cubicBezTo>
                  <a:cubicBezTo>
                    <a:pt x="227" y="296"/>
                    <a:pt x="229" y="290"/>
                    <a:pt x="230" y="285"/>
                  </a:cubicBezTo>
                  <a:cubicBezTo>
                    <a:pt x="230" y="281"/>
                    <a:pt x="230" y="278"/>
                    <a:pt x="230" y="274"/>
                  </a:cubicBezTo>
                  <a:close/>
                  <a:moveTo>
                    <a:pt x="352" y="43"/>
                  </a:moveTo>
                  <a:cubicBezTo>
                    <a:pt x="352" y="43"/>
                    <a:pt x="352" y="43"/>
                    <a:pt x="352" y="43"/>
                  </a:cubicBezTo>
                  <a:cubicBezTo>
                    <a:pt x="354" y="48"/>
                    <a:pt x="355" y="54"/>
                    <a:pt x="356" y="59"/>
                  </a:cubicBezTo>
                  <a:cubicBezTo>
                    <a:pt x="357" y="57"/>
                    <a:pt x="359" y="56"/>
                    <a:pt x="360" y="56"/>
                  </a:cubicBezTo>
                  <a:cubicBezTo>
                    <a:pt x="361" y="56"/>
                    <a:pt x="362" y="56"/>
                    <a:pt x="362" y="57"/>
                  </a:cubicBezTo>
                  <a:cubicBezTo>
                    <a:pt x="362" y="55"/>
                    <a:pt x="361" y="53"/>
                    <a:pt x="360" y="51"/>
                  </a:cubicBezTo>
                  <a:cubicBezTo>
                    <a:pt x="357" y="48"/>
                    <a:pt x="355" y="45"/>
                    <a:pt x="352" y="43"/>
                  </a:cubicBezTo>
                  <a:close/>
                  <a:moveTo>
                    <a:pt x="370" y="69"/>
                  </a:moveTo>
                  <a:cubicBezTo>
                    <a:pt x="370" y="69"/>
                    <a:pt x="370" y="69"/>
                    <a:pt x="370" y="69"/>
                  </a:cubicBezTo>
                  <a:cubicBezTo>
                    <a:pt x="368" y="67"/>
                    <a:pt x="366" y="64"/>
                    <a:pt x="365" y="61"/>
                  </a:cubicBezTo>
                  <a:cubicBezTo>
                    <a:pt x="365" y="63"/>
                    <a:pt x="363" y="65"/>
                    <a:pt x="360" y="65"/>
                  </a:cubicBezTo>
                  <a:cubicBezTo>
                    <a:pt x="359" y="65"/>
                    <a:pt x="358" y="64"/>
                    <a:pt x="357" y="63"/>
                  </a:cubicBezTo>
                  <a:cubicBezTo>
                    <a:pt x="357" y="64"/>
                    <a:pt x="358" y="66"/>
                    <a:pt x="358" y="67"/>
                  </a:cubicBezTo>
                  <a:cubicBezTo>
                    <a:pt x="361" y="85"/>
                    <a:pt x="363" y="104"/>
                    <a:pt x="364" y="122"/>
                  </a:cubicBezTo>
                  <a:cubicBezTo>
                    <a:pt x="364" y="127"/>
                    <a:pt x="364" y="131"/>
                    <a:pt x="364" y="135"/>
                  </a:cubicBezTo>
                  <a:cubicBezTo>
                    <a:pt x="367" y="134"/>
                    <a:pt x="371" y="134"/>
                    <a:pt x="374" y="134"/>
                  </a:cubicBezTo>
                  <a:cubicBezTo>
                    <a:pt x="378" y="134"/>
                    <a:pt x="382" y="134"/>
                    <a:pt x="385" y="134"/>
                  </a:cubicBezTo>
                  <a:cubicBezTo>
                    <a:pt x="384" y="118"/>
                    <a:pt x="384" y="103"/>
                    <a:pt x="380" y="88"/>
                  </a:cubicBezTo>
                  <a:cubicBezTo>
                    <a:pt x="377" y="82"/>
                    <a:pt x="374" y="75"/>
                    <a:pt x="370" y="69"/>
                  </a:cubicBezTo>
                  <a:close/>
                  <a:moveTo>
                    <a:pt x="385" y="232"/>
                  </a:moveTo>
                  <a:cubicBezTo>
                    <a:pt x="385" y="232"/>
                    <a:pt x="385" y="232"/>
                    <a:pt x="385" y="232"/>
                  </a:cubicBezTo>
                  <a:cubicBezTo>
                    <a:pt x="386" y="231"/>
                    <a:pt x="387" y="230"/>
                    <a:pt x="388" y="229"/>
                  </a:cubicBezTo>
                  <a:cubicBezTo>
                    <a:pt x="388" y="229"/>
                    <a:pt x="389" y="228"/>
                    <a:pt x="389" y="228"/>
                  </a:cubicBezTo>
                  <a:cubicBezTo>
                    <a:pt x="389" y="223"/>
                    <a:pt x="389" y="219"/>
                    <a:pt x="389" y="215"/>
                  </a:cubicBezTo>
                  <a:cubicBezTo>
                    <a:pt x="389" y="207"/>
                    <a:pt x="389" y="198"/>
                    <a:pt x="389" y="190"/>
                  </a:cubicBezTo>
                  <a:cubicBezTo>
                    <a:pt x="389" y="176"/>
                    <a:pt x="388" y="162"/>
                    <a:pt x="387" y="149"/>
                  </a:cubicBezTo>
                  <a:cubicBezTo>
                    <a:pt x="383" y="149"/>
                    <a:pt x="380" y="149"/>
                    <a:pt x="376" y="149"/>
                  </a:cubicBezTo>
                  <a:cubicBezTo>
                    <a:pt x="373" y="149"/>
                    <a:pt x="370" y="149"/>
                    <a:pt x="367" y="148"/>
                  </a:cubicBezTo>
                  <a:cubicBezTo>
                    <a:pt x="366" y="148"/>
                    <a:pt x="365" y="148"/>
                    <a:pt x="364" y="148"/>
                  </a:cubicBezTo>
                  <a:cubicBezTo>
                    <a:pt x="364" y="158"/>
                    <a:pt x="364" y="168"/>
                    <a:pt x="364" y="178"/>
                  </a:cubicBezTo>
                  <a:cubicBezTo>
                    <a:pt x="364" y="187"/>
                    <a:pt x="364" y="197"/>
                    <a:pt x="364" y="206"/>
                  </a:cubicBezTo>
                  <a:cubicBezTo>
                    <a:pt x="364" y="211"/>
                    <a:pt x="364" y="215"/>
                    <a:pt x="364" y="220"/>
                  </a:cubicBezTo>
                  <a:cubicBezTo>
                    <a:pt x="364" y="224"/>
                    <a:pt x="364" y="228"/>
                    <a:pt x="363" y="232"/>
                  </a:cubicBezTo>
                  <a:cubicBezTo>
                    <a:pt x="371" y="232"/>
                    <a:pt x="378" y="232"/>
                    <a:pt x="385" y="232"/>
                  </a:cubicBezTo>
                  <a:close/>
                  <a:moveTo>
                    <a:pt x="337" y="232"/>
                  </a:moveTo>
                  <a:cubicBezTo>
                    <a:pt x="337" y="232"/>
                    <a:pt x="337" y="232"/>
                    <a:pt x="337" y="232"/>
                  </a:cubicBezTo>
                  <a:cubicBezTo>
                    <a:pt x="343" y="232"/>
                    <a:pt x="350" y="232"/>
                    <a:pt x="356" y="232"/>
                  </a:cubicBezTo>
                  <a:cubicBezTo>
                    <a:pt x="355" y="224"/>
                    <a:pt x="356" y="216"/>
                    <a:pt x="356" y="208"/>
                  </a:cubicBezTo>
                  <a:cubicBezTo>
                    <a:pt x="356" y="199"/>
                    <a:pt x="356" y="190"/>
                    <a:pt x="356" y="181"/>
                  </a:cubicBezTo>
                  <a:cubicBezTo>
                    <a:pt x="356" y="168"/>
                    <a:pt x="356" y="156"/>
                    <a:pt x="357" y="144"/>
                  </a:cubicBezTo>
                  <a:cubicBezTo>
                    <a:pt x="355" y="143"/>
                    <a:pt x="355" y="140"/>
                    <a:pt x="357" y="139"/>
                  </a:cubicBezTo>
                  <a:cubicBezTo>
                    <a:pt x="357" y="134"/>
                    <a:pt x="357" y="130"/>
                    <a:pt x="357" y="125"/>
                  </a:cubicBezTo>
                  <a:cubicBezTo>
                    <a:pt x="357" y="107"/>
                    <a:pt x="355" y="89"/>
                    <a:pt x="352" y="71"/>
                  </a:cubicBezTo>
                  <a:cubicBezTo>
                    <a:pt x="351" y="63"/>
                    <a:pt x="350" y="55"/>
                    <a:pt x="347" y="47"/>
                  </a:cubicBezTo>
                  <a:cubicBezTo>
                    <a:pt x="346" y="43"/>
                    <a:pt x="344" y="39"/>
                    <a:pt x="342" y="35"/>
                  </a:cubicBezTo>
                  <a:cubicBezTo>
                    <a:pt x="342" y="35"/>
                    <a:pt x="342" y="35"/>
                    <a:pt x="342" y="35"/>
                  </a:cubicBezTo>
                  <a:cubicBezTo>
                    <a:pt x="337" y="32"/>
                    <a:pt x="332" y="29"/>
                    <a:pt x="327" y="27"/>
                  </a:cubicBezTo>
                  <a:cubicBezTo>
                    <a:pt x="311" y="20"/>
                    <a:pt x="293" y="17"/>
                    <a:pt x="276" y="18"/>
                  </a:cubicBezTo>
                  <a:cubicBezTo>
                    <a:pt x="244" y="20"/>
                    <a:pt x="212" y="36"/>
                    <a:pt x="193" y="62"/>
                  </a:cubicBezTo>
                  <a:cubicBezTo>
                    <a:pt x="177" y="84"/>
                    <a:pt x="171" y="111"/>
                    <a:pt x="170" y="138"/>
                  </a:cubicBezTo>
                  <a:cubicBezTo>
                    <a:pt x="169" y="153"/>
                    <a:pt x="169" y="168"/>
                    <a:pt x="169" y="183"/>
                  </a:cubicBezTo>
                  <a:cubicBezTo>
                    <a:pt x="169" y="198"/>
                    <a:pt x="170" y="212"/>
                    <a:pt x="168" y="226"/>
                  </a:cubicBezTo>
                  <a:cubicBezTo>
                    <a:pt x="168" y="227"/>
                    <a:pt x="169" y="228"/>
                    <a:pt x="169" y="229"/>
                  </a:cubicBezTo>
                  <a:cubicBezTo>
                    <a:pt x="170" y="229"/>
                    <a:pt x="170" y="229"/>
                    <a:pt x="172" y="229"/>
                  </a:cubicBezTo>
                  <a:cubicBezTo>
                    <a:pt x="176" y="230"/>
                    <a:pt x="180" y="230"/>
                    <a:pt x="184" y="230"/>
                  </a:cubicBezTo>
                  <a:cubicBezTo>
                    <a:pt x="195" y="232"/>
                    <a:pt x="204" y="232"/>
                    <a:pt x="215" y="233"/>
                  </a:cubicBezTo>
                  <a:cubicBezTo>
                    <a:pt x="225" y="233"/>
                    <a:pt x="235" y="232"/>
                    <a:pt x="245" y="232"/>
                  </a:cubicBezTo>
                  <a:cubicBezTo>
                    <a:pt x="256" y="231"/>
                    <a:pt x="266" y="231"/>
                    <a:pt x="276" y="231"/>
                  </a:cubicBezTo>
                  <a:cubicBezTo>
                    <a:pt x="297" y="231"/>
                    <a:pt x="317" y="232"/>
                    <a:pt x="337" y="232"/>
                  </a:cubicBezTo>
                  <a:close/>
                  <a:moveTo>
                    <a:pt x="297" y="251"/>
                  </a:moveTo>
                  <a:cubicBezTo>
                    <a:pt x="297" y="251"/>
                    <a:pt x="297" y="251"/>
                    <a:pt x="297" y="251"/>
                  </a:cubicBezTo>
                  <a:cubicBezTo>
                    <a:pt x="297" y="249"/>
                    <a:pt x="297" y="248"/>
                    <a:pt x="297" y="246"/>
                  </a:cubicBezTo>
                  <a:cubicBezTo>
                    <a:pt x="287" y="246"/>
                    <a:pt x="278" y="246"/>
                    <a:pt x="268" y="246"/>
                  </a:cubicBezTo>
                  <a:cubicBezTo>
                    <a:pt x="266" y="246"/>
                    <a:pt x="264" y="247"/>
                    <a:pt x="262" y="247"/>
                  </a:cubicBezTo>
                  <a:cubicBezTo>
                    <a:pt x="262" y="248"/>
                    <a:pt x="262" y="249"/>
                    <a:pt x="262" y="250"/>
                  </a:cubicBezTo>
                  <a:cubicBezTo>
                    <a:pt x="262" y="252"/>
                    <a:pt x="262" y="255"/>
                    <a:pt x="262" y="257"/>
                  </a:cubicBezTo>
                  <a:cubicBezTo>
                    <a:pt x="267" y="258"/>
                    <a:pt x="271" y="258"/>
                    <a:pt x="276" y="258"/>
                  </a:cubicBezTo>
                  <a:cubicBezTo>
                    <a:pt x="283" y="258"/>
                    <a:pt x="291" y="258"/>
                    <a:pt x="298" y="258"/>
                  </a:cubicBezTo>
                  <a:cubicBezTo>
                    <a:pt x="298" y="256"/>
                    <a:pt x="298" y="253"/>
                    <a:pt x="297" y="251"/>
                  </a:cubicBezTo>
                  <a:close/>
                  <a:moveTo>
                    <a:pt x="345" y="281"/>
                  </a:moveTo>
                  <a:cubicBezTo>
                    <a:pt x="345" y="281"/>
                    <a:pt x="345" y="281"/>
                    <a:pt x="345" y="281"/>
                  </a:cubicBezTo>
                  <a:cubicBezTo>
                    <a:pt x="347" y="287"/>
                    <a:pt x="347" y="295"/>
                    <a:pt x="346" y="302"/>
                  </a:cubicBezTo>
                  <a:cubicBezTo>
                    <a:pt x="347" y="301"/>
                    <a:pt x="348" y="300"/>
                    <a:pt x="348" y="299"/>
                  </a:cubicBezTo>
                  <a:cubicBezTo>
                    <a:pt x="351" y="296"/>
                    <a:pt x="355" y="292"/>
                    <a:pt x="358" y="289"/>
                  </a:cubicBezTo>
                  <a:cubicBezTo>
                    <a:pt x="354" y="286"/>
                    <a:pt x="350" y="283"/>
                    <a:pt x="345" y="281"/>
                  </a:cubicBezTo>
                  <a:close/>
                  <a:moveTo>
                    <a:pt x="407" y="341"/>
                  </a:moveTo>
                  <a:cubicBezTo>
                    <a:pt x="407" y="341"/>
                    <a:pt x="407" y="341"/>
                    <a:pt x="407" y="341"/>
                  </a:cubicBezTo>
                  <a:cubicBezTo>
                    <a:pt x="401" y="345"/>
                    <a:pt x="395" y="350"/>
                    <a:pt x="389" y="354"/>
                  </a:cubicBezTo>
                  <a:cubicBezTo>
                    <a:pt x="386" y="355"/>
                    <a:pt x="383" y="357"/>
                    <a:pt x="380" y="359"/>
                  </a:cubicBezTo>
                  <a:cubicBezTo>
                    <a:pt x="383" y="364"/>
                    <a:pt x="385" y="369"/>
                    <a:pt x="387" y="374"/>
                  </a:cubicBezTo>
                  <a:cubicBezTo>
                    <a:pt x="390" y="373"/>
                    <a:pt x="393" y="371"/>
                    <a:pt x="395" y="371"/>
                  </a:cubicBezTo>
                  <a:cubicBezTo>
                    <a:pt x="402" y="368"/>
                    <a:pt x="410" y="367"/>
                    <a:pt x="418" y="365"/>
                  </a:cubicBezTo>
                  <a:cubicBezTo>
                    <a:pt x="418" y="365"/>
                    <a:pt x="418" y="365"/>
                    <a:pt x="418" y="365"/>
                  </a:cubicBezTo>
                  <a:cubicBezTo>
                    <a:pt x="417" y="361"/>
                    <a:pt x="415" y="358"/>
                    <a:pt x="414" y="354"/>
                  </a:cubicBezTo>
                  <a:cubicBezTo>
                    <a:pt x="412" y="349"/>
                    <a:pt x="410" y="345"/>
                    <a:pt x="407" y="341"/>
                  </a:cubicBezTo>
                  <a:close/>
                  <a:moveTo>
                    <a:pt x="431" y="400"/>
                  </a:moveTo>
                  <a:cubicBezTo>
                    <a:pt x="431" y="400"/>
                    <a:pt x="431" y="400"/>
                    <a:pt x="431" y="400"/>
                  </a:cubicBezTo>
                  <a:cubicBezTo>
                    <a:pt x="429" y="400"/>
                    <a:pt x="428" y="400"/>
                    <a:pt x="426" y="400"/>
                  </a:cubicBezTo>
                  <a:cubicBezTo>
                    <a:pt x="423" y="400"/>
                    <a:pt x="421" y="401"/>
                    <a:pt x="418" y="401"/>
                  </a:cubicBezTo>
                  <a:cubicBezTo>
                    <a:pt x="414" y="401"/>
                    <a:pt x="410" y="402"/>
                    <a:pt x="406" y="403"/>
                  </a:cubicBezTo>
                  <a:cubicBezTo>
                    <a:pt x="404" y="404"/>
                    <a:pt x="401" y="405"/>
                    <a:pt x="399" y="405"/>
                  </a:cubicBezTo>
                  <a:cubicBezTo>
                    <a:pt x="400" y="410"/>
                    <a:pt x="401" y="415"/>
                    <a:pt x="402" y="421"/>
                  </a:cubicBezTo>
                  <a:cubicBezTo>
                    <a:pt x="412" y="419"/>
                    <a:pt x="429" y="419"/>
                    <a:pt x="437" y="422"/>
                  </a:cubicBezTo>
                  <a:cubicBezTo>
                    <a:pt x="437" y="421"/>
                    <a:pt x="437" y="421"/>
                    <a:pt x="437" y="420"/>
                  </a:cubicBezTo>
                  <a:cubicBezTo>
                    <a:pt x="435" y="413"/>
                    <a:pt x="433" y="407"/>
                    <a:pt x="431" y="400"/>
                  </a:cubicBezTo>
                  <a:close/>
                  <a:moveTo>
                    <a:pt x="439" y="429"/>
                  </a:moveTo>
                  <a:cubicBezTo>
                    <a:pt x="439" y="429"/>
                    <a:pt x="439" y="429"/>
                    <a:pt x="439" y="429"/>
                  </a:cubicBezTo>
                  <a:cubicBezTo>
                    <a:pt x="438" y="429"/>
                    <a:pt x="438" y="429"/>
                    <a:pt x="438" y="428"/>
                  </a:cubicBezTo>
                  <a:cubicBezTo>
                    <a:pt x="438" y="428"/>
                    <a:pt x="436" y="428"/>
                    <a:pt x="436" y="427"/>
                  </a:cubicBezTo>
                  <a:cubicBezTo>
                    <a:pt x="434" y="427"/>
                    <a:pt x="432" y="427"/>
                    <a:pt x="430" y="427"/>
                  </a:cubicBezTo>
                  <a:cubicBezTo>
                    <a:pt x="425" y="427"/>
                    <a:pt x="420" y="427"/>
                    <a:pt x="415" y="427"/>
                  </a:cubicBezTo>
                  <a:cubicBezTo>
                    <a:pt x="411" y="428"/>
                    <a:pt x="407" y="428"/>
                    <a:pt x="403" y="428"/>
                  </a:cubicBezTo>
                  <a:cubicBezTo>
                    <a:pt x="404" y="433"/>
                    <a:pt x="404" y="437"/>
                    <a:pt x="405" y="441"/>
                  </a:cubicBezTo>
                  <a:cubicBezTo>
                    <a:pt x="411" y="441"/>
                    <a:pt x="417" y="442"/>
                    <a:pt x="424" y="443"/>
                  </a:cubicBezTo>
                  <a:cubicBezTo>
                    <a:pt x="427" y="443"/>
                    <a:pt x="430" y="444"/>
                    <a:pt x="434" y="445"/>
                  </a:cubicBezTo>
                  <a:cubicBezTo>
                    <a:pt x="436" y="446"/>
                    <a:pt x="438" y="448"/>
                    <a:pt x="440" y="449"/>
                  </a:cubicBezTo>
                  <a:cubicBezTo>
                    <a:pt x="440" y="442"/>
                    <a:pt x="440" y="436"/>
                    <a:pt x="439" y="429"/>
                  </a:cubicBezTo>
                  <a:close/>
                  <a:moveTo>
                    <a:pt x="437" y="468"/>
                  </a:moveTo>
                  <a:cubicBezTo>
                    <a:pt x="437" y="468"/>
                    <a:pt x="437" y="468"/>
                    <a:pt x="437" y="468"/>
                  </a:cubicBezTo>
                  <a:cubicBezTo>
                    <a:pt x="438" y="464"/>
                    <a:pt x="439" y="460"/>
                    <a:pt x="439" y="455"/>
                  </a:cubicBezTo>
                  <a:cubicBezTo>
                    <a:pt x="439" y="455"/>
                    <a:pt x="439" y="455"/>
                    <a:pt x="439" y="454"/>
                  </a:cubicBezTo>
                  <a:cubicBezTo>
                    <a:pt x="434" y="452"/>
                    <a:pt x="429" y="450"/>
                    <a:pt x="423" y="449"/>
                  </a:cubicBezTo>
                  <a:cubicBezTo>
                    <a:pt x="417" y="448"/>
                    <a:pt x="410" y="448"/>
                    <a:pt x="405" y="446"/>
                  </a:cubicBezTo>
                  <a:cubicBezTo>
                    <a:pt x="405" y="448"/>
                    <a:pt x="405" y="450"/>
                    <a:pt x="405" y="452"/>
                  </a:cubicBezTo>
                  <a:cubicBezTo>
                    <a:pt x="405" y="453"/>
                    <a:pt x="405" y="454"/>
                    <a:pt x="405" y="454"/>
                  </a:cubicBezTo>
                  <a:cubicBezTo>
                    <a:pt x="407" y="455"/>
                    <a:pt x="409" y="455"/>
                    <a:pt x="410" y="455"/>
                  </a:cubicBezTo>
                  <a:cubicBezTo>
                    <a:pt x="415" y="455"/>
                    <a:pt x="420" y="457"/>
                    <a:pt x="424" y="460"/>
                  </a:cubicBezTo>
                  <a:cubicBezTo>
                    <a:pt x="428" y="464"/>
                    <a:pt x="433" y="465"/>
                    <a:pt x="437" y="468"/>
                  </a:cubicBezTo>
                  <a:close/>
                  <a:moveTo>
                    <a:pt x="363" y="521"/>
                  </a:moveTo>
                  <a:cubicBezTo>
                    <a:pt x="363" y="521"/>
                    <a:pt x="363" y="521"/>
                    <a:pt x="363" y="521"/>
                  </a:cubicBezTo>
                  <a:cubicBezTo>
                    <a:pt x="363" y="521"/>
                    <a:pt x="363" y="521"/>
                    <a:pt x="363" y="521"/>
                  </a:cubicBezTo>
                  <a:cubicBezTo>
                    <a:pt x="365" y="523"/>
                    <a:pt x="367" y="525"/>
                    <a:pt x="369" y="527"/>
                  </a:cubicBezTo>
                  <a:cubicBezTo>
                    <a:pt x="374" y="530"/>
                    <a:pt x="380" y="534"/>
                    <a:pt x="385" y="537"/>
                  </a:cubicBezTo>
                  <a:cubicBezTo>
                    <a:pt x="392" y="541"/>
                    <a:pt x="400" y="544"/>
                    <a:pt x="409" y="547"/>
                  </a:cubicBezTo>
                  <a:cubicBezTo>
                    <a:pt x="412" y="548"/>
                    <a:pt x="416" y="550"/>
                    <a:pt x="420" y="551"/>
                  </a:cubicBezTo>
                  <a:cubicBezTo>
                    <a:pt x="422" y="552"/>
                    <a:pt x="424" y="553"/>
                    <a:pt x="426" y="554"/>
                  </a:cubicBezTo>
                  <a:cubicBezTo>
                    <a:pt x="426" y="554"/>
                    <a:pt x="426" y="554"/>
                    <a:pt x="426" y="553"/>
                  </a:cubicBezTo>
                  <a:cubicBezTo>
                    <a:pt x="427" y="551"/>
                    <a:pt x="428" y="549"/>
                    <a:pt x="428" y="547"/>
                  </a:cubicBezTo>
                  <a:cubicBezTo>
                    <a:pt x="429" y="542"/>
                    <a:pt x="429" y="537"/>
                    <a:pt x="429" y="533"/>
                  </a:cubicBezTo>
                  <a:cubicBezTo>
                    <a:pt x="429" y="529"/>
                    <a:pt x="428" y="526"/>
                    <a:pt x="427" y="524"/>
                  </a:cubicBezTo>
                  <a:cubicBezTo>
                    <a:pt x="426" y="521"/>
                    <a:pt x="425" y="517"/>
                    <a:pt x="425" y="515"/>
                  </a:cubicBezTo>
                  <a:cubicBezTo>
                    <a:pt x="419" y="512"/>
                    <a:pt x="414" y="509"/>
                    <a:pt x="409" y="507"/>
                  </a:cubicBezTo>
                  <a:cubicBezTo>
                    <a:pt x="403" y="504"/>
                    <a:pt x="397" y="500"/>
                    <a:pt x="391" y="498"/>
                  </a:cubicBezTo>
                  <a:cubicBezTo>
                    <a:pt x="390" y="497"/>
                    <a:pt x="389" y="497"/>
                    <a:pt x="388" y="497"/>
                  </a:cubicBezTo>
                  <a:cubicBezTo>
                    <a:pt x="383" y="500"/>
                    <a:pt x="377" y="502"/>
                    <a:pt x="373" y="506"/>
                  </a:cubicBezTo>
                  <a:cubicBezTo>
                    <a:pt x="368" y="510"/>
                    <a:pt x="365" y="515"/>
                    <a:pt x="363" y="521"/>
                  </a:cubicBezTo>
                  <a:close/>
                  <a:moveTo>
                    <a:pt x="389" y="478"/>
                  </a:moveTo>
                  <a:cubicBezTo>
                    <a:pt x="389" y="478"/>
                    <a:pt x="389" y="478"/>
                    <a:pt x="389" y="478"/>
                  </a:cubicBezTo>
                  <a:cubicBezTo>
                    <a:pt x="388" y="478"/>
                    <a:pt x="387" y="479"/>
                    <a:pt x="387" y="481"/>
                  </a:cubicBezTo>
                  <a:cubicBezTo>
                    <a:pt x="386" y="481"/>
                    <a:pt x="386" y="481"/>
                    <a:pt x="386" y="482"/>
                  </a:cubicBezTo>
                  <a:cubicBezTo>
                    <a:pt x="397" y="484"/>
                    <a:pt x="407" y="490"/>
                    <a:pt x="417" y="496"/>
                  </a:cubicBezTo>
                  <a:cubicBezTo>
                    <a:pt x="422" y="499"/>
                    <a:pt x="428" y="502"/>
                    <a:pt x="433" y="505"/>
                  </a:cubicBezTo>
                  <a:cubicBezTo>
                    <a:pt x="435" y="506"/>
                    <a:pt x="437" y="508"/>
                    <a:pt x="439" y="510"/>
                  </a:cubicBezTo>
                  <a:cubicBezTo>
                    <a:pt x="441" y="509"/>
                    <a:pt x="442" y="509"/>
                    <a:pt x="442" y="506"/>
                  </a:cubicBezTo>
                  <a:cubicBezTo>
                    <a:pt x="442" y="504"/>
                    <a:pt x="441" y="501"/>
                    <a:pt x="440" y="498"/>
                  </a:cubicBezTo>
                  <a:cubicBezTo>
                    <a:pt x="439" y="498"/>
                    <a:pt x="439" y="497"/>
                    <a:pt x="438" y="497"/>
                  </a:cubicBezTo>
                  <a:cubicBezTo>
                    <a:pt x="434" y="495"/>
                    <a:pt x="430" y="494"/>
                    <a:pt x="427" y="492"/>
                  </a:cubicBezTo>
                  <a:cubicBezTo>
                    <a:pt x="419" y="489"/>
                    <a:pt x="413" y="486"/>
                    <a:pt x="406" y="483"/>
                  </a:cubicBezTo>
                  <a:cubicBezTo>
                    <a:pt x="403" y="482"/>
                    <a:pt x="400" y="481"/>
                    <a:pt x="397" y="480"/>
                  </a:cubicBezTo>
                  <a:cubicBezTo>
                    <a:pt x="395" y="479"/>
                    <a:pt x="392" y="477"/>
                    <a:pt x="389" y="478"/>
                  </a:cubicBezTo>
                  <a:close/>
                  <a:moveTo>
                    <a:pt x="403" y="467"/>
                  </a:moveTo>
                  <a:cubicBezTo>
                    <a:pt x="403" y="467"/>
                    <a:pt x="403" y="467"/>
                    <a:pt x="403" y="467"/>
                  </a:cubicBezTo>
                  <a:cubicBezTo>
                    <a:pt x="407" y="469"/>
                    <a:pt x="411" y="470"/>
                    <a:pt x="415" y="472"/>
                  </a:cubicBezTo>
                  <a:cubicBezTo>
                    <a:pt x="419" y="474"/>
                    <a:pt x="423" y="477"/>
                    <a:pt x="428" y="479"/>
                  </a:cubicBezTo>
                  <a:cubicBezTo>
                    <a:pt x="430" y="480"/>
                    <a:pt x="432" y="481"/>
                    <a:pt x="434" y="482"/>
                  </a:cubicBezTo>
                  <a:cubicBezTo>
                    <a:pt x="435" y="480"/>
                    <a:pt x="435" y="477"/>
                    <a:pt x="436" y="474"/>
                  </a:cubicBezTo>
                  <a:cubicBezTo>
                    <a:pt x="434" y="473"/>
                    <a:pt x="432" y="473"/>
                    <a:pt x="430" y="472"/>
                  </a:cubicBezTo>
                  <a:cubicBezTo>
                    <a:pt x="426" y="470"/>
                    <a:pt x="422" y="469"/>
                    <a:pt x="419" y="466"/>
                  </a:cubicBezTo>
                  <a:cubicBezTo>
                    <a:pt x="415" y="463"/>
                    <a:pt x="411" y="462"/>
                    <a:pt x="406" y="462"/>
                  </a:cubicBezTo>
                  <a:cubicBezTo>
                    <a:pt x="405" y="462"/>
                    <a:pt x="404" y="462"/>
                    <a:pt x="404" y="462"/>
                  </a:cubicBezTo>
                  <a:cubicBezTo>
                    <a:pt x="403" y="464"/>
                    <a:pt x="403" y="466"/>
                    <a:pt x="402" y="467"/>
                  </a:cubicBezTo>
                  <a:cubicBezTo>
                    <a:pt x="402" y="467"/>
                    <a:pt x="402" y="467"/>
                    <a:pt x="403" y="467"/>
                  </a:cubicBezTo>
                  <a:close/>
                  <a:moveTo>
                    <a:pt x="391" y="382"/>
                  </a:moveTo>
                  <a:cubicBezTo>
                    <a:pt x="391" y="382"/>
                    <a:pt x="391" y="382"/>
                    <a:pt x="391" y="382"/>
                  </a:cubicBezTo>
                  <a:cubicBezTo>
                    <a:pt x="393" y="388"/>
                    <a:pt x="395" y="393"/>
                    <a:pt x="397" y="399"/>
                  </a:cubicBezTo>
                  <a:cubicBezTo>
                    <a:pt x="399" y="398"/>
                    <a:pt x="402" y="397"/>
                    <a:pt x="404" y="396"/>
                  </a:cubicBezTo>
                  <a:cubicBezTo>
                    <a:pt x="409" y="395"/>
                    <a:pt x="413" y="395"/>
                    <a:pt x="418" y="394"/>
                  </a:cubicBezTo>
                  <a:cubicBezTo>
                    <a:pt x="422" y="394"/>
                    <a:pt x="426" y="394"/>
                    <a:pt x="429" y="395"/>
                  </a:cubicBezTo>
                  <a:cubicBezTo>
                    <a:pt x="428" y="392"/>
                    <a:pt x="427" y="389"/>
                    <a:pt x="426" y="385"/>
                  </a:cubicBezTo>
                  <a:cubicBezTo>
                    <a:pt x="424" y="380"/>
                    <a:pt x="422" y="375"/>
                    <a:pt x="420" y="369"/>
                  </a:cubicBezTo>
                  <a:cubicBezTo>
                    <a:pt x="420" y="370"/>
                    <a:pt x="419" y="370"/>
                    <a:pt x="419" y="370"/>
                  </a:cubicBezTo>
                  <a:cubicBezTo>
                    <a:pt x="413" y="371"/>
                    <a:pt x="406" y="373"/>
                    <a:pt x="400" y="376"/>
                  </a:cubicBezTo>
                  <a:cubicBezTo>
                    <a:pt x="397" y="377"/>
                    <a:pt x="394" y="379"/>
                    <a:pt x="390" y="380"/>
                  </a:cubicBezTo>
                  <a:cubicBezTo>
                    <a:pt x="390" y="380"/>
                    <a:pt x="390" y="381"/>
                    <a:pt x="390" y="381"/>
                  </a:cubicBezTo>
                  <a:cubicBezTo>
                    <a:pt x="390" y="381"/>
                    <a:pt x="390" y="382"/>
                    <a:pt x="391" y="382"/>
                  </a:cubicBezTo>
                  <a:close/>
                  <a:moveTo>
                    <a:pt x="376" y="353"/>
                  </a:moveTo>
                  <a:cubicBezTo>
                    <a:pt x="376" y="353"/>
                    <a:pt x="376" y="353"/>
                    <a:pt x="376" y="353"/>
                  </a:cubicBezTo>
                  <a:cubicBezTo>
                    <a:pt x="380" y="350"/>
                    <a:pt x="385" y="348"/>
                    <a:pt x="389" y="346"/>
                  </a:cubicBezTo>
                  <a:cubicBezTo>
                    <a:pt x="394" y="342"/>
                    <a:pt x="399" y="339"/>
                    <a:pt x="405" y="337"/>
                  </a:cubicBezTo>
                  <a:cubicBezTo>
                    <a:pt x="400" y="329"/>
                    <a:pt x="394" y="321"/>
                    <a:pt x="388" y="314"/>
                  </a:cubicBezTo>
                  <a:cubicBezTo>
                    <a:pt x="384" y="318"/>
                    <a:pt x="380" y="322"/>
                    <a:pt x="376" y="326"/>
                  </a:cubicBezTo>
                  <a:cubicBezTo>
                    <a:pt x="372" y="329"/>
                    <a:pt x="370" y="334"/>
                    <a:pt x="366" y="338"/>
                  </a:cubicBezTo>
                  <a:cubicBezTo>
                    <a:pt x="368" y="340"/>
                    <a:pt x="369" y="341"/>
                    <a:pt x="370" y="343"/>
                  </a:cubicBezTo>
                  <a:cubicBezTo>
                    <a:pt x="372" y="346"/>
                    <a:pt x="375" y="349"/>
                    <a:pt x="376" y="353"/>
                  </a:cubicBezTo>
                  <a:close/>
                  <a:moveTo>
                    <a:pt x="356" y="328"/>
                  </a:moveTo>
                  <a:cubicBezTo>
                    <a:pt x="356" y="328"/>
                    <a:pt x="356" y="328"/>
                    <a:pt x="356" y="328"/>
                  </a:cubicBezTo>
                  <a:cubicBezTo>
                    <a:pt x="359" y="330"/>
                    <a:pt x="361" y="332"/>
                    <a:pt x="363" y="334"/>
                  </a:cubicBezTo>
                  <a:cubicBezTo>
                    <a:pt x="366" y="324"/>
                    <a:pt x="376" y="317"/>
                    <a:pt x="384" y="311"/>
                  </a:cubicBezTo>
                  <a:cubicBezTo>
                    <a:pt x="381" y="308"/>
                    <a:pt x="378" y="305"/>
                    <a:pt x="375" y="302"/>
                  </a:cubicBezTo>
                  <a:cubicBezTo>
                    <a:pt x="371" y="298"/>
                    <a:pt x="367" y="295"/>
                    <a:pt x="363" y="292"/>
                  </a:cubicBezTo>
                  <a:cubicBezTo>
                    <a:pt x="360" y="296"/>
                    <a:pt x="357" y="299"/>
                    <a:pt x="353" y="303"/>
                  </a:cubicBezTo>
                  <a:cubicBezTo>
                    <a:pt x="351" y="305"/>
                    <a:pt x="350" y="308"/>
                    <a:pt x="348" y="310"/>
                  </a:cubicBezTo>
                  <a:cubicBezTo>
                    <a:pt x="347" y="312"/>
                    <a:pt x="346" y="314"/>
                    <a:pt x="345" y="316"/>
                  </a:cubicBezTo>
                  <a:cubicBezTo>
                    <a:pt x="345" y="318"/>
                    <a:pt x="345" y="319"/>
                    <a:pt x="345" y="321"/>
                  </a:cubicBezTo>
                  <a:cubicBezTo>
                    <a:pt x="349" y="323"/>
                    <a:pt x="353" y="326"/>
                    <a:pt x="356" y="328"/>
                  </a:cubicBezTo>
                  <a:close/>
                  <a:moveTo>
                    <a:pt x="285" y="535"/>
                  </a:moveTo>
                  <a:cubicBezTo>
                    <a:pt x="285" y="535"/>
                    <a:pt x="285" y="535"/>
                    <a:pt x="285" y="535"/>
                  </a:cubicBezTo>
                  <a:cubicBezTo>
                    <a:pt x="284" y="530"/>
                    <a:pt x="284" y="526"/>
                    <a:pt x="284" y="521"/>
                  </a:cubicBezTo>
                  <a:cubicBezTo>
                    <a:pt x="280" y="522"/>
                    <a:pt x="277" y="522"/>
                    <a:pt x="273" y="522"/>
                  </a:cubicBezTo>
                  <a:cubicBezTo>
                    <a:pt x="271" y="522"/>
                    <a:pt x="268" y="522"/>
                    <a:pt x="265" y="521"/>
                  </a:cubicBezTo>
                  <a:cubicBezTo>
                    <a:pt x="265" y="526"/>
                    <a:pt x="265" y="530"/>
                    <a:pt x="265" y="534"/>
                  </a:cubicBezTo>
                  <a:cubicBezTo>
                    <a:pt x="266" y="536"/>
                    <a:pt x="265" y="538"/>
                    <a:pt x="265" y="539"/>
                  </a:cubicBezTo>
                  <a:cubicBezTo>
                    <a:pt x="269" y="538"/>
                    <a:pt x="273" y="539"/>
                    <a:pt x="276" y="538"/>
                  </a:cubicBezTo>
                  <a:cubicBezTo>
                    <a:pt x="279" y="538"/>
                    <a:pt x="282" y="538"/>
                    <a:pt x="285" y="538"/>
                  </a:cubicBezTo>
                  <a:cubicBezTo>
                    <a:pt x="285" y="537"/>
                    <a:pt x="285" y="536"/>
                    <a:pt x="285" y="535"/>
                  </a:cubicBezTo>
                  <a:close/>
                  <a:moveTo>
                    <a:pt x="264" y="507"/>
                  </a:moveTo>
                  <a:cubicBezTo>
                    <a:pt x="264" y="507"/>
                    <a:pt x="264" y="507"/>
                    <a:pt x="264" y="507"/>
                  </a:cubicBezTo>
                  <a:cubicBezTo>
                    <a:pt x="265" y="510"/>
                    <a:pt x="265" y="512"/>
                    <a:pt x="265" y="515"/>
                  </a:cubicBezTo>
                  <a:cubicBezTo>
                    <a:pt x="268" y="514"/>
                    <a:pt x="271" y="515"/>
                    <a:pt x="273" y="515"/>
                  </a:cubicBezTo>
                  <a:cubicBezTo>
                    <a:pt x="277" y="516"/>
                    <a:pt x="280" y="516"/>
                    <a:pt x="284" y="516"/>
                  </a:cubicBezTo>
                  <a:cubicBezTo>
                    <a:pt x="284" y="514"/>
                    <a:pt x="283" y="511"/>
                    <a:pt x="283" y="509"/>
                  </a:cubicBezTo>
                  <a:cubicBezTo>
                    <a:pt x="283" y="505"/>
                    <a:pt x="283" y="502"/>
                    <a:pt x="283" y="498"/>
                  </a:cubicBezTo>
                  <a:cubicBezTo>
                    <a:pt x="278" y="499"/>
                    <a:pt x="269" y="500"/>
                    <a:pt x="264" y="498"/>
                  </a:cubicBezTo>
                  <a:cubicBezTo>
                    <a:pt x="264" y="501"/>
                    <a:pt x="264" y="504"/>
                    <a:pt x="264" y="507"/>
                  </a:cubicBezTo>
                  <a:close/>
                  <a:moveTo>
                    <a:pt x="286" y="558"/>
                  </a:moveTo>
                  <a:cubicBezTo>
                    <a:pt x="286" y="558"/>
                    <a:pt x="286" y="558"/>
                    <a:pt x="286" y="558"/>
                  </a:cubicBezTo>
                  <a:cubicBezTo>
                    <a:pt x="286" y="558"/>
                    <a:pt x="286" y="557"/>
                    <a:pt x="286" y="557"/>
                  </a:cubicBezTo>
                  <a:cubicBezTo>
                    <a:pt x="287" y="554"/>
                    <a:pt x="286" y="550"/>
                    <a:pt x="286" y="547"/>
                  </a:cubicBezTo>
                  <a:cubicBezTo>
                    <a:pt x="286" y="546"/>
                    <a:pt x="286" y="545"/>
                    <a:pt x="285" y="544"/>
                  </a:cubicBezTo>
                  <a:cubicBezTo>
                    <a:pt x="282" y="545"/>
                    <a:pt x="279" y="545"/>
                    <a:pt x="276" y="545"/>
                  </a:cubicBezTo>
                  <a:cubicBezTo>
                    <a:pt x="273" y="545"/>
                    <a:pt x="269" y="546"/>
                    <a:pt x="266" y="545"/>
                  </a:cubicBezTo>
                  <a:cubicBezTo>
                    <a:pt x="266" y="546"/>
                    <a:pt x="266" y="547"/>
                    <a:pt x="266" y="548"/>
                  </a:cubicBezTo>
                  <a:cubicBezTo>
                    <a:pt x="266" y="550"/>
                    <a:pt x="266" y="553"/>
                    <a:pt x="266" y="556"/>
                  </a:cubicBezTo>
                  <a:cubicBezTo>
                    <a:pt x="267" y="556"/>
                    <a:pt x="267" y="557"/>
                    <a:pt x="268" y="557"/>
                  </a:cubicBezTo>
                  <a:cubicBezTo>
                    <a:pt x="271" y="558"/>
                    <a:pt x="273" y="559"/>
                    <a:pt x="276" y="559"/>
                  </a:cubicBezTo>
                  <a:cubicBezTo>
                    <a:pt x="279" y="559"/>
                    <a:pt x="282" y="559"/>
                    <a:pt x="285" y="558"/>
                  </a:cubicBezTo>
                  <a:cubicBezTo>
                    <a:pt x="285" y="558"/>
                    <a:pt x="286" y="558"/>
                    <a:pt x="286" y="558"/>
                  </a:cubicBezTo>
                  <a:close/>
                  <a:moveTo>
                    <a:pt x="263" y="480"/>
                  </a:moveTo>
                  <a:cubicBezTo>
                    <a:pt x="263" y="480"/>
                    <a:pt x="263" y="480"/>
                    <a:pt x="263" y="480"/>
                  </a:cubicBezTo>
                  <a:cubicBezTo>
                    <a:pt x="263" y="484"/>
                    <a:pt x="263" y="488"/>
                    <a:pt x="263" y="491"/>
                  </a:cubicBezTo>
                  <a:cubicBezTo>
                    <a:pt x="264" y="491"/>
                    <a:pt x="265" y="492"/>
                    <a:pt x="266" y="492"/>
                  </a:cubicBezTo>
                  <a:cubicBezTo>
                    <a:pt x="268" y="492"/>
                    <a:pt x="271" y="493"/>
                    <a:pt x="273" y="493"/>
                  </a:cubicBezTo>
                  <a:cubicBezTo>
                    <a:pt x="276" y="493"/>
                    <a:pt x="280" y="493"/>
                    <a:pt x="283" y="493"/>
                  </a:cubicBezTo>
                  <a:cubicBezTo>
                    <a:pt x="283" y="489"/>
                    <a:pt x="284" y="486"/>
                    <a:pt x="284" y="482"/>
                  </a:cubicBezTo>
                  <a:cubicBezTo>
                    <a:pt x="284" y="481"/>
                    <a:pt x="284" y="480"/>
                    <a:pt x="284" y="479"/>
                  </a:cubicBezTo>
                  <a:cubicBezTo>
                    <a:pt x="281" y="479"/>
                    <a:pt x="278" y="480"/>
                    <a:pt x="274" y="480"/>
                  </a:cubicBezTo>
                  <a:cubicBezTo>
                    <a:pt x="271" y="480"/>
                    <a:pt x="266" y="482"/>
                    <a:pt x="263" y="479"/>
                  </a:cubicBezTo>
                  <a:cubicBezTo>
                    <a:pt x="263" y="479"/>
                    <a:pt x="263" y="479"/>
                    <a:pt x="263" y="479"/>
                  </a:cubicBezTo>
                  <a:cubicBezTo>
                    <a:pt x="263" y="479"/>
                    <a:pt x="263" y="480"/>
                    <a:pt x="263" y="480"/>
                  </a:cubicBezTo>
                  <a:close/>
                  <a:moveTo>
                    <a:pt x="277" y="638"/>
                  </a:moveTo>
                  <a:cubicBezTo>
                    <a:pt x="277" y="638"/>
                    <a:pt x="277" y="638"/>
                    <a:pt x="277" y="638"/>
                  </a:cubicBezTo>
                  <a:cubicBezTo>
                    <a:pt x="284" y="636"/>
                    <a:pt x="288" y="631"/>
                    <a:pt x="290" y="625"/>
                  </a:cubicBezTo>
                  <a:cubicBezTo>
                    <a:pt x="291" y="624"/>
                    <a:pt x="291" y="621"/>
                    <a:pt x="292" y="618"/>
                  </a:cubicBezTo>
                  <a:cubicBezTo>
                    <a:pt x="291" y="618"/>
                    <a:pt x="290" y="618"/>
                    <a:pt x="289" y="618"/>
                  </a:cubicBezTo>
                  <a:cubicBezTo>
                    <a:pt x="282" y="617"/>
                    <a:pt x="274" y="617"/>
                    <a:pt x="267" y="617"/>
                  </a:cubicBezTo>
                  <a:cubicBezTo>
                    <a:pt x="263" y="617"/>
                    <a:pt x="260" y="617"/>
                    <a:pt x="256" y="617"/>
                  </a:cubicBezTo>
                  <a:cubicBezTo>
                    <a:pt x="260" y="628"/>
                    <a:pt x="265" y="641"/>
                    <a:pt x="277" y="638"/>
                  </a:cubicBezTo>
                  <a:close/>
                  <a:moveTo>
                    <a:pt x="242" y="585"/>
                  </a:moveTo>
                  <a:cubicBezTo>
                    <a:pt x="242" y="585"/>
                    <a:pt x="242" y="585"/>
                    <a:pt x="242" y="585"/>
                  </a:cubicBezTo>
                  <a:cubicBezTo>
                    <a:pt x="239" y="589"/>
                    <a:pt x="239" y="595"/>
                    <a:pt x="239" y="600"/>
                  </a:cubicBezTo>
                  <a:cubicBezTo>
                    <a:pt x="239" y="599"/>
                    <a:pt x="239" y="600"/>
                    <a:pt x="239" y="601"/>
                  </a:cubicBezTo>
                  <a:cubicBezTo>
                    <a:pt x="240" y="601"/>
                    <a:pt x="240" y="602"/>
                    <a:pt x="240" y="602"/>
                  </a:cubicBezTo>
                  <a:cubicBezTo>
                    <a:pt x="242" y="602"/>
                    <a:pt x="243" y="603"/>
                    <a:pt x="244" y="604"/>
                  </a:cubicBezTo>
                  <a:cubicBezTo>
                    <a:pt x="245" y="604"/>
                    <a:pt x="246" y="603"/>
                    <a:pt x="248" y="603"/>
                  </a:cubicBezTo>
                  <a:cubicBezTo>
                    <a:pt x="251" y="603"/>
                    <a:pt x="255" y="603"/>
                    <a:pt x="260" y="603"/>
                  </a:cubicBezTo>
                  <a:cubicBezTo>
                    <a:pt x="266" y="603"/>
                    <a:pt x="273" y="603"/>
                    <a:pt x="280" y="603"/>
                  </a:cubicBezTo>
                  <a:cubicBezTo>
                    <a:pt x="291" y="604"/>
                    <a:pt x="302" y="607"/>
                    <a:pt x="312" y="604"/>
                  </a:cubicBezTo>
                  <a:cubicBezTo>
                    <a:pt x="315" y="603"/>
                    <a:pt x="316" y="602"/>
                    <a:pt x="315" y="598"/>
                  </a:cubicBezTo>
                  <a:cubicBezTo>
                    <a:pt x="314" y="593"/>
                    <a:pt x="312" y="588"/>
                    <a:pt x="309" y="583"/>
                  </a:cubicBezTo>
                  <a:cubicBezTo>
                    <a:pt x="306" y="579"/>
                    <a:pt x="302" y="575"/>
                    <a:pt x="298" y="571"/>
                  </a:cubicBezTo>
                  <a:cubicBezTo>
                    <a:pt x="297" y="570"/>
                    <a:pt x="295" y="569"/>
                    <a:pt x="293" y="567"/>
                  </a:cubicBezTo>
                  <a:cubicBezTo>
                    <a:pt x="290" y="568"/>
                    <a:pt x="288" y="569"/>
                    <a:pt x="285" y="570"/>
                  </a:cubicBezTo>
                  <a:cubicBezTo>
                    <a:pt x="282" y="571"/>
                    <a:pt x="278" y="571"/>
                    <a:pt x="274" y="571"/>
                  </a:cubicBezTo>
                  <a:cubicBezTo>
                    <a:pt x="269" y="571"/>
                    <a:pt x="262" y="570"/>
                    <a:pt x="258" y="566"/>
                  </a:cubicBezTo>
                  <a:cubicBezTo>
                    <a:pt x="256" y="568"/>
                    <a:pt x="254" y="570"/>
                    <a:pt x="252" y="572"/>
                  </a:cubicBezTo>
                  <a:cubicBezTo>
                    <a:pt x="248" y="575"/>
                    <a:pt x="244" y="580"/>
                    <a:pt x="242" y="585"/>
                  </a:cubicBezTo>
                  <a:close/>
                  <a:moveTo>
                    <a:pt x="262" y="476"/>
                  </a:moveTo>
                  <a:cubicBezTo>
                    <a:pt x="262" y="476"/>
                    <a:pt x="262" y="476"/>
                    <a:pt x="262" y="476"/>
                  </a:cubicBezTo>
                  <a:cubicBezTo>
                    <a:pt x="263" y="476"/>
                    <a:pt x="263" y="476"/>
                    <a:pt x="263" y="476"/>
                  </a:cubicBezTo>
                  <a:cubicBezTo>
                    <a:pt x="265" y="473"/>
                    <a:pt x="269" y="473"/>
                    <a:pt x="273" y="473"/>
                  </a:cubicBezTo>
                  <a:cubicBezTo>
                    <a:pt x="277" y="473"/>
                    <a:pt x="281" y="473"/>
                    <a:pt x="284" y="473"/>
                  </a:cubicBezTo>
                  <a:cubicBezTo>
                    <a:pt x="285" y="469"/>
                    <a:pt x="285" y="465"/>
                    <a:pt x="285" y="462"/>
                  </a:cubicBezTo>
                  <a:cubicBezTo>
                    <a:pt x="281" y="461"/>
                    <a:pt x="276" y="461"/>
                    <a:pt x="272" y="461"/>
                  </a:cubicBezTo>
                  <a:cubicBezTo>
                    <a:pt x="268" y="461"/>
                    <a:pt x="265" y="461"/>
                    <a:pt x="261" y="461"/>
                  </a:cubicBezTo>
                  <a:cubicBezTo>
                    <a:pt x="262" y="466"/>
                    <a:pt x="262" y="471"/>
                    <a:pt x="262" y="476"/>
                  </a:cubicBezTo>
                  <a:close/>
                  <a:moveTo>
                    <a:pt x="245" y="445"/>
                  </a:moveTo>
                  <a:cubicBezTo>
                    <a:pt x="245" y="445"/>
                    <a:pt x="245" y="445"/>
                    <a:pt x="245" y="445"/>
                  </a:cubicBezTo>
                  <a:cubicBezTo>
                    <a:pt x="257" y="445"/>
                    <a:pt x="268" y="446"/>
                    <a:pt x="280" y="446"/>
                  </a:cubicBezTo>
                  <a:cubicBezTo>
                    <a:pt x="292" y="446"/>
                    <a:pt x="304" y="446"/>
                    <a:pt x="316" y="447"/>
                  </a:cubicBezTo>
                  <a:cubicBezTo>
                    <a:pt x="319" y="448"/>
                    <a:pt x="323" y="449"/>
                    <a:pt x="326" y="447"/>
                  </a:cubicBezTo>
                  <a:cubicBezTo>
                    <a:pt x="327" y="447"/>
                    <a:pt x="327" y="444"/>
                    <a:pt x="327" y="445"/>
                  </a:cubicBezTo>
                  <a:cubicBezTo>
                    <a:pt x="327" y="444"/>
                    <a:pt x="327" y="442"/>
                    <a:pt x="327" y="440"/>
                  </a:cubicBezTo>
                  <a:cubicBezTo>
                    <a:pt x="327" y="440"/>
                    <a:pt x="327" y="439"/>
                    <a:pt x="327" y="438"/>
                  </a:cubicBezTo>
                  <a:cubicBezTo>
                    <a:pt x="324" y="438"/>
                    <a:pt x="322" y="438"/>
                    <a:pt x="320" y="438"/>
                  </a:cubicBezTo>
                  <a:cubicBezTo>
                    <a:pt x="316" y="438"/>
                    <a:pt x="312" y="439"/>
                    <a:pt x="309" y="439"/>
                  </a:cubicBezTo>
                  <a:cubicBezTo>
                    <a:pt x="299" y="439"/>
                    <a:pt x="290" y="440"/>
                    <a:pt x="281" y="440"/>
                  </a:cubicBezTo>
                  <a:cubicBezTo>
                    <a:pt x="271" y="441"/>
                    <a:pt x="262" y="441"/>
                    <a:pt x="253" y="441"/>
                  </a:cubicBezTo>
                  <a:cubicBezTo>
                    <a:pt x="248" y="440"/>
                    <a:pt x="243" y="440"/>
                    <a:pt x="239" y="440"/>
                  </a:cubicBezTo>
                  <a:cubicBezTo>
                    <a:pt x="235" y="439"/>
                    <a:pt x="230" y="440"/>
                    <a:pt x="226" y="438"/>
                  </a:cubicBezTo>
                  <a:cubicBezTo>
                    <a:pt x="225" y="440"/>
                    <a:pt x="225" y="442"/>
                    <a:pt x="224" y="444"/>
                  </a:cubicBezTo>
                  <a:cubicBezTo>
                    <a:pt x="225" y="445"/>
                    <a:pt x="226" y="445"/>
                    <a:pt x="227" y="445"/>
                  </a:cubicBezTo>
                  <a:cubicBezTo>
                    <a:pt x="232" y="446"/>
                    <a:pt x="239" y="446"/>
                    <a:pt x="245" y="445"/>
                  </a:cubicBezTo>
                  <a:close/>
                  <a:moveTo>
                    <a:pt x="210" y="316"/>
                  </a:moveTo>
                  <a:cubicBezTo>
                    <a:pt x="210" y="316"/>
                    <a:pt x="210" y="316"/>
                    <a:pt x="210" y="316"/>
                  </a:cubicBezTo>
                  <a:cubicBezTo>
                    <a:pt x="210" y="315"/>
                    <a:pt x="210" y="313"/>
                    <a:pt x="210" y="311"/>
                  </a:cubicBezTo>
                  <a:cubicBezTo>
                    <a:pt x="210" y="311"/>
                    <a:pt x="210" y="310"/>
                    <a:pt x="210" y="310"/>
                  </a:cubicBezTo>
                  <a:cubicBezTo>
                    <a:pt x="207" y="304"/>
                    <a:pt x="204" y="300"/>
                    <a:pt x="200" y="296"/>
                  </a:cubicBezTo>
                  <a:cubicBezTo>
                    <a:pt x="197" y="293"/>
                    <a:pt x="195" y="291"/>
                    <a:pt x="193" y="289"/>
                  </a:cubicBezTo>
                  <a:cubicBezTo>
                    <a:pt x="192" y="289"/>
                    <a:pt x="192" y="289"/>
                    <a:pt x="192" y="289"/>
                  </a:cubicBezTo>
                  <a:cubicBezTo>
                    <a:pt x="188" y="292"/>
                    <a:pt x="184" y="295"/>
                    <a:pt x="181" y="299"/>
                  </a:cubicBezTo>
                  <a:cubicBezTo>
                    <a:pt x="186" y="299"/>
                    <a:pt x="191" y="304"/>
                    <a:pt x="195" y="308"/>
                  </a:cubicBezTo>
                  <a:cubicBezTo>
                    <a:pt x="199" y="311"/>
                    <a:pt x="202" y="316"/>
                    <a:pt x="205" y="320"/>
                  </a:cubicBezTo>
                  <a:cubicBezTo>
                    <a:pt x="207" y="319"/>
                    <a:pt x="208" y="318"/>
                    <a:pt x="210" y="316"/>
                  </a:cubicBezTo>
                  <a:close/>
                  <a:moveTo>
                    <a:pt x="193" y="351"/>
                  </a:moveTo>
                  <a:cubicBezTo>
                    <a:pt x="193" y="351"/>
                    <a:pt x="193" y="351"/>
                    <a:pt x="193" y="351"/>
                  </a:cubicBezTo>
                  <a:cubicBezTo>
                    <a:pt x="190" y="349"/>
                    <a:pt x="186" y="346"/>
                    <a:pt x="184" y="343"/>
                  </a:cubicBezTo>
                  <a:cubicBezTo>
                    <a:pt x="179" y="339"/>
                    <a:pt x="173" y="335"/>
                    <a:pt x="169" y="330"/>
                  </a:cubicBezTo>
                  <a:cubicBezTo>
                    <a:pt x="169" y="328"/>
                    <a:pt x="169" y="327"/>
                    <a:pt x="171" y="327"/>
                  </a:cubicBezTo>
                  <a:cubicBezTo>
                    <a:pt x="177" y="327"/>
                    <a:pt x="182" y="332"/>
                    <a:pt x="185" y="336"/>
                  </a:cubicBezTo>
                  <a:cubicBezTo>
                    <a:pt x="188" y="339"/>
                    <a:pt x="191" y="342"/>
                    <a:pt x="194" y="345"/>
                  </a:cubicBezTo>
                  <a:cubicBezTo>
                    <a:pt x="196" y="338"/>
                    <a:pt x="198" y="331"/>
                    <a:pt x="202" y="325"/>
                  </a:cubicBezTo>
                  <a:cubicBezTo>
                    <a:pt x="198" y="321"/>
                    <a:pt x="195" y="318"/>
                    <a:pt x="192" y="314"/>
                  </a:cubicBezTo>
                  <a:cubicBezTo>
                    <a:pt x="189" y="312"/>
                    <a:pt x="187" y="310"/>
                    <a:pt x="184" y="308"/>
                  </a:cubicBezTo>
                  <a:cubicBezTo>
                    <a:pt x="182" y="306"/>
                    <a:pt x="180" y="305"/>
                    <a:pt x="179" y="302"/>
                  </a:cubicBezTo>
                  <a:cubicBezTo>
                    <a:pt x="174" y="308"/>
                    <a:pt x="171" y="314"/>
                    <a:pt x="169" y="321"/>
                  </a:cubicBezTo>
                  <a:cubicBezTo>
                    <a:pt x="166" y="330"/>
                    <a:pt x="166" y="339"/>
                    <a:pt x="164" y="347"/>
                  </a:cubicBezTo>
                  <a:cubicBezTo>
                    <a:pt x="164" y="350"/>
                    <a:pt x="163" y="352"/>
                    <a:pt x="163" y="354"/>
                  </a:cubicBezTo>
                  <a:cubicBezTo>
                    <a:pt x="164" y="355"/>
                    <a:pt x="165" y="356"/>
                    <a:pt x="166" y="356"/>
                  </a:cubicBezTo>
                  <a:cubicBezTo>
                    <a:pt x="169" y="358"/>
                    <a:pt x="173" y="361"/>
                    <a:pt x="176" y="363"/>
                  </a:cubicBezTo>
                  <a:cubicBezTo>
                    <a:pt x="178" y="365"/>
                    <a:pt x="179" y="367"/>
                    <a:pt x="181" y="370"/>
                  </a:cubicBezTo>
                  <a:cubicBezTo>
                    <a:pt x="182" y="372"/>
                    <a:pt x="184" y="375"/>
                    <a:pt x="186" y="377"/>
                  </a:cubicBezTo>
                  <a:cubicBezTo>
                    <a:pt x="190" y="369"/>
                    <a:pt x="191" y="360"/>
                    <a:pt x="193" y="351"/>
                  </a:cubicBezTo>
                  <a:close/>
                  <a:moveTo>
                    <a:pt x="183" y="383"/>
                  </a:moveTo>
                  <a:cubicBezTo>
                    <a:pt x="183" y="383"/>
                    <a:pt x="183" y="383"/>
                    <a:pt x="183" y="383"/>
                  </a:cubicBezTo>
                  <a:cubicBezTo>
                    <a:pt x="183" y="382"/>
                    <a:pt x="184" y="381"/>
                    <a:pt x="185" y="380"/>
                  </a:cubicBezTo>
                  <a:cubicBezTo>
                    <a:pt x="180" y="378"/>
                    <a:pt x="177" y="373"/>
                    <a:pt x="174" y="370"/>
                  </a:cubicBezTo>
                  <a:cubicBezTo>
                    <a:pt x="171" y="367"/>
                    <a:pt x="168" y="365"/>
                    <a:pt x="164" y="362"/>
                  </a:cubicBezTo>
                  <a:cubicBezTo>
                    <a:pt x="163" y="362"/>
                    <a:pt x="162" y="361"/>
                    <a:pt x="161" y="360"/>
                  </a:cubicBezTo>
                  <a:cubicBezTo>
                    <a:pt x="159" y="365"/>
                    <a:pt x="156" y="369"/>
                    <a:pt x="153" y="372"/>
                  </a:cubicBezTo>
                  <a:cubicBezTo>
                    <a:pt x="153" y="372"/>
                    <a:pt x="153" y="372"/>
                    <a:pt x="153" y="372"/>
                  </a:cubicBezTo>
                  <a:cubicBezTo>
                    <a:pt x="156" y="374"/>
                    <a:pt x="159" y="378"/>
                    <a:pt x="161" y="381"/>
                  </a:cubicBezTo>
                  <a:cubicBezTo>
                    <a:pt x="164" y="386"/>
                    <a:pt x="166" y="392"/>
                    <a:pt x="168" y="397"/>
                  </a:cubicBezTo>
                  <a:cubicBezTo>
                    <a:pt x="174" y="393"/>
                    <a:pt x="179" y="388"/>
                    <a:pt x="183" y="383"/>
                  </a:cubicBezTo>
                  <a:close/>
                  <a:moveTo>
                    <a:pt x="118" y="413"/>
                  </a:moveTo>
                  <a:cubicBezTo>
                    <a:pt x="118" y="413"/>
                    <a:pt x="118" y="413"/>
                    <a:pt x="118" y="413"/>
                  </a:cubicBezTo>
                  <a:cubicBezTo>
                    <a:pt x="118" y="414"/>
                    <a:pt x="118" y="414"/>
                    <a:pt x="118" y="415"/>
                  </a:cubicBezTo>
                  <a:cubicBezTo>
                    <a:pt x="120" y="414"/>
                    <a:pt x="123" y="413"/>
                    <a:pt x="126" y="413"/>
                  </a:cubicBezTo>
                  <a:cubicBezTo>
                    <a:pt x="130" y="412"/>
                    <a:pt x="134" y="411"/>
                    <a:pt x="137" y="410"/>
                  </a:cubicBezTo>
                  <a:cubicBezTo>
                    <a:pt x="144" y="409"/>
                    <a:pt x="149" y="407"/>
                    <a:pt x="155" y="404"/>
                  </a:cubicBezTo>
                  <a:cubicBezTo>
                    <a:pt x="158" y="403"/>
                    <a:pt x="161" y="401"/>
                    <a:pt x="164" y="399"/>
                  </a:cubicBezTo>
                  <a:cubicBezTo>
                    <a:pt x="162" y="395"/>
                    <a:pt x="159" y="391"/>
                    <a:pt x="157" y="386"/>
                  </a:cubicBezTo>
                  <a:cubicBezTo>
                    <a:pt x="155" y="383"/>
                    <a:pt x="151" y="380"/>
                    <a:pt x="149" y="376"/>
                  </a:cubicBezTo>
                  <a:cubicBezTo>
                    <a:pt x="145" y="379"/>
                    <a:pt x="141" y="381"/>
                    <a:pt x="137" y="383"/>
                  </a:cubicBezTo>
                  <a:cubicBezTo>
                    <a:pt x="137" y="384"/>
                    <a:pt x="137" y="385"/>
                    <a:pt x="137" y="385"/>
                  </a:cubicBezTo>
                  <a:cubicBezTo>
                    <a:pt x="140" y="392"/>
                    <a:pt x="141" y="398"/>
                    <a:pt x="143" y="404"/>
                  </a:cubicBezTo>
                  <a:cubicBezTo>
                    <a:pt x="144" y="407"/>
                    <a:pt x="139" y="409"/>
                    <a:pt x="138" y="407"/>
                  </a:cubicBezTo>
                  <a:cubicBezTo>
                    <a:pt x="135" y="402"/>
                    <a:pt x="134" y="396"/>
                    <a:pt x="132" y="391"/>
                  </a:cubicBezTo>
                  <a:cubicBezTo>
                    <a:pt x="131" y="389"/>
                    <a:pt x="131" y="387"/>
                    <a:pt x="130" y="385"/>
                  </a:cubicBezTo>
                  <a:cubicBezTo>
                    <a:pt x="125" y="387"/>
                    <a:pt x="118" y="389"/>
                    <a:pt x="112" y="388"/>
                  </a:cubicBezTo>
                  <a:cubicBezTo>
                    <a:pt x="113" y="389"/>
                    <a:pt x="113" y="389"/>
                    <a:pt x="113" y="389"/>
                  </a:cubicBezTo>
                  <a:cubicBezTo>
                    <a:pt x="116" y="397"/>
                    <a:pt x="117" y="405"/>
                    <a:pt x="118" y="413"/>
                  </a:cubicBezTo>
                  <a:close/>
                  <a:moveTo>
                    <a:pt x="104" y="429"/>
                  </a:moveTo>
                  <a:cubicBezTo>
                    <a:pt x="104" y="429"/>
                    <a:pt x="104" y="429"/>
                    <a:pt x="104" y="429"/>
                  </a:cubicBezTo>
                  <a:cubicBezTo>
                    <a:pt x="104" y="429"/>
                    <a:pt x="105" y="428"/>
                    <a:pt x="105" y="426"/>
                  </a:cubicBezTo>
                  <a:cubicBezTo>
                    <a:pt x="106" y="423"/>
                    <a:pt x="105" y="417"/>
                    <a:pt x="105" y="413"/>
                  </a:cubicBezTo>
                  <a:cubicBezTo>
                    <a:pt x="104" y="407"/>
                    <a:pt x="103" y="400"/>
                    <a:pt x="101" y="394"/>
                  </a:cubicBezTo>
                  <a:cubicBezTo>
                    <a:pt x="101" y="392"/>
                    <a:pt x="100" y="390"/>
                    <a:pt x="100" y="388"/>
                  </a:cubicBezTo>
                  <a:cubicBezTo>
                    <a:pt x="97" y="384"/>
                    <a:pt x="96" y="379"/>
                    <a:pt x="94" y="375"/>
                  </a:cubicBezTo>
                  <a:cubicBezTo>
                    <a:pt x="94" y="376"/>
                    <a:pt x="93" y="376"/>
                    <a:pt x="93" y="376"/>
                  </a:cubicBezTo>
                  <a:cubicBezTo>
                    <a:pt x="92" y="378"/>
                    <a:pt x="91" y="380"/>
                    <a:pt x="91" y="382"/>
                  </a:cubicBezTo>
                  <a:cubicBezTo>
                    <a:pt x="91" y="389"/>
                    <a:pt x="94" y="396"/>
                    <a:pt x="96" y="403"/>
                  </a:cubicBezTo>
                  <a:cubicBezTo>
                    <a:pt x="98" y="411"/>
                    <a:pt x="99" y="419"/>
                    <a:pt x="102" y="427"/>
                  </a:cubicBezTo>
                  <a:cubicBezTo>
                    <a:pt x="102" y="428"/>
                    <a:pt x="102" y="429"/>
                    <a:pt x="102" y="430"/>
                  </a:cubicBezTo>
                  <a:cubicBezTo>
                    <a:pt x="103" y="429"/>
                    <a:pt x="103" y="429"/>
                    <a:pt x="104" y="429"/>
                  </a:cubicBezTo>
                  <a:close/>
                  <a:moveTo>
                    <a:pt x="80" y="441"/>
                  </a:moveTo>
                  <a:cubicBezTo>
                    <a:pt x="80" y="441"/>
                    <a:pt x="80" y="441"/>
                    <a:pt x="80" y="441"/>
                  </a:cubicBezTo>
                  <a:cubicBezTo>
                    <a:pt x="83" y="440"/>
                    <a:pt x="85" y="437"/>
                    <a:pt x="87" y="434"/>
                  </a:cubicBezTo>
                  <a:cubicBezTo>
                    <a:pt x="87" y="432"/>
                    <a:pt x="88" y="429"/>
                    <a:pt x="88" y="427"/>
                  </a:cubicBezTo>
                  <a:cubicBezTo>
                    <a:pt x="87" y="424"/>
                    <a:pt x="87" y="421"/>
                    <a:pt x="86" y="419"/>
                  </a:cubicBezTo>
                  <a:cubicBezTo>
                    <a:pt x="85" y="412"/>
                    <a:pt x="83" y="406"/>
                    <a:pt x="81" y="399"/>
                  </a:cubicBezTo>
                  <a:cubicBezTo>
                    <a:pt x="80" y="397"/>
                    <a:pt x="80" y="394"/>
                    <a:pt x="79" y="392"/>
                  </a:cubicBezTo>
                  <a:cubicBezTo>
                    <a:pt x="77" y="391"/>
                    <a:pt x="76" y="390"/>
                    <a:pt x="74" y="389"/>
                  </a:cubicBezTo>
                  <a:cubicBezTo>
                    <a:pt x="71" y="387"/>
                    <a:pt x="68" y="386"/>
                    <a:pt x="64" y="385"/>
                  </a:cubicBezTo>
                  <a:cubicBezTo>
                    <a:pt x="59" y="385"/>
                    <a:pt x="55" y="384"/>
                    <a:pt x="50" y="385"/>
                  </a:cubicBezTo>
                  <a:cubicBezTo>
                    <a:pt x="48" y="385"/>
                    <a:pt x="45" y="387"/>
                    <a:pt x="42" y="387"/>
                  </a:cubicBezTo>
                  <a:cubicBezTo>
                    <a:pt x="42" y="394"/>
                    <a:pt x="44" y="401"/>
                    <a:pt x="44" y="408"/>
                  </a:cubicBezTo>
                  <a:cubicBezTo>
                    <a:pt x="45" y="416"/>
                    <a:pt x="47" y="423"/>
                    <a:pt x="50" y="431"/>
                  </a:cubicBezTo>
                  <a:cubicBezTo>
                    <a:pt x="51" y="435"/>
                    <a:pt x="51" y="439"/>
                    <a:pt x="52" y="442"/>
                  </a:cubicBezTo>
                  <a:cubicBezTo>
                    <a:pt x="53" y="443"/>
                    <a:pt x="53" y="444"/>
                    <a:pt x="53" y="445"/>
                  </a:cubicBezTo>
                  <a:cubicBezTo>
                    <a:pt x="62" y="444"/>
                    <a:pt x="71" y="443"/>
                    <a:pt x="80" y="44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slîḋe"/>
            <p:cNvSpPr/>
            <p:nvPr/>
          </p:nvSpPr>
          <p:spPr bwMode="auto">
            <a:xfrm>
              <a:off x="6616196" y="3674424"/>
              <a:ext cx="77914" cy="169375"/>
            </a:xfrm>
            <a:custGeom>
              <a:avLst/>
              <a:gdLst>
                <a:gd name="T0" fmla="*/ 0 w 11"/>
                <a:gd name="T1" fmla="*/ 18 h 24"/>
                <a:gd name="T2" fmla="*/ 2 w 11"/>
                <a:gd name="T3" fmla="*/ 2 h 24"/>
                <a:gd name="T4" fmla="*/ 9 w 11"/>
                <a:gd name="T5" fmla="*/ 2 h 24"/>
                <a:gd name="T6" fmla="*/ 10 w 11"/>
                <a:gd name="T7" fmla="*/ 18 h 24"/>
                <a:gd name="T8" fmla="*/ 0 w 11"/>
                <a:gd name="T9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4">
                  <a:moveTo>
                    <a:pt x="0" y="18"/>
                  </a:moveTo>
                  <a:cubicBezTo>
                    <a:pt x="0" y="13"/>
                    <a:pt x="0" y="7"/>
                    <a:pt x="2" y="2"/>
                  </a:cubicBezTo>
                  <a:cubicBezTo>
                    <a:pt x="3" y="0"/>
                    <a:pt x="8" y="0"/>
                    <a:pt x="9" y="2"/>
                  </a:cubicBezTo>
                  <a:cubicBezTo>
                    <a:pt x="11" y="7"/>
                    <a:pt x="11" y="13"/>
                    <a:pt x="10" y="18"/>
                  </a:cubicBezTo>
                  <a:cubicBezTo>
                    <a:pt x="10" y="24"/>
                    <a:pt x="1" y="24"/>
                    <a:pt x="0" y="1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ïṧlïḍé"/>
            <p:cNvSpPr/>
            <p:nvPr/>
          </p:nvSpPr>
          <p:spPr bwMode="auto">
            <a:xfrm>
              <a:off x="6517959" y="3681199"/>
              <a:ext cx="84689" cy="138889"/>
            </a:xfrm>
            <a:custGeom>
              <a:avLst/>
              <a:gdLst>
                <a:gd name="T0" fmla="*/ 8 w 12"/>
                <a:gd name="T1" fmla="*/ 19 h 20"/>
                <a:gd name="T2" fmla="*/ 3 w 12"/>
                <a:gd name="T3" fmla="*/ 19 h 20"/>
                <a:gd name="T4" fmla="*/ 1 w 12"/>
                <a:gd name="T5" fmla="*/ 9 h 20"/>
                <a:gd name="T6" fmla="*/ 7 w 12"/>
                <a:gd name="T7" fmla="*/ 0 h 20"/>
                <a:gd name="T8" fmla="*/ 11 w 12"/>
                <a:gd name="T9" fmla="*/ 3 h 20"/>
                <a:gd name="T10" fmla="*/ 11 w 12"/>
                <a:gd name="T11" fmla="*/ 10 h 20"/>
                <a:gd name="T12" fmla="*/ 8 w 12"/>
                <a:gd name="T13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0">
                  <a:moveTo>
                    <a:pt x="8" y="19"/>
                  </a:moveTo>
                  <a:cubicBezTo>
                    <a:pt x="7" y="20"/>
                    <a:pt x="4" y="20"/>
                    <a:pt x="3" y="19"/>
                  </a:cubicBezTo>
                  <a:cubicBezTo>
                    <a:pt x="0" y="16"/>
                    <a:pt x="1" y="12"/>
                    <a:pt x="1" y="9"/>
                  </a:cubicBezTo>
                  <a:cubicBezTo>
                    <a:pt x="2" y="5"/>
                    <a:pt x="3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cubicBezTo>
                    <a:pt x="12" y="5"/>
                    <a:pt x="11" y="8"/>
                    <a:pt x="11" y="10"/>
                  </a:cubicBezTo>
                  <a:cubicBezTo>
                    <a:pt x="11" y="14"/>
                    <a:pt x="11" y="17"/>
                    <a:pt x="8" y="1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şḷíḑè"/>
            <p:cNvSpPr/>
            <p:nvPr/>
          </p:nvSpPr>
          <p:spPr bwMode="auto">
            <a:xfrm>
              <a:off x="6419720" y="3667649"/>
              <a:ext cx="84689" cy="165989"/>
            </a:xfrm>
            <a:custGeom>
              <a:avLst/>
              <a:gdLst>
                <a:gd name="T0" fmla="*/ 1 w 12"/>
                <a:gd name="T1" fmla="*/ 20 h 24"/>
                <a:gd name="T2" fmla="*/ 4 w 12"/>
                <a:gd name="T3" fmla="*/ 2 h 24"/>
                <a:gd name="T4" fmla="*/ 10 w 12"/>
                <a:gd name="T5" fmla="*/ 2 h 24"/>
                <a:gd name="T6" fmla="*/ 10 w 12"/>
                <a:gd name="T7" fmla="*/ 20 h 24"/>
                <a:gd name="T8" fmla="*/ 1 w 12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1" y="20"/>
                  </a:moveTo>
                  <a:cubicBezTo>
                    <a:pt x="0" y="14"/>
                    <a:pt x="1" y="7"/>
                    <a:pt x="4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2" y="7"/>
                    <a:pt x="11" y="14"/>
                    <a:pt x="10" y="20"/>
                  </a:cubicBezTo>
                  <a:cubicBezTo>
                    <a:pt x="8" y="23"/>
                    <a:pt x="3" y="24"/>
                    <a:pt x="1" y="2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ṧlîďe"/>
            <p:cNvSpPr/>
            <p:nvPr/>
          </p:nvSpPr>
          <p:spPr bwMode="auto">
            <a:xfrm>
              <a:off x="6419720" y="3667649"/>
              <a:ext cx="84689" cy="165989"/>
            </a:xfrm>
            <a:custGeom>
              <a:avLst/>
              <a:gdLst>
                <a:gd name="T0" fmla="*/ 1 w 12"/>
                <a:gd name="T1" fmla="*/ 20 h 24"/>
                <a:gd name="T2" fmla="*/ 4 w 12"/>
                <a:gd name="T3" fmla="*/ 2 h 24"/>
                <a:gd name="T4" fmla="*/ 10 w 12"/>
                <a:gd name="T5" fmla="*/ 2 h 24"/>
                <a:gd name="T6" fmla="*/ 10 w 12"/>
                <a:gd name="T7" fmla="*/ 20 h 24"/>
                <a:gd name="T8" fmla="*/ 1 w 12"/>
                <a:gd name="T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4">
                  <a:moveTo>
                    <a:pt x="1" y="20"/>
                  </a:moveTo>
                  <a:cubicBezTo>
                    <a:pt x="0" y="14"/>
                    <a:pt x="1" y="7"/>
                    <a:pt x="4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2" y="7"/>
                    <a:pt x="11" y="14"/>
                    <a:pt x="10" y="20"/>
                  </a:cubicBezTo>
                  <a:cubicBezTo>
                    <a:pt x="8" y="23"/>
                    <a:pt x="3" y="24"/>
                    <a:pt x="1" y="2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$ľïḓé"/>
            <p:cNvSpPr/>
            <p:nvPr/>
          </p:nvSpPr>
          <p:spPr bwMode="auto">
            <a:xfrm>
              <a:off x="6517959" y="3681199"/>
              <a:ext cx="84689" cy="138889"/>
            </a:xfrm>
            <a:custGeom>
              <a:avLst/>
              <a:gdLst>
                <a:gd name="T0" fmla="*/ 8 w 12"/>
                <a:gd name="T1" fmla="*/ 19 h 20"/>
                <a:gd name="T2" fmla="*/ 3 w 12"/>
                <a:gd name="T3" fmla="*/ 19 h 20"/>
                <a:gd name="T4" fmla="*/ 1 w 12"/>
                <a:gd name="T5" fmla="*/ 9 h 20"/>
                <a:gd name="T6" fmla="*/ 7 w 12"/>
                <a:gd name="T7" fmla="*/ 0 h 20"/>
                <a:gd name="T8" fmla="*/ 11 w 12"/>
                <a:gd name="T9" fmla="*/ 3 h 20"/>
                <a:gd name="T10" fmla="*/ 11 w 12"/>
                <a:gd name="T11" fmla="*/ 10 h 20"/>
                <a:gd name="T12" fmla="*/ 8 w 12"/>
                <a:gd name="T13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0">
                  <a:moveTo>
                    <a:pt x="8" y="19"/>
                  </a:moveTo>
                  <a:cubicBezTo>
                    <a:pt x="7" y="20"/>
                    <a:pt x="4" y="20"/>
                    <a:pt x="3" y="19"/>
                  </a:cubicBezTo>
                  <a:cubicBezTo>
                    <a:pt x="0" y="16"/>
                    <a:pt x="1" y="12"/>
                    <a:pt x="1" y="9"/>
                  </a:cubicBezTo>
                  <a:cubicBezTo>
                    <a:pt x="2" y="5"/>
                    <a:pt x="3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cubicBezTo>
                    <a:pt x="12" y="5"/>
                    <a:pt x="11" y="8"/>
                    <a:pt x="11" y="10"/>
                  </a:cubicBezTo>
                  <a:cubicBezTo>
                    <a:pt x="11" y="14"/>
                    <a:pt x="11" y="17"/>
                    <a:pt x="8" y="19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šlîďê"/>
            <p:cNvSpPr/>
            <p:nvPr/>
          </p:nvSpPr>
          <p:spPr bwMode="auto">
            <a:xfrm>
              <a:off x="6616196" y="3674424"/>
              <a:ext cx="77914" cy="169375"/>
            </a:xfrm>
            <a:custGeom>
              <a:avLst/>
              <a:gdLst>
                <a:gd name="T0" fmla="*/ 0 w 11"/>
                <a:gd name="T1" fmla="*/ 18 h 24"/>
                <a:gd name="T2" fmla="*/ 2 w 11"/>
                <a:gd name="T3" fmla="*/ 2 h 24"/>
                <a:gd name="T4" fmla="*/ 9 w 11"/>
                <a:gd name="T5" fmla="*/ 2 h 24"/>
                <a:gd name="T6" fmla="*/ 10 w 11"/>
                <a:gd name="T7" fmla="*/ 18 h 24"/>
                <a:gd name="T8" fmla="*/ 0 w 11"/>
                <a:gd name="T9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4">
                  <a:moveTo>
                    <a:pt x="0" y="18"/>
                  </a:moveTo>
                  <a:cubicBezTo>
                    <a:pt x="0" y="13"/>
                    <a:pt x="0" y="7"/>
                    <a:pt x="2" y="2"/>
                  </a:cubicBezTo>
                  <a:cubicBezTo>
                    <a:pt x="3" y="0"/>
                    <a:pt x="8" y="0"/>
                    <a:pt x="9" y="2"/>
                  </a:cubicBezTo>
                  <a:cubicBezTo>
                    <a:pt x="11" y="7"/>
                    <a:pt x="11" y="13"/>
                    <a:pt x="10" y="18"/>
                  </a:cubicBezTo>
                  <a:cubicBezTo>
                    <a:pt x="10" y="24"/>
                    <a:pt x="1" y="24"/>
                    <a:pt x="0" y="18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ṧļiḓè"/>
            <p:cNvSpPr/>
            <p:nvPr/>
          </p:nvSpPr>
          <p:spPr bwMode="auto">
            <a:xfrm>
              <a:off x="6968496" y="4863441"/>
              <a:ext cx="464090" cy="399726"/>
            </a:xfrm>
            <a:custGeom>
              <a:avLst/>
              <a:gdLst>
                <a:gd name="T0" fmla="*/ 0 w 66"/>
                <a:gd name="T1" fmla="*/ 24 h 57"/>
                <a:gd name="T2" fmla="*/ 0 w 66"/>
                <a:gd name="T3" fmla="*/ 24 h 57"/>
                <a:gd name="T4" fmla="*/ 0 w 66"/>
                <a:gd name="T5" fmla="*/ 24 h 57"/>
                <a:gd name="T6" fmla="*/ 6 w 66"/>
                <a:gd name="T7" fmla="*/ 30 h 57"/>
                <a:gd name="T8" fmla="*/ 22 w 66"/>
                <a:gd name="T9" fmla="*/ 40 h 57"/>
                <a:gd name="T10" fmla="*/ 46 w 66"/>
                <a:gd name="T11" fmla="*/ 50 h 57"/>
                <a:gd name="T12" fmla="*/ 57 w 66"/>
                <a:gd name="T13" fmla="*/ 54 h 57"/>
                <a:gd name="T14" fmla="*/ 63 w 66"/>
                <a:gd name="T15" fmla="*/ 57 h 57"/>
                <a:gd name="T16" fmla="*/ 63 w 66"/>
                <a:gd name="T17" fmla="*/ 56 h 57"/>
                <a:gd name="T18" fmla="*/ 65 w 66"/>
                <a:gd name="T19" fmla="*/ 50 h 57"/>
                <a:gd name="T20" fmla="*/ 66 w 66"/>
                <a:gd name="T21" fmla="*/ 36 h 57"/>
                <a:gd name="T22" fmla="*/ 64 w 66"/>
                <a:gd name="T23" fmla="*/ 27 h 57"/>
                <a:gd name="T24" fmla="*/ 62 w 66"/>
                <a:gd name="T25" fmla="*/ 18 h 57"/>
                <a:gd name="T26" fmla="*/ 46 w 66"/>
                <a:gd name="T27" fmla="*/ 10 h 57"/>
                <a:gd name="T28" fmla="*/ 28 w 66"/>
                <a:gd name="T29" fmla="*/ 1 h 57"/>
                <a:gd name="T30" fmla="*/ 25 w 66"/>
                <a:gd name="T31" fmla="*/ 0 h 57"/>
                <a:gd name="T32" fmla="*/ 10 w 66"/>
                <a:gd name="T33" fmla="*/ 9 h 57"/>
                <a:gd name="T34" fmla="*/ 0 w 66"/>
                <a:gd name="T35" fmla="*/ 2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7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" y="26"/>
                    <a:pt x="4" y="28"/>
                    <a:pt x="6" y="30"/>
                  </a:cubicBezTo>
                  <a:cubicBezTo>
                    <a:pt x="11" y="33"/>
                    <a:pt x="17" y="37"/>
                    <a:pt x="22" y="40"/>
                  </a:cubicBezTo>
                  <a:cubicBezTo>
                    <a:pt x="29" y="44"/>
                    <a:pt x="37" y="47"/>
                    <a:pt x="46" y="50"/>
                  </a:cubicBezTo>
                  <a:cubicBezTo>
                    <a:pt x="49" y="51"/>
                    <a:pt x="53" y="53"/>
                    <a:pt x="57" y="54"/>
                  </a:cubicBezTo>
                  <a:cubicBezTo>
                    <a:pt x="59" y="55"/>
                    <a:pt x="61" y="56"/>
                    <a:pt x="63" y="57"/>
                  </a:cubicBezTo>
                  <a:cubicBezTo>
                    <a:pt x="63" y="57"/>
                    <a:pt x="63" y="57"/>
                    <a:pt x="63" y="56"/>
                  </a:cubicBezTo>
                  <a:cubicBezTo>
                    <a:pt x="64" y="54"/>
                    <a:pt x="65" y="52"/>
                    <a:pt x="65" y="50"/>
                  </a:cubicBezTo>
                  <a:cubicBezTo>
                    <a:pt x="66" y="45"/>
                    <a:pt x="66" y="40"/>
                    <a:pt x="66" y="36"/>
                  </a:cubicBezTo>
                  <a:cubicBezTo>
                    <a:pt x="66" y="32"/>
                    <a:pt x="65" y="29"/>
                    <a:pt x="64" y="27"/>
                  </a:cubicBezTo>
                  <a:cubicBezTo>
                    <a:pt x="63" y="24"/>
                    <a:pt x="62" y="20"/>
                    <a:pt x="62" y="18"/>
                  </a:cubicBezTo>
                  <a:cubicBezTo>
                    <a:pt x="56" y="15"/>
                    <a:pt x="51" y="12"/>
                    <a:pt x="46" y="10"/>
                  </a:cubicBezTo>
                  <a:cubicBezTo>
                    <a:pt x="40" y="7"/>
                    <a:pt x="34" y="3"/>
                    <a:pt x="28" y="1"/>
                  </a:cubicBezTo>
                  <a:cubicBezTo>
                    <a:pt x="27" y="0"/>
                    <a:pt x="26" y="0"/>
                    <a:pt x="25" y="0"/>
                  </a:cubicBezTo>
                  <a:cubicBezTo>
                    <a:pt x="20" y="3"/>
                    <a:pt x="14" y="5"/>
                    <a:pt x="10" y="9"/>
                  </a:cubicBezTo>
                  <a:cubicBezTo>
                    <a:pt x="5" y="13"/>
                    <a:pt x="2" y="18"/>
                    <a:pt x="0" y="24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îsḻïďé"/>
            <p:cNvSpPr/>
            <p:nvPr/>
          </p:nvSpPr>
          <p:spPr bwMode="auto">
            <a:xfrm>
              <a:off x="6968496" y="4863441"/>
              <a:ext cx="240514" cy="250676"/>
            </a:xfrm>
            <a:custGeom>
              <a:avLst/>
              <a:gdLst>
                <a:gd name="T0" fmla="*/ 0 w 34"/>
                <a:gd name="T1" fmla="*/ 24 h 36"/>
                <a:gd name="T2" fmla="*/ 0 w 34"/>
                <a:gd name="T3" fmla="*/ 24 h 36"/>
                <a:gd name="T4" fmla="*/ 0 w 34"/>
                <a:gd name="T5" fmla="*/ 24 h 36"/>
                <a:gd name="T6" fmla="*/ 6 w 34"/>
                <a:gd name="T7" fmla="*/ 30 h 36"/>
                <a:gd name="T8" fmla="*/ 14 w 34"/>
                <a:gd name="T9" fmla="*/ 36 h 36"/>
                <a:gd name="T10" fmla="*/ 34 w 34"/>
                <a:gd name="T11" fmla="*/ 3 h 36"/>
                <a:gd name="T12" fmla="*/ 28 w 34"/>
                <a:gd name="T13" fmla="*/ 1 h 36"/>
                <a:gd name="T14" fmla="*/ 25 w 34"/>
                <a:gd name="T15" fmla="*/ 0 h 36"/>
                <a:gd name="T16" fmla="*/ 10 w 34"/>
                <a:gd name="T17" fmla="*/ 9 h 36"/>
                <a:gd name="T18" fmla="*/ 0 w 34"/>
                <a:gd name="T1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6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" y="26"/>
                    <a:pt x="4" y="28"/>
                    <a:pt x="6" y="30"/>
                  </a:cubicBezTo>
                  <a:cubicBezTo>
                    <a:pt x="9" y="32"/>
                    <a:pt x="11" y="34"/>
                    <a:pt x="14" y="36"/>
                  </a:cubicBezTo>
                  <a:cubicBezTo>
                    <a:pt x="17" y="20"/>
                    <a:pt x="28" y="10"/>
                    <a:pt x="34" y="3"/>
                  </a:cubicBezTo>
                  <a:cubicBezTo>
                    <a:pt x="32" y="2"/>
                    <a:pt x="30" y="2"/>
                    <a:pt x="28" y="1"/>
                  </a:cubicBezTo>
                  <a:cubicBezTo>
                    <a:pt x="27" y="0"/>
                    <a:pt x="26" y="0"/>
                    <a:pt x="25" y="0"/>
                  </a:cubicBezTo>
                  <a:cubicBezTo>
                    <a:pt x="20" y="3"/>
                    <a:pt x="14" y="5"/>
                    <a:pt x="10" y="9"/>
                  </a:cubicBezTo>
                  <a:cubicBezTo>
                    <a:pt x="5" y="13"/>
                    <a:pt x="2" y="18"/>
                    <a:pt x="0" y="24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iş1íďê"/>
            <p:cNvSpPr/>
            <p:nvPr/>
          </p:nvSpPr>
          <p:spPr bwMode="auto">
            <a:xfrm>
              <a:off x="6097908" y="5347853"/>
              <a:ext cx="542001" cy="287939"/>
            </a:xfrm>
            <a:custGeom>
              <a:avLst/>
              <a:gdLst>
                <a:gd name="T0" fmla="*/ 3 w 77"/>
                <a:gd name="T1" fmla="*/ 19 h 41"/>
                <a:gd name="T2" fmla="*/ 3 w 77"/>
                <a:gd name="T3" fmla="*/ 19 h 41"/>
                <a:gd name="T4" fmla="*/ 0 w 77"/>
                <a:gd name="T5" fmla="*/ 34 h 41"/>
                <a:gd name="T6" fmla="*/ 0 w 77"/>
                <a:gd name="T7" fmla="*/ 35 h 41"/>
                <a:gd name="T8" fmla="*/ 1 w 77"/>
                <a:gd name="T9" fmla="*/ 36 h 41"/>
                <a:gd name="T10" fmla="*/ 5 w 77"/>
                <a:gd name="T11" fmla="*/ 38 h 41"/>
                <a:gd name="T12" fmla="*/ 9 w 77"/>
                <a:gd name="T13" fmla="*/ 37 h 41"/>
                <a:gd name="T14" fmla="*/ 21 w 77"/>
                <a:gd name="T15" fmla="*/ 37 h 41"/>
                <a:gd name="T16" fmla="*/ 41 w 77"/>
                <a:gd name="T17" fmla="*/ 37 h 41"/>
                <a:gd name="T18" fmla="*/ 73 w 77"/>
                <a:gd name="T19" fmla="*/ 38 h 41"/>
                <a:gd name="T20" fmla="*/ 76 w 77"/>
                <a:gd name="T21" fmla="*/ 32 h 41"/>
                <a:gd name="T22" fmla="*/ 70 w 77"/>
                <a:gd name="T23" fmla="*/ 17 h 41"/>
                <a:gd name="T24" fmla="*/ 59 w 77"/>
                <a:gd name="T25" fmla="*/ 5 h 41"/>
                <a:gd name="T26" fmla="*/ 54 w 77"/>
                <a:gd name="T27" fmla="*/ 1 h 41"/>
                <a:gd name="T28" fmla="*/ 46 w 77"/>
                <a:gd name="T29" fmla="*/ 4 h 41"/>
                <a:gd name="T30" fmla="*/ 35 w 77"/>
                <a:gd name="T31" fmla="*/ 5 h 41"/>
                <a:gd name="T32" fmla="*/ 19 w 77"/>
                <a:gd name="T33" fmla="*/ 0 h 41"/>
                <a:gd name="T34" fmla="*/ 13 w 77"/>
                <a:gd name="T35" fmla="*/ 6 h 41"/>
                <a:gd name="T36" fmla="*/ 3 w 77"/>
                <a:gd name="T37" fmla="*/ 1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41">
                  <a:moveTo>
                    <a:pt x="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23"/>
                    <a:pt x="0" y="29"/>
                    <a:pt x="0" y="34"/>
                  </a:cubicBezTo>
                  <a:cubicBezTo>
                    <a:pt x="0" y="33"/>
                    <a:pt x="0" y="34"/>
                    <a:pt x="0" y="35"/>
                  </a:cubicBezTo>
                  <a:cubicBezTo>
                    <a:pt x="1" y="35"/>
                    <a:pt x="1" y="36"/>
                    <a:pt x="1" y="36"/>
                  </a:cubicBezTo>
                  <a:cubicBezTo>
                    <a:pt x="3" y="36"/>
                    <a:pt x="4" y="37"/>
                    <a:pt x="5" y="38"/>
                  </a:cubicBezTo>
                  <a:cubicBezTo>
                    <a:pt x="6" y="38"/>
                    <a:pt x="7" y="37"/>
                    <a:pt x="9" y="37"/>
                  </a:cubicBezTo>
                  <a:cubicBezTo>
                    <a:pt x="12" y="37"/>
                    <a:pt x="16" y="37"/>
                    <a:pt x="21" y="37"/>
                  </a:cubicBezTo>
                  <a:cubicBezTo>
                    <a:pt x="27" y="37"/>
                    <a:pt x="34" y="37"/>
                    <a:pt x="41" y="37"/>
                  </a:cubicBezTo>
                  <a:cubicBezTo>
                    <a:pt x="52" y="38"/>
                    <a:pt x="63" y="41"/>
                    <a:pt x="73" y="38"/>
                  </a:cubicBezTo>
                  <a:cubicBezTo>
                    <a:pt x="76" y="37"/>
                    <a:pt x="77" y="36"/>
                    <a:pt x="76" y="32"/>
                  </a:cubicBezTo>
                  <a:cubicBezTo>
                    <a:pt x="75" y="27"/>
                    <a:pt x="73" y="22"/>
                    <a:pt x="70" y="17"/>
                  </a:cubicBezTo>
                  <a:cubicBezTo>
                    <a:pt x="67" y="13"/>
                    <a:pt x="63" y="9"/>
                    <a:pt x="59" y="5"/>
                  </a:cubicBezTo>
                  <a:cubicBezTo>
                    <a:pt x="58" y="4"/>
                    <a:pt x="56" y="3"/>
                    <a:pt x="54" y="1"/>
                  </a:cubicBezTo>
                  <a:cubicBezTo>
                    <a:pt x="51" y="2"/>
                    <a:pt x="49" y="3"/>
                    <a:pt x="46" y="4"/>
                  </a:cubicBezTo>
                  <a:cubicBezTo>
                    <a:pt x="43" y="5"/>
                    <a:pt x="39" y="5"/>
                    <a:pt x="35" y="5"/>
                  </a:cubicBezTo>
                  <a:cubicBezTo>
                    <a:pt x="30" y="5"/>
                    <a:pt x="23" y="4"/>
                    <a:pt x="19" y="0"/>
                  </a:cubicBezTo>
                  <a:cubicBezTo>
                    <a:pt x="17" y="2"/>
                    <a:pt x="15" y="4"/>
                    <a:pt x="13" y="6"/>
                  </a:cubicBezTo>
                  <a:cubicBezTo>
                    <a:pt x="9" y="9"/>
                    <a:pt x="5" y="14"/>
                    <a:pt x="3" y="19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îṥliḑe"/>
            <p:cNvSpPr/>
            <p:nvPr/>
          </p:nvSpPr>
          <p:spPr bwMode="auto">
            <a:xfrm>
              <a:off x="6341808" y="5354628"/>
              <a:ext cx="298101" cy="281164"/>
            </a:xfrm>
            <a:custGeom>
              <a:avLst/>
              <a:gdLst>
                <a:gd name="T0" fmla="*/ 6 w 42"/>
                <a:gd name="T1" fmla="*/ 36 h 40"/>
                <a:gd name="T2" fmla="*/ 38 w 42"/>
                <a:gd name="T3" fmla="*/ 37 h 40"/>
                <a:gd name="T4" fmla="*/ 41 w 42"/>
                <a:gd name="T5" fmla="*/ 31 h 40"/>
                <a:gd name="T6" fmla="*/ 35 w 42"/>
                <a:gd name="T7" fmla="*/ 16 h 40"/>
                <a:gd name="T8" fmla="*/ 24 w 42"/>
                <a:gd name="T9" fmla="*/ 4 h 40"/>
                <a:gd name="T10" fmla="*/ 19 w 42"/>
                <a:gd name="T11" fmla="*/ 0 h 40"/>
                <a:gd name="T12" fmla="*/ 11 w 42"/>
                <a:gd name="T13" fmla="*/ 3 h 40"/>
                <a:gd name="T14" fmla="*/ 0 w 42"/>
                <a:gd name="T15" fmla="*/ 4 h 40"/>
                <a:gd name="T16" fmla="*/ 6 w 42"/>
                <a:gd name="T17" fmla="*/ 3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40">
                  <a:moveTo>
                    <a:pt x="6" y="36"/>
                  </a:moveTo>
                  <a:cubicBezTo>
                    <a:pt x="17" y="37"/>
                    <a:pt x="28" y="40"/>
                    <a:pt x="38" y="37"/>
                  </a:cubicBezTo>
                  <a:cubicBezTo>
                    <a:pt x="41" y="36"/>
                    <a:pt x="42" y="35"/>
                    <a:pt x="41" y="31"/>
                  </a:cubicBezTo>
                  <a:cubicBezTo>
                    <a:pt x="40" y="26"/>
                    <a:pt x="38" y="21"/>
                    <a:pt x="35" y="16"/>
                  </a:cubicBezTo>
                  <a:cubicBezTo>
                    <a:pt x="32" y="12"/>
                    <a:pt x="28" y="8"/>
                    <a:pt x="24" y="4"/>
                  </a:cubicBezTo>
                  <a:cubicBezTo>
                    <a:pt x="23" y="3"/>
                    <a:pt x="21" y="2"/>
                    <a:pt x="19" y="0"/>
                  </a:cubicBezTo>
                  <a:cubicBezTo>
                    <a:pt x="16" y="1"/>
                    <a:pt x="14" y="2"/>
                    <a:pt x="11" y="3"/>
                  </a:cubicBezTo>
                  <a:cubicBezTo>
                    <a:pt x="8" y="4"/>
                    <a:pt x="4" y="4"/>
                    <a:pt x="0" y="4"/>
                  </a:cubicBezTo>
                  <a:cubicBezTo>
                    <a:pt x="0" y="4"/>
                    <a:pt x="13" y="12"/>
                    <a:pt x="6" y="36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ïš1ídé"/>
            <p:cNvSpPr/>
            <p:nvPr/>
          </p:nvSpPr>
          <p:spPr bwMode="auto">
            <a:xfrm>
              <a:off x="4709029" y="4067375"/>
              <a:ext cx="325201" cy="430214"/>
            </a:xfrm>
            <a:custGeom>
              <a:avLst/>
              <a:gdLst>
                <a:gd name="T0" fmla="*/ 38 w 46"/>
                <a:gd name="T1" fmla="*/ 57 h 61"/>
                <a:gd name="T2" fmla="*/ 38 w 46"/>
                <a:gd name="T3" fmla="*/ 57 h 61"/>
                <a:gd name="T4" fmla="*/ 45 w 46"/>
                <a:gd name="T5" fmla="*/ 50 h 61"/>
                <a:gd name="T6" fmla="*/ 46 w 46"/>
                <a:gd name="T7" fmla="*/ 43 h 61"/>
                <a:gd name="T8" fmla="*/ 44 w 46"/>
                <a:gd name="T9" fmla="*/ 35 h 61"/>
                <a:gd name="T10" fmla="*/ 39 w 46"/>
                <a:gd name="T11" fmla="*/ 15 h 61"/>
                <a:gd name="T12" fmla="*/ 37 w 46"/>
                <a:gd name="T13" fmla="*/ 8 h 61"/>
                <a:gd name="T14" fmla="*/ 32 w 46"/>
                <a:gd name="T15" fmla="*/ 5 h 61"/>
                <a:gd name="T16" fmla="*/ 22 w 46"/>
                <a:gd name="T17" fmla="*/ 1 h 61"/>
                <a:gd name="T18" fmla="*/ 8 w 46"/>
                <a:gd name="T19" fmla="*/ 1 h 61"/>
                <a:gd name="T20" fmla="*/ 0 w 46"/>
                <a:gd name="T21" fmla="*/ 3 h 61"/>
                <a:gd name="T22" fmla="*/ 2 w 46"/>
                <a:gd name="T23" fmla="*/ 24 h 61"/>
                <a:gd name="T24" fmla="*/ 8 w 46"/>
                <a:gd name="T25" fmla="*/ 47 h 61"/>
                <a:gd name="T26" fmla="*/ 10 w 46"/>
                <a:gd name="T27" fmla="*/ 58 h 61"/>
                <a:gd name="T28" fmla="*/ 11 w 46"/>
                <a:gd name="T29" fmla="*/ 61 h 61"/>
                <a:gd name="T30" fmla="*/ 38 w 46"/>
                <a:gd name="T31" fmla="*/ 5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61">
                  <a:moveTo>
                    <a:pt x="38" y="57"/>
                  </a:moveTo>
                  <a:cubicBezTo>
                    <a:pt x="38" y="57"/>
                    <a:pt x="38" y="57"/>
                    <a:pt x="38" y="57"/>
                  </a:cubicBezTo>
                  <a:cubicBezTo>
                    <a:pt x="41" y="56"/>
                    <a:pt x="43" y="53"/>
                    <a:pt x="45" y="50"/>
                  </a:cubicBezTo>
                  <a:cubicBezTo>
                    <a:pt x="45" y="48"/>
                    <a:pt x="46" y="45"/>
                    <a:pt x="46" y="43"/>
                  </a:cubicBezTo>
                  <a:cubicBezTo>
                    <a:pt x="45" y="40"/>
                    <a:pt x="45" y="37"/>
                    <a:pt x="44" y="35"/>
                  </a:cubicBezTo>
                  <a:cubicBezTo>
                    <a:pt x="43" y="28"/>
                    <a:pt x="41" y="22"/>
                    <a:pt x="39" y="15"/>
                  </a:cubicBezTo>
                  <a:cubicBezTo>
                    <a:pt x="38" y="13"/>
                    <a:pt x="38" y="10"/>
                    <a:pt x="37" y="8"/>
                  </a:cubicBezTo>
                  <a:cubicBezTo>
                    <a:pt x="35" y="7"/>
                    <a:pt x="34" y="6"/>
                    <a:pt x="32" y="5"/>
                  </a:cubicBezTo>
                  <a:cubicBezTo>
                    <a:pt x="29" y="3"/>
                    <a:pt x="26" y="2"/>
                    <a:pt x="22" y="1"/>
                  </a:cubicBezTo>
                  <a:cubicBezTo>
                    <a:pt x="17" y="1"/>
                    <a:pt x="13" y="0"/>
                    <a:pt x="8" y="1"/>
                  </a:cubicBezTo>
                  <a:cubicBezTo>
                    <a:pt x="6" y="1"/>
                    <a:pt x="3" y="3"/>
                    <a:pt x="0" y="3"/>
                  </a:cubicBezTo>
                  <a:cubicBezTo>
                    <a:pt x="0" y="10"/>
                    <a:pt x="2" y="17"/>
                    <a:pt x="2" y="24"/>
                  </a:cubicBezTo>
                  <a:cubicBezTo>
                    <a:pt x="3" y="32"/>
                    <a:pt x="5" y="39"/>
                    <a:pt x="8" y="47"/>
                  </a:cubicBezTo>
                  <a:cubicBezTo>
                    <a:pt x="9" y="51"/>
                    <a:pt x="9" y="55"/>
                    <a:pt x="10" y="58"/>
                  </a:cubicBezTo>
                  <a:cubicBezTo>
                    <a:pt x="11" y="59"/>
                    <a:pt x="11" y="60"/>
                    <a:pt x="11" y="61"/>
                  </a:cubicBezTo>
                  <a:cubicBezTo>
                    <a:pt x="20" y="60"/>
                    <a:pt x="29" y="59"/>
                    <a:pt x="38" y="57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ŝ1ïḓê"/>
            <p:cNvSpPr/>
            <p:nvPr/>
          </p:nvSpPr>
          <p:spPr bwMode="auto">
            <a:xfrm>
              <a:off x="4736129" y="4263851"/>
              <a:ext cx="298101" cy="233739"/>
            </a:xfrm>
            <a:custGeom>
              <a:avLst/>
              <a:gdLst>
                <a:gd name="T0" fmla="*/ 34 w 42"/>
                <a:gd name="T1" fmla="*/ 29 h 33"/>
                <a:gd name="T2" fmla="*/ 34 w 42"/>
                <a:gd name="T3" fmla="*/ 29 h 33"/>
                <a:gd name="T4" fmla="*/ 41 w 42"/>
                <a:gd name="T5" fmla="*/ 22 h 33"/>
                <a:gd name="T6" fmla="*/ 42 w 42"/>
                <a:gd name="T7" fmla="*/ 15 h 33"/>
                <a:gd name="T8" fmla="*/ 40 w 42"/>
                <a:gd name="T9" fmla="*/ 7 h 33"/>
                <a:gd name="T10" fmla="*/ 39 w 42"/>
                <a:gd name="T11" fmla="*/ 0 h 33"/>
                <a:gd name="T12" fmla="*/ 0 w 42"/>
                <a:gd name="T13" fmla="*/ 3 h 33"/>
                <a:gd name="T14" fmla="*/ 4 w 42"/>
                <a:gd name="T15" fmla="*/ 19 h 33"/>
                <a:gd name="T16" fmla="*/ 6 w 42"/>
                <a:gd name="T17" fmla="*/ 30 h 33"/>
                <a:gd name="T18" fmla="*/ 7 w 42"/>
                <a:gd name="T19" fmla="*/ 33 h 33"/>
                <a:gd name="T20" fmla="*/ 34 w 42"/>
                <a:gd name="T21" fmla="*/ 2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33">
                  <a:moveTo>
                    <a:pt x="34" y="29"/>
                  </a:moveTo>
                  <a:cubicBezTo>
                    <a:pt x="34" y="29"/>
                    <a:pt x="34" y="29"/>
                    <a:pt x="34" y="29"/>
                  </a:cubicBezTo>
                  <a:cubicBezTo>
                    <a:pt x="37" y="28"/>
                    <a:pt x="39" y="25"/>
                    <a:pt x="41" y="22"/>
                  </a:cubicBezTo>
                  <a:cubicBezTo>
                    <a:pt x="41" y="20"/>
                    <a:pt x="42" y="17"/>
                    <a:pt x="42" y="15"/>
                  </a:cubicBezTo>
                  <a:cubicBezTo>
                    <a:pt x="41" y="12"/>
                    <a:pt x="41" y="9"/>
                    <a:pt x="40" y="7"/>
                  </a:cubicBezTo>
                  <a:cubicBezTo>
                    <a:pt x="40" y="5"/>
                    <a:pt x="39" y="2"/>
                    <a:pt x="39" y="0"/>
                  </a:cubicBezTo>
                  <a:cubicBezTo>
                    <a:pt x="26" y="2"/>
                    <a:pt x="13" y="3"/>
                    <a:pt x="0" y="3"/>
                  </a:cubicBezTo>
                  <a:cubicBezTo>
                    <a:pt x="1" y="9"/>
                    <a:pt x="2" y="14"/>
                    <a:pt x="4" y="19"/>
                  </a:cubicBezTo>
                  <a:cubicBezTo>
                    <a:pt x="5" y="23"/>
                    <a:pt x="5" y="27"/>
                    <a:pt x="6" y="30"/>
                  </a:cubicBezTo>
                  <a:cubicBezTo>
                    <a:pt x="7" y="31"/>
                    <a:pt x="7" y="32"/>
                    <a:pt x="7" y="33"/>
                  </a:cubicBezTo>
                  <a:cubicBezTo>
                    <a:pt x="16" y="32"/>
                    <a:pt x="25" y="31"/>
                    <a:pt x="34" y="29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ṥ1ïdé"/>
            <p:cNvSpPr/>
            <p:nvPr/>
          </p:nvSpPr>
          <p:spPr bwMode="auto">
            <a:xfrm>
              <a:off x="6250345" y="4609376"/>
              <a:ext cx="182925" cy="687665"/>
            </a:xfrm>
            <a:custGeom>
              <a:avLst/>
              <a:gdLst>
                <a:gd name="T0" fmla="*/ 2 w 26"/>
                <a:gd name="T1" fmla="*/ 19 h 98"/>
                <a:gd name="T2" fmla="*/ 2 w 26"/>
                <a:gd name="T3" fmla="*/ 19 h 98"/>
                <a:gd name="T4" fmla="*/ 2 w 26"/>
                <a:gd name="T5" fmla="*/ 30 h 98"/>
                <a:gd name="T6" fmla="*/ 5 w 26"/>
                <a:gd name="T7" fmla="*/ 31 h 98"/>
                <a:gd name="T8" fmla="*/ 12 w 26"/>
                <a:gd name="T9" fmla="*/ 32 h 98"/>
                <a:gd name="T10" fmla="*/ 22 w 26"/>
                <a:gd name="T11" fmla="*/ 32 h 98"/>
                <a:gd name="T12" fmla="*/ 23 w 26"/>
                <a:gd name="T13" fmla="*/ 21 h 98"/>
                <a:gd name="T14" fmla="*/ 23 w 26"/>
                <a:gd name="T15" fmla="*/ 18 h 98"/>
                <a:gd name="T16" fmla="*/ 13 w 26"/>
                <a:gd name="T17" fmla="*/ 19 h 98"/>
                <a:gd name="T18" fmla="*/ 2 w 26"/>
                <a:gd name="T19" fmla="*/ 18 h 98"/>
                <a:gd name="T20" fmla="*/ 2 w 26"/>
                <a:gd name="T21" fmla="*/ 18 h 98"/>
                <a:gd name="T22" fmla="*/ 2 w 26"/>
                <a:gd name="T23" fmla="*/ 19 h 98"/>
                <a:gd name="T24" fmla="*/ 1 w 26"/>
                <a:gd name="T25" fmla="*/ 15 h 98"/>
                <a:gd name="T26" fmla="*/ 1 w 26"/>
                <a:gd name="T27" fmla="*/ 15 h 98"/>
                <a:gd name="T28" fmla="*/ 2 w 26"/>
                <a:gd name="T29" fmla="*/ 15 h 98"/>
                <a:gd name="T30" fmla="*/ 12 w 26"/>
                <a:gd name="T31" fmla="*/ 12 h 98"/>
                <a:gd name="T32" fmla="*/ 23 w 26"/>
                <a:gd name="T33" fmla="*/ 12 h 98"/>
                <a:gd name="T34" fmla="*/ 24 w 26"/>
                <a:gd name="T35" fmla="*/ 1 h 98"/>
                <a:gd name="T36" fmla="*/ 11 w 26"/>
                <a:gd name="T37" fmla="*/ 0 h 98"/>
                <a:gd name="T38" fmla="*/ 0 w 26"/>
                <a:gd name="T39" fmla="*/ 0 h 98"/>
                <a:gd name="T40" fmla="*/ 1 w 26"/>
                <a:gd name="T41" fmla="*/ 15 h 98"/>
                <a:gd name="T42" fmla="*/ 24 w 26"/>
                <a:gd name="T43" fmla="*/ 74 h 98"/>
                <a:gd name="T44" fmla="*/ 24 w 26"/>
                <a:gd name="T45" fmla="*/ 74 h 98"/>
                <a:gd name="T46" fmla="*/ 23 w 26"/>
                <a:gd name="T47" fmla="*/ 60 h 98"/>
                <a:gd name="T48" fmla="*/ 12 w 26"/>
                <a:gd name="T49" fmla="*/ 61 h 98"/>
                <a:gd name="T50" fmla="*/ 4 w 26"/>
                <a:gd name="T51" fmla="*/ 60 h 98"/>
                <a:gd name="T52" fmla="*/ 4 w 26"/>
                <a:gd name="T53" fmla="*/ 73 h 98"/>
                <a:gd name="T54" fmla="*/ 4 w 26"/>
                <a:gd name="T55" fmla="*/ 78 h 98"/>
                <a:gd name="T56" fmla="*/ 15 w 26"/>
                <a:gd name="T57" fmla="*/ 77 h 98"/>
                <a:gd name="T58" fmla="*/ 24 w 26"/>
                <a:gd name="T59" fmla="*/ 77 h 98"/>
                <a:gd name="T60" fmla="*/ 24 w 26"/>
                <a:gd name="T61" fmla="*/ 74 h 98"/>
                <a:gd name="T62" fmla="*/ 3 w 26"/>
                <a:gd name="T63" fmla="*/ 46 h 98"/>
                <a:gd name="T64" fmla="*/ 3 w 26"/>
                <a:gd name="T65" fmla="*/ 46 h 98"/>
                <a:gd name="T66" fmla="*/ 4 w 26"/>
                <a:gd name="T67" fmla="*/ 54 h 98"/>
                <a:gd name="T68" fmla="*/ 12 w 26"/>
                <a:gd name="T69" fmla="*/ 54 h 98"/>
                <a:gd name="T70" fmla="*/ 23 w 26"/>
                <a:gd name="T71" fmla="*/ 55 h 98"/>
                <a:gd name="T72" fmla="*/ 22 w 26"/>
                <a:gd name="T73" fmla="*/ 48 h 98"/>
                <a:gd name="T74" fmla="*/ 22 w 26"/>
                <a:gd name="T75" fmla="*/ 37 h 98"/>
                <a:gd name="T76" fmla="*/ 3 w 26"/>
                <a:gd name="T77" fmla="*/ 37 h 98"/>
                <a:gd name="T78" fmla="*/ 3 w 26"/>
                <a:gd name="T79" fmla="*/ 46 h 98"/>
                <a:gd name="T80" fmla="*/ 25 w 26"/>
                <a:gd name="T81" fmla="*/ 97 h 98"/>
                <a:gd name="T82" fmla="*/ 25 w 26"/>
                <a:gd name="T83" fmla="*/ 97 h 98"/>
                <a:gd name="T84" fmla="*/ 25 w 26"/>
                <a:gd name="T85" fmla="*/ 96 h 98"/>
                <a:gd name="T86" fmla="*/ 25 w 26"/>
                <a:gd name="T87" fmla="*/ 86 h 98"/>
                <a:gd name="T88" fmla="*/ 24 w 26"/>
                <a:gd name="T89" fmla="*/ 83 h 98"/>
                <a:gd name="T90" fmla="*/ 15 w 26"/>
                <a:gd name="T91" fmla="*/ 84 h 98"/>
                <a:gd name="T92" fmla="*/ 5 w 26"/>
                <a:gd name="T93" fmla="*/ 84 h 98"/>
                <a:gd name="T94" fmla="*/ 5 w 26"/>
                <a:gd name="T95" fmla="*/ 87 h 98"/>
                <a:gd name="T96" fmla="*/ 5 w 26"/>
                <a:gd name="T97" fmla="*/ 95 h 98"/>
                <a:gd name="T98" fmla="*/ 7 w 26"/>
                <a:gd name="T99" fmla="*/ 96 h 98"/>
                <a:gd name="T100" fmla="*/ 15 w 26"/>
                <a:gd name="T101" fmla="*/ 98 h 98"/>
                <a:gd name="T102" fmla="*/ 24 w 26"/>
                <a:gd name="T103" fmla="*/ 97 h 98"/>
                <a:gd name="T104" fmla="*/ 25 w 26"/>
                <a:gd name="T105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" h="98">
                  <a:moveTo>
                    <a:pt x="2" y="1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2" y="23"/>
                    <a:pt x="2" y="27"/>
                    <a:pt x="2" y="30"/>
                  </a:cubicBezTo>
                  <a:cubicBezTo>
                    <a:pt x="3" y="30"/>
                    <a:pt x="4" y="31"/>
                    <a:pt x="5" y="31"/>
                  </a:cubicBezTo>
                  <a:cubicBezTo>
                    <a:pt x="7" y="31"/>
                    <a:pt x="10" y="32"/>
                    <a:pt x="12" y="32"/>
                  </a:cubicBezTo>
                  <a:cubicBezTo>
                    <a:pt x="15" y="32"/>
                    <a:pt x="19" y="32"/>
                    <a:pt x="22" y="32"/>
                  </a:cubicBezTo>
                  <a:cubicBezTo>
                    <a:pt x="22" y="28"/>
                    <a:pt x="23" y="25"/>
                    <a:pt x="23" y="21"/>
                  </a:cubicBezTo>
                  <a:cubicBezTo>
                    <a:pt x="23" y="20"/>
                    <a:pt x="23" y="19"/>
                    <a:pt x="23" y="18"/>
                  </a:cubicBezTo>
                  <a:cubicBezTo>
                    <a:pt x="20" y="18"/>
                    <a:pt x="17" y="19"/>
                    <a:pt x="13" y="19"/>
                  </a:cubicBezTo>
                  <a:cubicBezTo>
                    <a:pt x="10" y="19"/>
                    <a:pt x="5" y="21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lose/>
                  <a:moveTo>
                    <a:pt x="1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4" y="12"/>
                    <a:pt x="8" y="12"/>
                    <a:pt x="12" y="12"/>
                  </a:cubicBezTo>
                  <a:cubicBezTo>
                    <a:pt x="16" y="12"/>
                    <a:pt x="20" y="12"/>
                    <a:pt x="23" y="12"/>
                  </a:cubicBezTo>
                  <a:cubicBezTo>
                    <a:pt x="24" y="8"/>
                    <a:pt x="24" y="4"/>
                    <a:pt x="24" y="1"/>
                  </a:cubicBezTo>
                  <a:cubicBezTo>
                    <a:pt x="20" y="0"/>
                    <a:pt x="15" y="0"/>
                    <a:pt x="11" y="0"/>
                  </a:cubicBezTo>
                  <a:cubicBezTo>
                    <a:pt x="7" y="0"/>
                    <a:pt x="4" y="0"/>
                    <a:pt x="0" y="0"/>
                  </a:cubicBezTo>
                  <a:cubicBezTo>
                    <a:pt x="1" y="5"/>
                    <a:pt x="1" y="10"/>
                    <a:pt x="1" y="15"/>
                  </a:cubicBezTo>
                  <a:close/>
                  <a:moveTo>
                    <a:pt x="24" y="74"/>
                  </a:moveTo>
                  <a:cubicBezTo>
                    <a:pt x="24" y="74"/>
                    <a:pt x="24" y="74"/>
                    <a:pt x="24" y="74"/>
                  </a:cubicBezTo>
                  <a:cubicBezTo>
                    <a:pt x="23" y="69"/>
                    <a:pt x="23" y="65"/>
                    <a:pt x="23" y="60"/>
                  </a:cubicBezTo>
                  <a:cubicBezTo>
                    <a:pt x="19" y="61"/>
                    <a:pt x="16" y="61"/>
                    <a:pt x="12" y="61"/>
                  </a:cubicBezTo>
                  <a:cubicBezTo>
                    <a:pt x="10" y="61"/>
                    <a:pt x="7" y="61"/>
                    <a:pt x="4" y="60"/>
                  </a:cubicBezTo>
                  <a:cubicBezTo>
                    <a:pt x="4" y="65"/>
                    <a:pt x="4" y="69"/>
                    <a:pt x="4" y="73"/>
                  </a:cubicBezTo>
                  <a:cubicBezTo>
                    <a:pt x="5" y="75"/>
                    <a:pt x="4" y="77"/>
                    <a:pt x="4" y="78"/>
                  </a:cubicBezTo>
                  <a:cubicBezTo>
                    <a:pt x="8" y="77"/>
                    <a:pt x="12" y="78"/>
                    <a:pt x="15" y="77"/>
                  </a:cubicBezTo>
                  <a:cubicBezTo>
                    <a:pt x="18" y="77"/>
                    <a:pt x="21" y="77"/>
                    <a:pt x="24" y="77"/>
                  </a:cubicBezTo>
                  <a:cubicBezTo>
                    <a:pt x="24" y="76"/>
                    <a:pt x="24" y="75"/>
                    <a:pt x="24" y="74"/>
                  </a:cubicBezTo>
                  <a:close/>
                  <a:moveTo>
                    <a:pt x="3" y="46"/>
                  </a:moveTo>
                  <a:cubicBezTo>
                    <a:pt x="3" y="46"/>
                    <a:pt x="3" y="46"/>
                    <a:pt x="3" y="46"/>
                  </a:cubicBezTo>
                  <a:cubicBezTo>
                    <a:pt x="4" y="49"/>
                    <a:pt x="4" y="51"/>
                    <a:pt x="4" y="54"/>
                  </a:cubicBezTo>
                  <a:cubicBezTo>
                    <a:pt x="7" y="53"/>
                    <a:pt x="10" y="54"/>
                    <a:pt x="12" y="54"/>
                  </a:cubicBezTo>
                  <a:cubicBezTo>
                    <a:pt x="16" y="55"/>
                    <a:pt x="19" y="55"/>
                    <a:pt x="23" y="55"/>
                  </a:cubicBezTo>
                  <a:cubicBezTo>
                    <a:pt x="23" y="53"/>
                    <a:pt x="22" y="50"/>
                    <a:pt x="22" y="48"/>
                  </a:cubicBezTo>
                  <a:cubicBezTo>
                    <a:pt x="22" y="44"/>
                    <a:pt x="22" y="41"/>
                    <a:pt x="22" y="37"/>
                  </a:cubicBezTo>
                  <a:cubicBezTo>
                    <a:pt x="17" y="38"/>
                    <a:pt x="8" y="39"/>
                    <a:pt x="3" y="37"/>
                  </a:cubicBezTo>
                  <a:cubicBezTo>
                    <a:pt x="3" y="40"/>
                    <a:pt x="3" y="43"/>
                    <a:pt x="3" y="46"/>
                  </a:cubicBezTo>
                  <a:close/>
                  <a:moveTo>
                    <a:pt x="25" y="97"/>
                  </a:move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6"/>
                    <a:pt x="25" y="96"/>
                  </a:cubicBezTo>
                  <a:cubicBezTo>
                    <a:pt x="26" y="93"/>
                    <a:pt x="25" y="89"/>
                    <a:pt x="25" y="86"/>
                  </a:cubicBezTo>
                  <a:cubicBezTo>
                    <a:pt x="25" y="85"/>
                    <a:pt x="25" y="84"/>
                    <a:pt x="24" y="83"/>
                  </a:cubicBezTo>
                  <a:cubicBezTo>
                    <a:pt x="21" y="84"/>
                    <a:pt x="18" y="84"/>
                    <a:pt x="15" y="84"/>
                  </a:cubicBezTo>
                  <a:cubicBezTo>
                    <a:pt x="12" y="84"/>
                    <a:pt x="8" y="85"/>
                    <a:pt x="5" y="84"/>
                  </a:cubicBezTo>
                  <a:cubicBezTo>
                    <a:pt x="5" y="85"/>
                    <a:pt x="5" y="86"/>
                    <a:pt x="5" y="87"/>
                  </a:cubicBezTo>
                  <a:cubicBezTo>
                    <a:pt x="5" y="89"/>
                    <a:pt x="5" y="92"/>
                    <a:pt x="5" y="95"/>
                  </a:cubicBezTo>
                  <a:cubicBezTo>
                    <a:pt x="6" y="95"/>
                    <a:pt x="6" y="96"/>
                    <a:pt x="7" y="96"/>
                  </a:cubicBezTo>
                  <a:cubicBezTo>
                    <a:pt x="10" y="97"/>
                    <a:pt x="12" y="98"/>
                    <a:pt x="15" y="98"/>
                  </a:cubicBezTo>
                  <a:cubicBezTo>
                    <a:pt x="18" y="98"/>
                    <a:pt x="21" y="98"/>
                    <a:pt x="24" y="97"/>
                  </a:cubicBezTo>
                  <a:cubicBezTo>
                    <a:pt x="24" y="97"/>
                    <a:pt x="25" y="97"/>
                    <a:pt x="25" y="9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slîḓê"/>
            <p:cNvSpPr/>
            <p:nvPr/>
          </p:nvSpPr>
          <p:spPr bwMode="auto">
            <a:xfrm>
              <a:off x="6314708" y="4609376"/>
              <a:ext cx="118564" cy="687665"/>
            </a:xfrm>
            <a:custGeom>
              <a:avLst/>
              <a:gdLst>
                <a:gd name="T0" fmla="*/ 3 w 17"/>
                <a:gd name="T1" fmla="*/ 32 h 98"/>
                <a:gd name="T2" fmla="*/ 13 w 17"/>
                <a:gd name="T3" fmla="*/ 32 h 98"/>
                <a:gd name="T4" fmla="*/ 14 w 17"/>
                <a:gd name="T5" fmla="*/ 21 h 98"/>
                <a:gd name="T6" fmla="*/ 14 w 17"/>
                <a:gd name="T7" fmla="*/ 18 h 98"/>
                <a:gd name="T8" fmla="*/ 4 w 17"/>
                <a:gd name="T9" fmla="*/ 19 h 98"/>
                <a:gd name="T10" fmla="*/ 2 w 17"/>
                <a:gd name="T11" fmla="*/ 19 h 98"/>
                <a:gd name="T12" fmla="*/ 3 w 17"/>
                <a:gd name="T13" fmla="*/ 32 h 98"/>
                <a:gd name="T14" fmla="*/ 0 w 17"/>
                <a:gd name="T15" fmla="*/ 0 h 98"/>
                <a:gd name="T16" fmla="*/ 2 w 17"/>
                <a:gd name="T17" fmla="*/ 12 h 98"/>
                <a:gd name="T18" fmla="*/ 3 w 17"/>
                <a:gd name="T19" fmla="*/ 12 h 98"/>
                <a:gd name="T20" fmla="*/ 14 w 17"/>
                <a:gd name="T21" fmla="*/ 12 h 98"/>
                <a:gd name="T22" fmla="*/ 15 w 17"/>
                <a:gd name="T23" fmla="*/ 1 h 98"/>
                <a:gd name="T24" fmla="*/ 2 w 17"/>
                <a:gd name="T25" fmla="*/ 0 h 98"/>
                <a:gd name="T26" fmla="*/ 0 w 17"/>
                <a:gd name="T27" fmla="*/ 0 h 98"/>
                <a:gd name="T28" fmla="*/ 4 w 17"/>
                <a:gd name="T29" fmla="*/ 38 h 98"/>
                <a:gd name="T30" fmla="*/ 5 w 17"/>
                <a:gd name="T31" fmla="*/ 55 h 98"/>
                <a:gd name="T32" fmla="*/ 14 w 17"/>
                <a:gd name="T33" fmla="*/ 55 h 98"/>
                <a:gd name="T34" fmla="*/ 13 w 17"/>
                <a:gd name="T35" fmla="*/ 48 h 98"/>
                <a:gd name="T36" fmla="*/ 13 w 17"/>
                <a:gd name="T37" fmla="*/ 37 h 98"/>
                <a:gd name="T38" fmla="*/ 4 w 17"/>
                <a:gd name="T39" fmla="*/ 38 h 98"/>
                <a:gd name="T40" fmla="*/ 5 w 17"/>
                <a:gd name="T41" fmla="*/ 61 h 98"/>
                <a:gd name="T42" fmla="*/ 5 w 17"/>
                <a:gd name="T43" fmla="*/ 77 h 98"/>
                <a:gd name="T44" fmla="*/ 6 w 17"/>
                <a:gd name="T45" fmla="*/ 77 h 98"/>
                <a:gd name="T46" fmla="*/ 15 w 17"/>
                <a:gd name="T47" fmla="*/ 77 h 98"/>
                <a:gd name="T48" fmla="*/ 15 w 17"/>
                <a:gd name="T49" fmla="*/ 74 h 98"/>
                <a:gd name="T50" fmla="*/ 15 w 17"/>
                <a:gd name="T51" fmla="*/ 74 h 98"/>
                <a:gd name="T52" fmla="*/ 14 w 17"/>
                <a:gd name="T53" fmla="*/ 60 h 98"/>
                <a:gd name="T54" fmla="*/ 5 w 17"/>
                <a:gd name="T55" fmla="*/ 61 h 98"/>
                <a:gd name="T56" fmla="*/ 5 w 17"/>
                <a:gd name="T57" fmla="*/ 84 h 98"/>
                <a:gd name="T58" fmla="*/ 5 w 17"/>
                <a:gd name="T59" fmla="*/ 98 h 98"/>
                <a:gd name="T60" fmla="*/ 6 w 17"/>
                <a:gd name="T61" fmla="*/ 98 h 98"/>
                <a:gd name="T62" fmla="*/ 15 w 17"/>
                <a:gd name="T63" fmla="*/ 97 h 98"/>
                <a:gd name="T64" fmla="*/ 16 w 17"/>
                <a:gd name="T65" fmla="*/ 97 h 98"/>
                <a:gd name="T66" fmla="*/ 16 w 17"/>
                <a:gd name="T67" fmla="*/ 97 h 98"/>
                <a:gd name="T68" fmla="*/ 16 w 17"/>
                <a:gd name="T69" fmla="*/ 96 h 98"/>
                <a:gd name="T70" fmla="*/ 16 w 17"/>
                <a:gd name="T71" fmla="*/ 86 h 98"/>
                <a:gd name="T72" fmla="*/ 15 w 17"/>
                <a:gd name="T73" fmla="*/ 83 h 98"/>
                <a:gd name="T74" fmla="*/ 6 w 17"/>
                <a:gd name="T75" fmla="*/ 84 h 98"/>
                <a:gd name="T76" fmla="*/ 5 w 17"/>
                <a:gd name="T77" fmla="*/ 8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" h="98">
                  <a:moveTo>
                    <a:pt x="3" y="32"/>
                  </a:moveTo>
                  <a:cubicBezTo>
                    <a:pt x="7" y="32"/>
                    <a:pt x="10" y="32"/>
                    <a:pt x="13" y="32"/>
                  </a:cubicBezTo>
                  <a:cubicBezTo>
                    <a:pt x="13" y="28"/>
                    <a:pt x="14" y="25"/>
                    <a:pt x="14" y="21"/>
                  </a:cubicBezTo>
                  <a:cubicBezTo>
                    <a:pt x="14" y="20"/>
                    <a:pt x="14" y="19"/>
                    <a:pt x="14" y="18"/>
                  </a:cubicBezTo>
                  <a:cubicBezTo>
                    <a:pt x="11" y="18"/>
                    <a:pt x="8" y="19"/>
                    <a:pt x="4" y="19"/>
                  </a:cubicBezTo>
                  <a:cubicBezTo>
                    <a:pt x="4" y="19"/>
                    <a:pt x="3" y="19"/>
                    <a:pt x="2" y="19"/>
                  </a:cubicBezTo>
                  <a:cubicBezTo>
                    <a:pt x="3" y="23"/>
                    <a:pt x="3" y="28"/>
                    <a:pt x="3" y="32"/>
                  </a:cubicBezTo>
                  <a:close/>
                  <a:moveTo>
                    <a:pt x="0" y="0"/>
                  </a:moveTo>
                  <a:cubicBezTo>
                    <a:pt x="1" y="4"/>
                    <a:pt x="1" y="8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7" y="12"/>
                    <a:pt x="11" y="12"/>
                    <a:pt x="14" y="12"/>
                  </a:cubicBezTo>
                  <a:cubicBezTo>
                    <a:pt x="15" y="8"/>
                    <a:pt x="15" y="4"/>
                    <a:pt x="15" y="1"/>
                  </a:cubicBezTo>
                  <a:cubicBezTo>
                    <a:pt x="11" y="0"/>
                    <a:pt x="6" y="0"/>
                    <a:pt x="2" y="0"/>
                  </a:cubicBezTo>
                  <a:lnTo>
                    <a:pt x="0" y="0"/>
                  </a:lnTo>
                  <a:close/>
                  <a:moveTo>
                    <a:pt x="4" y="38"/>
                  </a:moveTo>
                  <a:cubicBezTo>
                    <a:pt x="4" y="44"/>
                    <a:pt x="4" y="49"/>
                    <a:pt x="5" y="55"/>
                  </a:cubicBezTo>
                  <a:cubicBezTo>
                    <a:pt x="8" y="55"/>
                    <a:pt x="11" y="55"/>
                    <a:pt x="14" y="55"/>
                  </a:cubicBezTo>
                  <a:cubicBezTo>
                    <a:pt x="14" y="53"/>
                    <a:pt x="13" y="50"/>
                    <a:pt x="13" y="48"/>
                  </a:cubicBezTo>
                  <a:cubicBezTo>
                    <a:pt x="13" y="44"/>
                    <a:pt x="13" y="41"/>
                    <a:pt x="13" y="37"/>
                  </a:cubicBezTo>
                  <a:cubicBezTo>
                    <a:pt x="11" y="38"/>
                    <a:pt x="7" y="38"/>
                    <a:pt x="4" y="38"/>
                  </a:cubicBezTo>
                  <a:close/>
                  <a:moveTo>
                    <a:pt x="5" y="61"/>
                  </a:moveTo>
                  <a:cubicBezTo>
                    <a:pt x="5" y="67"/>
                    <a:pt x="5" y="72"/>
                    <a:pt x="5" y="77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9" y="77"/>
                    <a:pt x="12" y="77"/>
                    <a:pt x="15" y="77"/>
                  </a:cubicBezTo>
                  <a:cubicBezTo>
                    <a:pt x="15" y="76"/>
                    <a:pt x="15" y="75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4" y="69"/>
                    <a:pt x="14" y="65"/>
                    <a:pt x="14" y="60"/>
                  </a:cubicBezTo>
                  <a:cubicBezTo>
                    <a:pt x="11" y="61"/>
                    <a:pt x="8" y="61"/>
                    <a:pt x="5" y="61"/>
                  </a:cubicBezTo>
                  <a:close/>
                  <a:moveTo>
                    <a:pt x="5" y="84"/>
                  </a:moveTo>
                  <a:cubicBezTo>
                    <a:pt x="5" y="89"/>
                    <a:pt x="5" y="93"/>
                    <a:pt x="5" y="98"/>
                  </a:cubicBezTo>
                  <a:cubicBezTo>
                    <a:pt x="5" y="98"/>
                    <a:pt x="6" y="98"/>
                    <a:pt x="6" y="98"/>
                  </a:cubicBezTo>
                  <a:cubicBezTo>
                    <a:pt x="9" y="98"/>
                    <a:pt x="12" y="98"/>
                    <a:pt x="15" y="97"/>
                  </a:cubicBezTo>
                  <a:cubicBezTo>
                    <a:pt x="15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6"/>
                    <a:pt x="16" y="96"/>
                  </a:cubicBezTo>
                  <a:cubicBezTo>
                    <a:pt x="17" y="93"/>
                    <a:pt x="16" y="89"/>
                    <a:pt x="16" y="86"/>
                  </a:cubicBezTo>
                  <a:cubicBezTo>
                    <a:pt x="16" y="85"/>
                    <a:pt x="16" y="84"/>
                    <a:pt x="15" y="83"/>
                  </a:cubicBezTo>
                  <a:cubicBezTo>
                    <a:pt x="12" y="84"/>
                    <a:pt x="9" y="84"/>
                    <a:pt x="6" y="84"/>
                  </a:cubicBezTo>
                  <a:lnTo>
                    <a:pt x="5" y="84"/>
                  </a:ln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$ḻidè"/>
            <p:cNvSpPr/>
            <p:nvPr/>
          </p:nvSpPr>
          <p:spPr bwMode="auto">
            <a:xfrm>
              <a:off x="5203606" y="3295024"/>
              <a:ext cx="724927" cy="989152"/>
            </a:xfrm>
            <a:custGeom>
              <a:avLst/>
              <a:gdLst>
                <a:gd name="T0" fmla="*/ 6 w 103"/>
                <a:gd name="T1" fmla="*/ 139 h 141"/>
                <a:gd name="T2" fmla="*/ 14 w 103"/>
                <a:gd name="T3" fmla="*/ 139 h 141"/>
                <a:gd name="T4" fmla="*/ 43 w 103"/>
                <a:gd name="T5" fmla="*/ 130 h 141"/>
                <a:gd name="T6" fmla="*/ 45 w 103"/>
                <a:gd name="T7" fmla="*/ 112 h 141"/>
                <a:gd name="T8" fmla="*/ 25 w 103"/>
                <a:gd name="T9" fmla="*/ 109 h 141"/>
                <a:gd name="T10" fmla="*/ 31 w 103"/>
                <a:gd name="T11" fmla="*/ 130 h 141"/>
                <a:gd name="T12" fmla="*/ 20 w 103"/>
                <a:gd name="T13" fmla="*/ 117 h 141"/>
                <a:gd name="T14" fmla="*/ 0 w 103"/>
                <a:gd name="T15" fmla="*/ 114 h 141"/>
                <a:gd name="T16" fmla="*/ 6 w 103"/>
                <a:gd name="T17" fmla="*/ 139 h 141"/>
                <a:gd name="T18" fmla="*/ 85 w 103"/>
                <a:gd name="T19" fmla="*/ 11 h 141"/>
                <a:gd name="T20" fmla="*/ 93 w 103"/>
                <a:gd name="T21" fmla="*/ 18 h 141"/>
                <a:gd name="T22" fmla="*/ 101 w 103"/>
                <a:gd name="T23" fmla="*/ 6 h 141"/>
                <a:gd name="T24" fmla="*/ 87 w 103"/>
                <a:gd name="T25" fmla="*/ 9 h 141"/>
                <a:gd name="T26" fmla="*/ 98 w 103"/>
                <a:gd name="T27" fmla="*/ 42 h 141"/>
                <a:gd name="T28" fmla="*/ 98 w 103"/>
                <a:gd name="T29" fmla="*/ 37 h 141"/>
                <a:gd name="T30" fmla="*/ 88 w 103"/>
                <a:gd name="T31" fmla="*/ 22 h 141"/>
                <a:gd name="T32" fmla="*/ 80 w 103"/>
                <a:gd name="T33" fmla="*/ 15 h 141"/>
                <a:gd name="T34" fmla="*/ 83 w 103"/>
                <a:gd name="T35" fmla="*/ 34 h 141"/>
                <a:gd name="T36" fmla="*/ 98 w 103"/>
                <a:gd name="T37" fmla="*/ 42 h 141"/>
                <a:gd name="T38" fmla="*/ 81 w 103"/>
                <a:gd name="T39" fmla="*/ 77 h 141"/>
                <a:gd name="T40" fmla="*/ 57 w 103"/>
                <a:gd name="T41" fmla="*/ 56 h 141"/>
                <a:gd name="T42" fmla="*/ 73 w 103"/>
                <a:gd name="T43" fmla="*/ 62 h 141"/>
                <a:gd name="T44" fmla="*/ 90 w 103"/>
                <a:gd name="T45" fmla="*/ 51 h 141"/>
                <a:gd name="T46" fmla="*/ 72 w 103"/>
                <a:gd name="T47" fmla="*/ 34 h 141"/>
                <a:gd name="T48" fmla="*/ 57 w 103"/>
                <a:gd name="T49" fmla="*/ 47 h 141"/>
                <a:gd name="T50" fmla="*/ 51 w 103"/>
                <a:gd name="T51" fmla="*/ 80 h 141"/>
                <a:gd name="T52" fmla="*/ 64 w 103"/>
                <a:gd name="T53" fmla="*/ 89 h 141"/>
                <a:gd name="T54" fmla="*/ 74 w 103"/>
                <a:gd name="T55" fmla="*/ 103 h 141"/>
                <a:gd name="T56" fmla="*/ 71 w 103"/>
                <a:gd name="T57" fmla="*/ 109 h 141"/>
                <a:gd name="T58" fmla="*/ 73 w 103"/>
                <a:gd name="T59" fmla="*/ 106 h 141"/>
                <a:gd name="T60" fmla="*/ 52 w 103"/>
                <a:gd name="T61" fmla="*/ 88 h 141"/>
                <a:gd name="T62" fmla="*/ 41 w 103"/>
                <a:gd name="T63" fmla="*/ 98 h 141"/>
                <a:gd name="T64" fmla="*/ 49 w 103"/>
                <a:gd name="T65" fmla="*/ 107 h 141"/>
                <a:gd name="T66" fmla="*/ 71 w 103"/>
                <a:gd name="T67" fmla="*/ 10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3" h="141">
                  <a:moveTo>
                    <a:pt x="6" y="139"/>
                  </a:moveTo>
                  <a:cubicBezTo>
                    <a:pt x="6" y="139"/>
                    <a:pt x="6" y="139"/>
                    <a:pt x="6" y="139"/>
                  </a:cubicBezTo>
                  <a:cubicBezTo>
                    <a:pt x="6" y="140"/>
                    <a:pt x="6" y="140"/>
                    <a:pt x="6" y="141"/>
                  </a:cubicBezTo>
                  <a:cubicBezTo>
                    <a:pt x="8" y="140"/>
                    <a:pt x="11" y="139"/>
                    <a:pt x="14" y="139"/>
                  </a:cubicBezTo>
                  <a:cubicBezTo>
                    <a:pt x="18" y="138"/>
                    <a:pt x="22" y="137"/>
                    <a:pt x="25" y="136"/>
                  </a:cubicBezTo>
                  <a:cubicBezTo>
                    <a:pt x="32" y="135"/>
                    <a:pt x="37" y="133"/>
                    <a:pt x="43" y="130"/>
                  </a:cubicBezTo>
                  <a:cubicBezTo>
                    <a:pt x="46" y="129"/>
                    <a:pt x="49" y="127"/>
                    <a:pt x="52" y="125"/>
                  </a:cubicBezTo>
                  <a:cubicBezTo>
                    <a:pt x="50" y="121"/>
                    <a:pt x="47" y="117"/>
                    <a:pt x="45" y="112"/>
                  </a:cubicBezTo>
                  <a:cubicBezTo>
                    <a:pt x="43" y="109"/>
                    <a:pt x="39" y="106"/>
                    <a:pt x="37" y="102"/>
                  </a:cubicBezTo>
                  <a:cubicBezTo>
                    <a:pt x="33" y="105"/>
                    <a:pt x="29" y="107"/>
                    <a:pt x="25" y="109"/>
                  </a:cubicBezTo>
                  <a:cubicBezTo>
                    <a:pt x="25" y="110"/>
                    <a:pt x="25" y="111"/>
                    <a:pt x="25" y="111"/>
                  </a:cubicBezTo>
                  <a:cubicBezTo>
                    <a:pt x="28" y="118"/>
                    <a:pt x="29" y="124"/>
                    <a:pt x="31" y="130"/>
                  </a:cubicBezTo>
                  <a:cubicBezTo>
                    <a:pt x="32" y="133"/>
                    <a:pt x="27" y="135"/>
                    <a:pt x="26" y="133"/>
                  </a:cubicBezTo>
                  <a:cubicBezTo>
                    <a:pt x="23" y="128"/>
                    <a:pt x="22" y="122"/>
                    <a:pt x="20" y="117"/>
                  </a:cubicBezTo>
                  <a:cubicBezTo>
                    <a:pt x="19" y="115"/>
                    <a:pt x="19" y="113"/>
                    <a:pt x="18" y="111"/>
                  </a:cubicBezTo>
                  <a:cubicBezTo>
                    <a:pt x="13" y="113"/>
                    <a:pt x="6" y="115"/>
                    <a:pt x="0" y="114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4" y="123"/>
                    <a:pt x="5" y="131"/>
                    <a:pt x="6" y="139"/>
                  </a:cubicBezTo>
                  <a:close/>
                  <a:moveTo>
                    <a:pt x="85" y="11"/>
                  </a:move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8" y="13"/>
                    <a:pt x="91" y="15"/>
                    <a:pt x="93" y="18"/>
                  </a:cubicBezTo>
                  <a:cubicBezTo>
                    <a:pt x="95" y="20"/>
                    <a:pt x="97" y="23"/>
                    <a:pt x="98" y="25"/>
                  </a:cubicBezTo>
                  <a:cubicBezTo>
                    <a:pt x="98" y="19"/>
                    <a:pt x="99" y="13"/>
                    <a:pt x="101" y="6"/>
                  </a:cubicBezTo>
                  <a:cubicBezTo>
                    <a:pt x="101" y="4"/>
                    <a:pt x="102" y="2"/>
                    <a:pt x="103" y="0"/>
                  </a:cubicBezTo>
                  <a:cubicBezTo>
                    <a:pt x="97" y="2"/>
                    <a:pt x="92" y="6"/>
                    <a:pt x="87" y="9"/>
                  </a:cubicBezTo>
                  <a:cubicBezTo>
                    <a:pt x="86" y="9"/>
                    <a:pt x="86" y="10"/>
                    <a:pt x="85" y="11"/>
                  </a:cubicBezTo>
                  <a:close/>
                  <a:moveTo>
                    <a:pt x="98" y="42"/>
                  </a:moveTo>
                  <a:cubicBezTo>
                    <a:pt x="98" y="42"/>
                    <a:pt x="98" y="42"/>
                    <a:pt x="98" y="42"/>
                  </a:cubicBezTo>
                  <a:cubicBezTo>
                    <a:pt x="98" y="41"/>
                    <a:pt x="98" y="39"/>
                    <a:pt x="98" y="37"/>
                  </a:cubicBezTo>
                  <a:cubicBezTo>
                    <a:pt x="98" y="37"/>
                    <a:pt x="98" y="36"/>
                    <a:pt x="98" y="36"/>
                  </a:cubicBezTo>
                  <a:cubicBezTo>
                    <a:pt x="95" y="30"/>
                    <a:pt x="92" y="26"/>
                    <a:pt x="88" y="22"/>
                  </a:cubicBezTo>
                  <a:cubicBezTo>
                    <a:pt x="85" y="19"/>
                    <a:pt x="83" y="17"/>
                    <a:pt x="81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6" y="18"/>
                    <a:pt x="72" y="21"/>
                    <a:pt x="69" y="25"/>
                  </a:cubicBezTo>
                  <a:cubicBezTo>
                    <a:pt x="74" y="25"/>
                    <a:pt x="79" y="30"/>
                    <a:pt x="83" y="34"/>
                  </a:cubicBezTo>
                  <a:cubicBezTo>
                    <a:pt x="87" y="37"/>
                    <a:pt x="90" y="42"/>
                    <a:pt x="93" y="46"/>
                  </a:cubicBezTo>
                  <a:cubicBezTo>
                    <a:pt x="95" y="45"/>
                    <a:pt x="96" y="44"/>
                    <a:pt x="98" y="42"/>
                  </a:cubicBezTo>
                  <a:close/>
                  <a:moveTo>
                    <a:pt x="81" y="77"/>
                  </a:moveTo>
                  <a:cubicBezTo>
                    <a:pt x="81" y="77"/>
                    <a:pt x="81" y="77"/>
                    <a:pt x="81" y="77"/>
                  </a:cubicBezTo>
                  <a:cubicBezTo>
                    <a:pt x="78" y="75"/>
                    <a:pt x="74" y="72"/>
                    <a:pt x="72" y="69"/>
                  </a:cubicBezTo>
                  <a:cubicBezTo>
                    <a:pt x="67" y="65"/>
                    <a:pt x="61" y="61"/>
                    <a:pt x="57" y="56"/>
                  </a:cubicBezTo>
                  <a:cubicBezTo>
                    <a:pt x="57" y="54"/>
                    <a:pt x="57" y="53"/>
                    <a:pt x="59" y="53"/>
                  </a:cubicBezTo>
                  <a:cubicBezTo>
                    <a:pt x="65" y="53"/>
                    <a:pt x="70" y="58"/>
                    <a:pt x="73" y="62"/>
                  </a:cubicBezTo>
                  <a:cubicBezTo>
                    <a:pt x="76" y="65"/>
                    <a:pt x="79" y="68"/>
                    <a:pt x="82" y="71"/>
                  </a:cubicBezTo>
                  <a:cubicBezTo>
                    <a:pt x="84" y="64"/>
                    <a:pt x="86" y="57"/>
                    <a:pt x="90" y="51"/>
                  </a:cubicBezTo>
                  <a:cubicBezTo>
                    <a:pt x="86" y="47"/>
                    <a:pt x="83" y="44"/>
                    <a:pt x="80" y="40"/>
                  </a:cubicBezTo>
                  <a:cubicBezTo>
                    <a:pt x="77" y="38"/>
                    <a:pt x="75" y="36"/>
                    <a:pt x="72" y="34"/>
                  </a:cubicBezTo>
                  <a:cubicBezTo>
                    <a:pt x="70" y="32"/>
                    <a:pt x="68" y="31"/>
                    <a:pt x="67" y="28"/>
                  </a:cubicBezTo>
                  <a:cubicBezTo>
                    <a:pt x="62" y="34"/>
                    <a:pt x="59" y="40"/>
                    <a:pt x="57" y="47"/>
                  </a:cubicBezTo>
                  <a:cubicBezTo>
                    <a:pt x="54" y="56"/>
                    <a:pt x="54" y="65"/>
                    <a:pt x="52" y="73"/>
                  </a:cubicBezTo>
                  <a:cubicBezTo>
                    <a:pt x="52" y="76"/>
                    <a:pt x="51" y="78"/>
                    <a:pt x="51" y="80"/>
                  </a:cubicBezTo>
                  <a:cubicBezTo>
                    <a:pt x="52" y="81"/>
                    <a:pt x="53" y="82"/>
                    <a:pt x="54" y="82"/>
                  </a:cubicBezTo>
                  <a:cubicBezTo>
                    <a:pt x="57" y="84"/>
                    <a:pt x="61" y="87"/>
                    <a:pt x="64" y="89"/>
                  </a:cubicBezTo>
                  <a:cubicBezTo>
                    <a:pt x="66" y="91"/>
                    <a:pt x="67" y="93"/>
                    <a:pt x="69" y="96"/>
                  </a:cubicBezTo>
                  <a:cubicBezTo>
                    <a:pt x="70" y="98"/>
                    <a:pt x="72" y="101"/>
                    <a:pt x="74" y="103"/>
                  </a:cubicBezTo>
                  <a:cubicBezTo>
                    <a:pt x="78" y="95"/>
                    <a:pt x="79" y="86"/>
                    <a:pt x="81" y="77"/>
                  </a:cubicBezTo>
                  <a:close/>
                  <a:moveTo>
                    <a:pt x="71" y="109"/>
                  </a:moveTo>
                  <a:cubicBezTo>
                    <a:pt x="71" y="109"/>
                    <a:pt x="71" y="109"/>
                    <a:pt x="71" y="109"/>
                  </a:cubicBezTo>
                  <a:cubicBezTo>
                    <a:pt x="71" y="108"/>
                    <a:pt x="72" y="107"/>
                    <a:pt x="73" y="106"/>
                  </a:cubicBezTo>
                  <a:cubicBezTo>
                    <a:pt x="68" y="104"/>
                    <a:pt x="65" y="99"/>
                    <a:pt x="62" y="96"/>
                  </a:cubicBezTo>
                  <a:cubicBezTo>
                    <a:pt x="59" y="93"/>
                    <a:pt x="56" y="91"/>
                    <a:pt x="52" y="88"/>
                  </a:cubicBezTo>
                  <a:cubicBezTo>
                    <a:pt x="51" y="88"/>
                    <a:pt x="50" y="87"/>
                    <a:pt x="49" y="86"/>
                  </a:cubicBezTo>
                  <a:cubicBezTo>
                    <a:pt x="47" y="91"/>
                    <a:pt x="44" y="95"/>
                    <a:pt x="41" y="98"/>
                  </a:cubicBezTo>
                  <a:cubicBezTo>
                    <a:pt x="41" y="98"/>
                    <a:pt x="41" y="98"/>
                    <a:pt x="41" y="98"/>
                  </a:cubicBezTo>
                  <a:cubicBezTo>
                    <a:pt x="44" y="100"/>
                    <a:pt x="47" y="104"/>
                    <a:pt x="49" y="107"/>
                  </a:cubicBezTo>
                  <a:cubicBezTo>
                    <a:pt x="52" y="112"/>
                    <a:pt x="54" y="118"/>
                    <a:pt x="56" y="123"/>
                  </a:cubicBezTo>
                  <a:cubicBezTo>
                    <a:pt x="62" y="119"/>
                    <a:pt x="67" y="114"/>
                    <a:pt x="71" y="10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îŝlíḋê"/>
            <p:cNvSpPr/>
            <p:nvPr/>
          </p:nvSpPr>
          <p:spPr bwMode="auto">
            <a:xfrm>
              <a:off x="5237481" y="3447462"/>
              <a:ext cx="653790" cy="836715"/>
            </a:xfrm>
            <a:custGeom>
              <a:avLst/>
              <a:gdLst>
                <a:gd name="T0" fmla="*/ 1 w 93"/>
                <a:gd name="T1" fmla="*/ 117 h 119"/>
                <a:gd name="T2" fmla="*/ 1 w 93"/>
                <a:gd name="T3" fmla="*/ 117 h 119"/>
                <a:gd name="T4" fmla="*/ 1 w 93"/>
                <a:gd name="T5" fmla="*/ 119 h 119"/>
                <a:gd name="T6" fmla="*/ 9 w 93"/>
                <a:gd name="T7" fmla="*/ 117 h 119"/>
                <a:gd name="T8" fmla="*/ 20 w 93"/>
                <a:gd name="T9" fmla="*/ 114 h 119"/>
                <a:gd name="T10" fmla="*/ 38 w 93"/>
                <a:gd name="T11" fmla="*/ 108 h 119"/>
                <a:gd name="T12" fmla="*/ 47 w 93"/>
                <a:gd name="T13" fmla="*/ 103 h 119"/>
                <a:gd name="T14" fmla="*/ 40 w 93"/>
                <a:gd name="T15" fmla="*/ 92 h 119"/>
                <a:gd name="T16" fmla="*/ 24 w 93"/>
                <a:gd name="T17" fmla="*/ 101 h 119"/>
                <a:gd name="T18" fmla="*/ 26 w 93"/>
                <a:gd name="T19" fmla="*/ 108 h 119"/>
                <a:gd name="T20" fmla="*/ 21 w 93"/>
                <a:gd name="T21" fmla="*/ 111 h 119"/>
                <a:gd name="T22" fmla="*/ 18 w 93"/>
                <a:gd name="T23" fmla="*/ 103 h 119"/>
                <a:gd name="T24" fmla="*/ 12 w 93"/>
                <a:gd name="T25" fmla="*/ 105 h 119"/>
                <a:gd name="T26" fmla="*/ 0 w 93"/>
                <a:gd name="T27" fmla="*/ 110 h 119"/>
                <a:gd name="T28" fmla="*/ 1 w 93"/>
                <a:gd name="T29" fmla="*/ 117 h 119"/>
                <a:gd name="T30" fmla="*/ 45 w 93"/>
                <a:gd name="T31" fmla="*/ 88 h 119"/>
                <a:gd name="T32" fmla="*/ 54 w 93"/>
                <a:gd name="T33" fmla="*/ 71 h 119"/>
                <a:gd name="T34" fmla="*/ 57 w 93"/>
                <a:gd name="T35" fmla="*/ 74 h 119"/>
                <a:gd name="T36" fmla="*/ 68 w 93"/>
                <a:gd name="T37" fmla="*/ 84 h 119"/>
                <a:gd name="T38" fmla="*/ 66 w 93"/>
                <a:gd name="T39" fmla="*/ 87 h 119"/>
                <a:gd name="T40" fmla="*/ 66 w 93"/>
                <a:gd name="T41" fmla="*/ 87 h 119"/>
                <a:gd name="T42" fmla="*/ 51 w 93"/>
                <a:gd name="T43" fmla="*/ 101 h 119"/>
                <a:gd name="T44" fmla="*/ 45 w 93"/>
                <a:gd name="T45" fmla="*/ 88 h 119"/>
                <a:gd name="T46" fmla="*/ 56 w 93"/>
                <a:gd name="T47" fmla="*/ 65 h 119"/>
                <a:gd name="T48" fmla="*/ 61 w 93"/>
                <a:gd name="T49" fmla="*/ 42 h 119"/>
                <a:gd name="T50" fmla="*/ 67 w 93"/>
                <a:gd name="T51" fmla="*/ 47 h 119"/>
                <a:gd name="T52" fmla="*/ 76 w 93"/>
                <a:gd name="T53" fmla="*/ 55 h 119"/>
                <a:gd name="T54" fmla="*/ 76 w 93"/>
                <a:gd name="T55" fmla="*/ 55 h 119"/>
                <a:gd name="T56" fmla="*/ 69 w 93"/>
                <a:gd name="T57" fmla="*/ 81 h 119"/>
                <a:gd name="T58" fmla="*/ 64 w 93"/>
                <a:gd name="T59" fmla="*/ 74 h 119"/>
                <a:gd name="T60" fmla="*/ 59 w 93"/>
                <a:gd name="T61" fmla="*/ 67 h 119"/>
                <a:gd name="T62" fmla="*/ 56 w 93"/>
                <a:gd name="T63" fmla="*/ 65 h 119"/>
                <a:gd name="T64" fmla="*/ 63 w 93"/>
                <a:gd name="T65" fmla="*/ 35 h 119"/>
                <a:gd name="T66" fmla="*/ 74 w 93"/>
                <a:gd name="T67" fmla="*/ 17 h 119"/>
                <a:gd name="T68" fmla="*/ 75 w 93"/>
                <a:gd name="T69" fmla="*/ 18 h 119"/>
                <a:gd name="T70" fmla="*/ 85 w 93"/>
                <a:gd name="T71" fmla="*/ 29 h 119"/>
                <a:gd name="T72" fmla="*/ 77 w 93"/>
                <a:gd name="T73" fmla="*/ 49 h 119"/>
                <a:gd name="T74" fmla="*/ 68 w 93"/>
                <a:gd name="T75" fmla="*/ 40 h 119"/>
                <a:gd name="T76" fmla="*/ 63 w 93"/>
                <a:gd name="T77" fmla="*/ 35 h 119"/>
                <a:gd name="T78" fmla="*/ 78 w 93"/>
                <a:gd name="T79" fmla="*/ 12 h 119"/>
                <a:gd name="T80" fmla="*/ 87 w 93"/>
                <a:gd name="T81" fmla="*/ 5 h 119"/>
                <a:gd name="T82" fmla="*/ 93 w 93"/>
                <a:gd name="T83" fmla="*/ 14 h 119"/>
                <a:gd name="T84" fmla="*/ 93 w 93"/>
                <a:gd name="T85" fmla="*/ 15 h 119"/>
                <a:gd name="T86" fmla="*/ 93 w 93"/>
                <a:gd name="T87" fmla="*/ 20 h 119"/>
                <a:gd name="T88" fmla="*/ 93 w 93"/>
                <a:gd name="T89" fmla="*/ 20 h 119"/>
                <a:gd name="T90" fmla="*/ 88 w 93"/>
                <a:gd name="T91" fmla="*/ 24 h 119"/>
                <a:gd name="T92" fmla="*/ 78 w 93"/>
                <a:gd name="T93" fmla="*/ 12 h 119"/>
                <a:gd name="T94" fmla="*/ 92 w 93"/>
                <a:gd name="T95" fmla="*/ 1 h 119"/>
                <a:gd name="T96" fmla="*/ 93 w 93"/>
                <a:gd name="T97" fmla="*/ 0 h 119"/>
                <a:gd name="T98" fmla="*/ 93 w 93"/>
                <a:gd name="T99" fmla="*/ 3 h 119"/>
                <a:gd name="T100" fmla="*/ 92 w 93"/>
                <a:gd name="T101" fmla="*/ 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3" h="119">
                  <a:moveTo>
                    <a:pt x="1" y="117"/>
                  </a:moveTo>
                  <a:cubicBezTo>
                    <a:pt x="1" y="117"/>
                    <a:pt x="1" y="117"/>
                    <a:pt x="1" y="117"/>
                  </a:cubicBezTo>
                  <a:cubicBezTo>
                    <a:pt x="1" y="118"/>
                    <a:pt x="1" y="118"/>
                    <a:pt x="1" y="119"/>
                  </a:cubicBezTo>
                  <a:cubicBezTo>
                    <a:pt x="3" y="118"/>
                    <a:pt x="6" y="117"/>
                    <a:pt x="9" y="117"/>
                  </a:cubicBezTo>
                  <a:cubicBezTo>
                    <a:pt x="13" y="116"/>
                    <a:pt x="17" y="115"/>
                    <a:pt x="20" y="114"/>
                  </a:cubicBezTo>
                  <a:cubicBezTo>
                    <a:pt x="27" y="113"/>
                    <a:pt x="32" y="111"/>
                    <a:pt x="38" y="108"/>
                  </a:cubicBezTo>
                  <a:cubicBezTo>
                    <a:pt x="41" y="107"/>
                    <a:pt x="44" y="105"/>
                    <a:pt x="47" y="103"/>
                  </a:cubicBezTo>
                  <a:cubicBezTo>
                    <a:pt x="45" y="99"/>
                    <a:pt x="43" y="95"/>
                    <a:pt x="40" y="92"/>
                  </a:cubicBezTo>
                  <a:cubicBezTo>
                    <a:pt x="36" y="94"/>
                    <a:pt x="31" y="97"/>
                    <a:pt x="24" y="101"/>
                  </a:cubicBezTo>
                  <a:cubicBezTo>
                    <a:pt x="24" y="103"/>
                    <a:pt x="25" y="106"/>
                    <a:pt x="26" y="108"/>
                  </a:cubicBezTo>
                  <a:cubicBezTo>
                    <a:pt x="27" y="111"/>
                    <a:pt x="22" y="113"/>
                    <a:pt x="21" y="111"/>
                  </a:cubicBezTo>
                  <a:cubicBezTo>
                    <a:pt x="20" y="108"/>
                    <a:pt x="19" y="106"/>
                    <a:pt x="18" y="103"/>
                  </a:cubicBezTo>
                  <a:cubicBezTo>
                    <a:pt x="16" y="104"/>
                    <a:pt x="14" y="105"/>
                    <a:pt x="12" y="105"/>
                  </a:cubicBezTo>
                  <a:cubicBezTo>
                    <a:pt x="8" y="107"/>
                    <a:pt x="4" y="108"/>
                    <a:pt x="0" y="110"/>
                  </a:cubicBezTo>
                  <a:cubicBezTo>
                    <a:pt x="0" y="112"/>
                    <a:pt x="0" y="114"/>
                    <a:pt x="1" y="117"/>
                  </a:cubicBezTo>
                  <a:close/>
                  <a:moveTo>
                    <a:pt x="45" y="88"/>
                  </a:moveTo>
                  <a:cubicBezTo>
                    <a:pt x="50" y="83"/>
                    <a:pt x="53" y="77"/>
                    <a:pt x="54" y="71"/>
                  </a:cubicBezTo>
                  <a:cubicBezTo>
                    <a:pt x="55" y="72"/>
                    <a:pt x="56" y="73"/>
                    <a:pt x="57" y="74"/>
                  </a:cubicBezTo>
                  <a:cubicBezTo>
                    <a:pt x="60" y="77"/>
                    <a:pt x="63" y="82"/>
                    <a:pt x="68" y="84"/>
                  </a:cubicBezTo>
                  <a:cubicBezTo>
                    <a:pt x="67" y="85"/>
                    <a:pt x="66" y="86"/>
                    <a:pt x="66" y="87"/>
                  </a:cubicBezTo>
                  <a:cubicBezTo>
                    <a:pt x="66" y="87"/>
                    <a:pt x="66" y="87"/>
                    <a:pt x="66" y="87"/>
                  </a:cubicBezTo>
                  <a:cubicBezTo>
                    <a:pt x="62" y="92"/>
                    <a:pt x="57" y="97"/>
                    <a:pt x="51" y="101"/>
                  </a:cubicBezTo>
                  <a:cubicBezTo>
                    <a:pt x="49" y="96"/>
                    <a:pt x="47" y="92"/>
                    <a:pt x="45" y="88"/>
                  </a:cubicBezTo>
                  <a:close/>
                  <a:moveTo>
                    <a:pt x="56" y="65"/>
                  </a:moveTo>
                  <a:cubicBezTo>
                    <a:pt x="57" y="58"/>
                    <a:pt x="58" y="51"/>
                    <a:pt x="61" y="42"/>
                  </a:cubicBezTo>
                  <a:cubicBezTo>
                    <a:pt x="63" y="44"/>
                    <a:pt x="65" y="45"/>
                    <a:pt x="67" y="47"/>
                  </a:cubicBezTo>
                  <a:cubicBezTo>
                    <a:pt x="69" y="50"/>
                    <a:pt x="73" y="53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4" y="64"/>
                    <a:pt x="73" y="73"/>
                    <a:pt x="69" y="81"/>
                  </a:cubicBezTo>
                  <a:cubicBezTo>
                    <a:pt x="67" y="79"/>
                    <a:pt x="65" y="76"/>
                    <a:pt x="64" y="74"/>
                  </a:cubicBezTo>
                  <a:cubicBezTo>
                    <a:pt x="62" y="71"/>
                    <a:pt x="61" y="69"/>
                    <a:pt x="59" y="67"/>
                  </a:cubicBezTo>
                  <a:cubicBezTo>
                    <a:pt x="58" y="66"/>
                    <a:pt x="57" y="65"/>
                    <a:pt x="56" y="65"/>
                  </a:cubicBezTo>
                  <a:close/>
                  <a:moveTo>
                    <a:pt x="63" y="35"/>
                  </a:moveTo>
                  <a:cubicBezTo>
                    <a:pt x="66" y="28"/>
                    <a:pt x="70" y="22"/>
                    <a:pt x="74" y="17"/>
                  </a:cubicBezTo>
                  <a:cubicBezTo>
                    <a:pt x="74" y="17"/>
                    <a:pt x="74" y="18"/>
                    <a:pt x="75" y="18"/>
                  </a:cubicBezTo>
                  <a:cubicBezTo>
                    <a:pt x="78" y="22"/>
                    <a:pt x="81" y="25"/>
                    <a:pt x="85" y="29"/>
                  </a:cubicBezTo>
                  <a:cubicBezTo>
                    <a:pt x="81" y="35"/>
                    <a:pt x="79" y="42"/>
                    <a:pt x="77" y="49"/>
                  </a:cubicBezTo>
                  <a:cubicBezTo>
                    <a:pt x="74" y="46"/>
                    <a:pt x="71" y="43"/>
                    <a:pt x="68" y="40"/>
                  </a:cubicBezTo>
                  <a:cubicBezTo>
                    <a:pt x="67" y="39"/>
                    <a:pt x="65" y="37"/>
                    <a:pt x="63" y="35"/>
                  </a:cubicBezTo>
                  <a:close/>
                  <a:moveTo>
                    <a:pt x="78" y="12"/>
                  </a:moveTo>
                  <a:cubicBezTo>
                    <a:pt x="81" y="9"/>
                    <a:pt x="84" y="7"/>
                    <a:pt x="87" y="5"/>
                  </a:cubicBezTo>
                  <a:cubicBezTo>
                    <a:pt x="89" y="7"/>
                    <a:pt x="91" y="10"/>
                    <a:pt x="93" y="14"/>
                  </a:cubicBezTo>
                  <a:cubicBezTo>
                    <a:pt x="93" y="14"/>
                    <a:pt x="93" y="15"/>
                    <a:pt x="93" y="15"/>
                  </a:cubicBezTo>
                  <a:cubicBezTo>
                    <a:pt x="93" y="17"/>
                    <a:pt x="93" y="19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1" y="22"/>
                    <a:pt x="90" y="23"/>
                    <a:pt x="88" y="24"/>
                  </a:cubicBezTo>
                  <a:cubicBezTo>
                    <a:pt x="85" y="21"/>
                    <a:pt x="82" y="16"/>
                    <a:pt x="78" y="12"/>
                  </a:cubicBezTo>
                  <a:close/>
                  <a:moveTo>
                    <a:pt x="92" y="1"/>
                  </a:moveTo>
                  <a:cubicBezTo>
                    <a:pt x="92" y="1"/>
                    <a:pt x="93" y="0"/>
                    <a:pt x="93" y="0"/>
                  </a:cubicBezTo>
                  <a:cubicBezTo>
                    <a:pt x="93" y="1"/>
                    <a:pt x="93" y="2"/>
                    <a:pt x="93" y="3"/>
                  </a:cubicBezTo>
                  <a:cubicBezTo>
                    <a:pt x="93" y="3"/>
                    <a:pt x="92" y="2"/>
                    <a:pt x="92" y="1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i$1íḑe"/>
            <p:cNvSpPr/>
            <p:nvPr/>
          </p:nvSpPr>
          <p:spPr bwMode="auto">
            <a:xfrm>
              <a:off x="6843160" y="3342449"/>
              <a:ext cx="667340" cy="1412592"/>
            </a:xfrm>
            <a:custGeom>
              <a:avLst/>
              <a:gdLst>
                <a:gd name="T0" fmla="*/ 11 w 95"/>
                <a:gd name="T1" fmla="*/ 47 h 201"/>
                <a:gd name="T2" fmla="*/ 39 w 95"/>
                <a:gd name="T3" fmla="*/ 30 h 201"/>
                <a:gd name="T4" fmla="*/ 18 w 95"/>
                <a:gd name="T5" fmla="*/ 11 h 201"/>
                <a:gd name="T6" fmla="*/ 3 w 95"/>
                <a:gd name="T7" fmla="*/ 29 h 201"/>
                <a:gd name="T8" fmla="*/ 0 w 95"/>
                <a:gd name="T9" fmla="*/ 40 h 201"/>
                <a:gd name="T10" fmla="*/ 0 w 95"/>
                <a:gd name="T11" fmla="*/ 0 h 201"/>
                <a:gd name="T12" fmla="*/ 1 w 95"/>
                <a:gd name="T13" fmla="*/ 21 h 201"/>
                <a:gd name="T14" fmla="*/ 13 w 95"/>
                <a:gd name="T15" fmla="*/ 8 h 201"/>
                <a:gd name="T16" fmla="*/ 62 w 95"/>
                <a:gd name="T17" fmla="*/ 60 h 201"/>
                <a:gd name="T18" fmla="*/ 44 w 95"/>
                <a:gd name="T19" fmla="*/ 73 h 201"/>
                <a:gd name="T20" fmla="*/ 42 w 95"/>
                <a:gd name="T21" fmla="*/ 93 h 201"/>
                <a:gd name="T22" fmla="*/ 73 w 95"/>
                <a:gd name="T23" fmla="*/ 84 h 201"/>
                <a:gd name="T24" fmla="*/ 69 w 95"/>
                <a:gd name="T25" fmla="*/ 73 h 201"/>
                <a:gd name="T26" fmla="*/ 86 w 95"/>
                <a:gd name="T27" fmla="*/ 119 h 201"/>
                <a:gd name="T28" fmla="*/ 81 w 95"/>
                <a:gd name="T29" fmla="*/ 119 h 201"/>
                <a:gd name="T30" fmla="*/ 61 w 95"/>
                <a:gd name="T31" fmla="*/ 122 h 201"/>
                <a:gd name="T32" fmla="*/ 57 w 95"/>
                <a:gd name="T33" fmla="*/ 140 h 201"/>
                <a:gd name="T34" fmla="*/ 92 w 95"/>
                <a:gd name="T35" fmla="*/ 139 h 201"/>
                <a:gd name="T36" fmla="*/ 94 w 95"/>
                <a:gd name="T37" fmla="*/ 148 h 201"/>
                <a:gd name="T38" fmla="*/ 93 w 95"/>
                <a:gd name="T39" fmla="*/ 147 h 201"/>
                <a:gd name="T40" fmla="*/ 85 w 95"/>
                <a:gd name="T41" fmla="*/ 146 h 201"/>
                <a:gd name="T42" fmla="*/ 58 w 95"/>
                <a:gd name="T43" fmla="*/ 147 h 201"/>
                <a:gd name="T44" fmla="*/ 79 w 95"/>
                <a:gd name="T45" fmla="*/ 162 h 201"/>
                <a:gd name="T46" fmla="*/ 95 w 95"/>
                <a:gd name="T47" fmla="*/ 168 h 201"/>
                <a:gd name="T48" fmla="*/ 92 w 95"/>
                <a:gd name="T49" fmla="*/ 187 h 201"/>
                <a:gd name="T50" fmla="*/ 94 w 95"/>
                <a:gd name="T51" fmla="*/ 174 h 201"/>
                <a:gd name="T52" fmla="*/ 78 w 95"/>
                <a:gd name="T53" fmla="*/ 168 h 201"/>
                <a:gd name="T54" fmla="*/ 60 w 95"/>
                <a:gd name="T55" fmla="*/ 171 h 201"/>
                <a:gd name="T56" fmla="*/ 65 w 95"/>
                <a:gd name="T57" fmla="*/ 174 h 201"/>
                <a:gd name="T58" fmla="*/ 92 w 95"/>
                <a:gd name="T59" fmla="*/ 187 h 201"/>
                <a:gd name="T60" fmla="*/ 58 w 95"/>
                <a:gd name="T61" fmla="*/ 186 h 201"/>
                <a:gd name="T62" fmla="*/ 83 w 95"/>
                <a:gd name="T63" fmla="*/ 198 h 201"/>
                <a:gd name="T64" fmla="*/ 91 w 95"/>
                <a:gd name="T65" fmla="*/ 193 h 201"/>
                <a:gd name="T66" fmla="*/ 74 w 95"/>
                <a:gd name="T67" fmla="*/ 185 h 201"/>
                <a:gd name="T68" fmla="*/ 59 w 95"/>
                <a:gd name="T69" fmla="*/ 181 h 201"/>
                <a:gd name="T70" fmla="*/ 58 w 95"/>
                <a:gd name="T71" fmla="*/ 186 h 201"/>
                <a:gd name="T72" fmla="*/ 46 w 95"/>
                <a:gd name="T73" fmla="*/ 101 h 201"/>
                <a:gd name="T74" fmla="*/ 59 w 95"/>
                <a:gd name="T75" fmla="*/ 115 h 201"/>
                <a:gd name="T76" fmla="*/ 84 w 95"/>
                <a:gd name="T77" fmla="*/ 114 h 201"/>
                <a:gd name="T78" fmla="*/ 75 w 95"/>
                <a:gd name="T79" fmla="*/ 88 h 201"/>
                <a:gd name="T80" fmla="*/ 55 w 95"/>
                <a:gd name="T81" fmla="*/ 95 h 201"/>
                <a:gd name="T82" fmla="*/ 45 w 95"/>
                <a:gd name="T83" fmla="*/ 100 h 201"/>
                <a:gd name="T84" fmla="*/ 31 w 95"/>
                <a:gd name="T85" fmla="*/ 72 h 201"/>
                <a:gd name="T86" fmla="*/ 44 w 95"/>
                <a:gd name="T87" fmla="*/ 65 h 201"/>
                <a:gd name="T88" fmla="*/ 43 w 95"/>
                <a:gd name="T89" fmla="*/ 33 h 201"/>
                <a:gd name="T90" fmla="*/ 21 w 95"/>
                <a:gd name="T91" fmla="*/ 57 h 201"/>
                <a:gd name="T92" fmla="*/ 31 w 95"/>
                <a:gd name="T93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201">
                  <a:moveTo>
                    <a:pt x="11" y="47"/>
                  </a:moveTo>
                  <a:cubicBezTo>
                    <a:pt x="11" y="47"/>
                    <a:pt x="11" y="47"/>
                    <a:pt x="11" y="47"/>
                  </a:cubicBezTo>
                  <a:cubicBezTo>
                    <a:pt x="14" y="49"/>
                    <a:pt x="16" y="51"/>
                    <a:pt x="18" y="53"/>
                  </a:cubicBezTo>
                  <a:cubicBezTo>
                    <a:pt x="21" y="43"/>
                    <a:pt x="31" y="36"/>
                    <a:pt x="39" y="30"/>
                  </a:cubicBezTo>
                  <a:cubicBezTo>
                    <a:pt x="36" y="27"/>
                    <a:pt x="33" y="24"/>
                    <a:pt x="30" y="21"/>
                  </a:cubicBezTo>
                  <a:cubicBezTo>
                    <a:pt x="26" y="17"/>
                    <a:pt x="22" y="14"/>
                    <a:pt x="18" y="11"/>
                  </a:cubicBezTo>
                  <a:cubicBezTo>
                    <a:pt x="15" y="15"/>
                    <a:pt x="12" y="18"/>
                    <a:pt x="8" y="22"/>
                  </a:cubicBezTo>
                  <a:cubicBezTo>
                    <a:pt x="6" y="24"/>
                    <a:pt x="5" y="27"/>
                    <a:pt x="3" y="29"/>
                  </a:cubicBezTo>
                  <a:cubicBezTo>
                    <a:pt x="2" y="31"/>
                    <a:pt x="1" y="33"/>
                    <a:pt x="0" y="35"/>
                  </a:cubicBezTo>
                  <a:cubicBezTo>
                    <a:pt x="0" y="37"/>
                    <a:pt x="0" y="38"/>
                    <a:pt x="0" y="40"/>
                  </a:cubicBezTo>
                  <a:cubicBezTo>
                    <a:pt x="4" y="42"/>
                    <a:pt x="8" y="45"/>
                    <a:pt x="11" y="47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2" y="14"/>
                    <a:pt x="1" y="21"/>
                  </a:cubicBezTo>
                  <a:cubicBezTo>
                    <a:pt x="2" y="20"/>
                    <a:pt x="3" y="19"/>
                    <a:pt x="3" y="18"/>
                  </a:cubicBezTo>
                  <a:cubicBezTo>
                    <a:pt x="6" y="15"/>
                    <a:pt x="10" y="11"/>
                    <a:pt x="13" y="8"/>
                  </a:cubicBezTo>
                  <a:cubicBezTo>
                    <a:pt x="9" y="5"/>
                    <a:pt x="5" y="2"/>
                    <a:pt x="0" y="0"/>
                  </a:cubicBezTo>
                  <a:close/>
                  <a:moveTo>
                    <a:pt x="62" y="60"/>
                  </a:moveTo>
                  <a:cubicBezTo>
                    <a:pt x="62" y="60"/>
                    <a:pt x="62" y="60"/>
                    <a:pt x="62" y="60"/>
                  </a:cubicBezTo>
                  <a:cubicBezTo>
                    <a:pt x="56" y="64"/>
                    <a:pt x="50" y="69"/>
                    <a:pt x="44" y="73"/>
                  </a:cubicBezTo>
                  <a:cubicBezTo>
                    <a:pt x="41" y="74"/>
                    <a:pt x="38" y="76"/>
                    <a:pt x="35" y="78"/>
                  </a:cubicBezTo>
                  <a:cubicBezTo>
                    <a:pt x="38" y="83"/>
                    <a:pt x="40" y="88"/>
                    <a:pt x="42" y="93"/>
                  </a:cubicBezTo>
                  <a:cubicBezTo>
                    <a:pt x="45" y="92"/>
                    <a:pt x="48" y="90"/>
                    <a:pt x="50" y="90"/>
                  </a:cubicBezTo>
                  <a:cubicBezTo>
                    <a:pt x="57" y="87"/>
                    <a:pt x="65" y="86"/>
                    <a:pt x="73" y="84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72" y="80"/>
                    <a:pt x="70" y="77"/>
                    <a:pt x="69" y="73"/>
                  </a:cubicBezTo>
                  <a:cubicBezTo>
                    <a:pt x="67" y="68"/>
                    <a:pt x="65" y="64"/>
                    <a:pt x="62" y="60"/>
                  </a:cubicBezTo>
                  <a:close/>
                  <a:moveTo>
                    <a:pt x="86" y="119"/>
                  </a:moveTo>
                  <a:cubicBezTo>
                    <a:pt x="86" y="119"/>
                    <a:pt x="86" y="119"/>
                    <a:pt x="86" y="119"/>
                  </a:cubicBezTo>
                  <a:cubicBezTo>
                    <a:pt x="84" y="119"/>
                    <a:pt x="83" y="119"/>
                    <a:pt x="81" y="119"/>
                  </a:cubicBezTo>
                  <a:cubicBezTo>
                    <a:pt x="78" y="119"/>
                    <a:pt x="76" y="120"/>
                    <a:pt x="73" y="120"/>
                  </a:cubicBezTo>
                  <a:cubicBezTo>
                    <a:pt x="69" y="120"/>
                    <a:pt x="65" y="121"/>
                    <a:pt x="61" y="122"/>
                  </a:cubicBezTo>
                  <a:cubicBezTo>
                    <a:pt x="59" y="123"/>
                    <a:pt x="56" y="124"/>
                    <a:pt x="54" y="124"/>
                  </a:cubicBezTo>
                  <a:cubicBezTo>
                    <a:pt x="55" y="129"/>
                    <a:pt x="56" y="134"/>
                    <a:pt x="57" y="140"/>
                  </a:cubicBezTo>
                  <a:cubicBezTo>
                    <a:pt x="67" y="138"/>
                    <a:pt x="84" y="138"/>
                    <a:pt x="92" y="141"/>
                  </a:cubicBezTo>
                  <a:cubicBezTo>
                    <a:pt x="92" y="140"/>
                    <a:pt x="92" y="140"/>
                    <a:pt x="92" y="139"/>
                  </a:cubicBezTo>
                  <a:cubicBezTo>
                    <a:pt x="90" y="132"/>
                    <a:pt x="88" y="126"/>
                    <a:pt x="86" y="119"/>
                  </a:cubicBezTo>
                  <a:close/>
                  <a:moveTo>
                    <a:pt x="94" y="148"/>
                  </a:moveTo>
                  <a:cubicBezTo>
                    <a:pt x="94" y="148"/>
                    <a:pt x="94" y="148"/>
                    <a:pt x="94" y="148"/>
                  </a:cubicBezTo>
                  <a:cubicBezTo>
                    <a:pt x="93" y="148"/>
                    <a:pt x="93" y="148"/>
                    <a:pt x="93" y="147"/>
                  </a:cubicBezTo>
                  <a:cubicBezTo>
                    <a:pt x="93" y="147"/>
                    <a:pt x="91" y="147"/>
                    <a:pt x="91" y="146"/>
                  </a:cubicBezTo>
                  <a:cubicBezTo>
                    <a:pt x="89" y="146"/>
                    <a:pt x="87" y="146"/>
                    <a:pt x="85" y="146"/>
                  </a:cubicBezTo>
                  <a:cubicBezTo>
                    <a:pt x="80" y="146"/>
                    <a:pt x="75" y="146"/>
                    <a:pt x="70" y="146"/>
                  </a:cubicBezTo>
                  <a:cubicBezTo>
                    <a:pt x="66" y="147"/>
                    <a:pt x="62" y="147"/>
                    <a:pt x="58" y="147"/>
                  </a:cubicBezTo>
                  <a:cubicBezTo>
                    <a:pt x="59" y="152"/>
                    <a:pt x="59" y="156"/>
                    <a:pt x="60" y="160"/>
                  </a:cubicBezTo>
                  <a:cubicBezTo>
                    <a:pt x="66" y="160"/>
                    <a:pt x="72" y="161"/>
                    <a:pt x="79" y="162"/>
                  </a:cubicBezTo>
                  <a:cubicBezTo>
                    <a:pt x="82" y="162"/>
                    <a:pt x="85" y="163"/>
                    <a:pt x="89" y="164"/>
                  </a:cubicBezTo>
                  <a:cubicBezTo>
                    <a:pt x="91" y="165"/>
                    <a:pt x="93" y="167"/>
                    <a:pt x="95" y="168"/>
                  </a:cubicBezTo>
                  <a:cubicBezTo>
                    <a:pt x="95" y="161"/>
                    <a:pt x="95" y="155"/>
                    <a:pt x="94" y="148"/>
                  </a:cubicBezTo>
                  <a:close/>
                  <a:moveTo>
                    <a:pt x="92" y="187"/>
                  </a:moveTo>
                  <a:cubicBezTo>
                    <a:pt x="92" y="187"/>
                    <a:pt x="92" y="187"/>
                    <a:pt x="92" y="187"/>
                  </a:cubicBezTo>
                  <a:cubicBezTo>
                    <a:pt x="93" y="183"/>
                    <a:pt x="94" y="179"/>
                    <a:pt x="94" y="174"/>
                  </a:cubicBezTo>
                  <a:cubicBezTo>
                    <a:pt x="94" y="174"/>
                    <a:pt x="94" y="174"/>
                    <a:pt x="94" y="173"/>
                  </a:cubicBezTo>
                  <a:cubicBezTo>
                    <a:pt x="89" y="171"/>
                    <a:pt x="84" y="169"/>
                    <a:pt x="78" y="168"/>
                  </a:cubicBezTo>
                  <a:cubicBezTo>
                    <a:pt x="72" y="167"/>
                    <a:pt x="65" y="167"/>
                    <a:pt x="60" y="165"/>
                  </a:cubicBezTo>
                  <a:cubicBezTo>
                    <a:pt x="60" y="167"/>
                    <a:pt x="60" y="169"/>
                    <a:pt x="60" y="171"/>
                  </a:cubicBezTo>
                  <a:cubicBezTo>
                    <a:pt x="60" y="172"/>
                    <a:pt x="60" y="173"/>
                    <a:pt x="60" y="173"/>
                  </a:cubicBezTo>
                  <a:cubicBezTo>
                    <a:pt x="62" y="174"/>
                    <a:pt x="64" y="174"/>
                    <a:pt x="65" y="174"/>
                  </a:cubicBezTo>
                  <a:cubicBezTo>
                    <a:pt x="70" y="174"/>
                    <a:pt x="75" y="176"/>
                    <a:pt x="79" y="179"/>
                  </a:cubicBezTo>
                  <a:cubicBezTo>
                    <a:pt x="83" y="183"/>
                    <a:pt x="88" y="184"/>
                    <a:pt x="92" y="187"/>
                  </a:cubicBezTo>
                  <a:close/>
                  <a:moveTo>
                    <a:pt x="58" y="186"/>
                  </a:moveTo>
                  <a:cubicBezTo>
                    <a:pt x="58" y="186"/>
                    <a:pt x="58" y="186"/>
                    <a:pt x="58" y="186"/>
                  </a:cubicBezTo>
                  <a:cubicBezTo>
                    <a:pt x="62" y="188"/>
                    <a:pt x="66" y="189"/>
                    <a:pt x="70" y="191"/>
                  </a:cubicBezTo>
                  <a:cubicBezTo>
                    <a:pt x="74" y="193"/>
                    <a:pt x="78" y="196"/>
                    <a:pt x="83" y="198"/>
                  </a:cubicBezTo>
                  <a:cubicBezTo>
                    <a:pt x="85" y="199"/>
                    <a:pt x="87" y="200"/>
                    <a:pt x="89" y="201"/>
                  </a:cubicBezTo>
                  <a:cubicBezTo>
                    <a:pt x="90" y="199"/>
                    <a:pt x="90" y="196"/>
                    <a:pt x="91" y="193"/>
                  </a:cubicBezTo>
                  <a:cubicBezTo>
                    <a:pt x="89" y="192"/>
                    <a:pt x="87" y="192"/>
                    <a:pt x="85" y="191"/>
                  </a:cubicBezTo>
                  <a:cubicBezTo>
                    <a:pt x="81" y="189"/>
                    <a:pt x="77" y="188"/>
                    <a:pt x="74" y="185"/>
                  </a:cubicBezTo>
                  <a:cubicBezTo>
                    <a:pt x="70" y="182"/>
                    <a:pt x="66" y="181"/>
                    <a:pt x="61" y="181"/>
                  </a:cubicBezTo>
                  <a:cubicBezTo>
                    <a:pt x="60" y="181"/>
                    <a:pt x="59" y="181"/>
                    <a:pt x="59" y="181"/>
                  </a:cubicBezTo>
                  <a:cubicBezTo>
                    <a:pt x="58" y="183"/>
                    <a:pt x="58" y="185"/>
                    <a:pt x="57" y="186"/>
                  </a:cubicBezTo>
                  <a:cubicBezTo>
                    <a:pt x="57" y="186"/>
                    <a:pt x="57" y="186"/>
                    <a:pt x="58" y="186"/>
                  </a:cubicBezTo>
                  <a:close/>
                  <a:moveTo>
                    <a:pt x="46" y="101"/>
                  </a:moveTo>
                  <a:cubicBezTo>
                    <a:pt x="46" y="101"/>
                    <a:pt x="46" y="101"/>
                    <a:pt x="46" y="101"/>
                  </a:cubicBezTo>
                  <a:cubicBezTo>
                    <a:pt x="48" y="107"/>
                    <a:pt x="50" y="112"/>
                    <a:pt x="52" y="118"/>
                  </a:cubicBezTo>
                  <a:cubicBezTo>
                    <a:pt x="54" y="117"/>
                    <a:pt x="57" y="116"/>
                    <a:pt x="59" y="115"/>
                  </a:cubicBezTo>
                  <a:cubicBezTo>
                    <a:pt x="64" y="114"/>
                    <a:pt x="68" y="114"/>
                    <a:pt x="73" y="113"/>
                  </a:cubicBezTo>
                  <a:cubicBezTo>
                    <a:pt x="77" y="113"/>
                    <a:pt x="81" y="113"/>
                    <a:pt x="84" y="114"/>
                  </a:cubicBezTo>
                  <a:cubicBezTo>
                    <a:pt x="83" y="111"/>
                    <a:pt x="82" y="108"/>
                    <a:pt x="81" y="104"/>
                  </a:cubicBezTo>
                  <a:cubicBezTo>
                    <a:pt x="79" y="99"/>
                    <a:pt x="77" y="94"/>
                    <a:pt x="75" y="88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68" y="90"/>
                    <a:pt x="61" y="92"/>
                    <a:pt x="55" y="95"/>
                  </a:cubicBezTo>
                  <a:cubicBezTo>
                    <a:pt x="52" y="96"/>
                    <a:pt x="49" y="98"/>
                    <a:pt x="45" y="99"/>
                  </a:cubicBezTo>
                  <a:cubicBezTo>
                    <a:pt x="45" y="99"/>
                    <a:pt x="45" y="100"/>
                    <a:pt x="45" y="100"/>
                  </a:cubicBezTo>
                  <a:cubicBezTo>
                    <a:pt x="45" y="100"/>
                    <a:pt x="45" y="101"/>
                    <a:pt x="46" y="101"/>
                  </a:cubicBezTo>
                  <a:close/>
                  <a:moveTo>
                    <a:pt x="31" y="72"/>
                  </a:moveTo>
                  <a:cubicBezTo>
                    <a:pt x="31" y="72"/>
                    <a:pt x="31" y="72"/>
                    <a:pt x="31" y="72"/>
                  </a:cubicBezTo>
                  <a:cubicBezTo>
                    <a:pt x="35" y="69"/>
                    <a:pt x="40" y="67"/>
                    <a:pt x="44" y="65"/>
                  </a:cubicBezTo>
                  <a:cubicBezTo>
                    <a:pt x="49" y="61"/>
                    <a:pt x="54" y="58"/>
                    <a:pt x="60" y="56"/>
                  </a:cubicBezTo>
                  <a:cubicBezTo>
                    <a:pt x="55" y="48"/>
                    <a:pt x="49" y="40"/>
                    <a:pt x="43" y="33"/>
                  </a:cubicBezTo>
                  <a:cubicBezTo>
                    <a:pt x="39" y="37"/>
                    <a:pt x="35" y="41"/>
                    <a:pt x="31" y="45"/>
                  </a:cubicBezTo>
                  <a:cubicBezTo>
                    <a:pt x="27" y="48"/>
                    <a:pt x="25" y="53"/>
                    <a:pt x="21" y="57"/>
                  </a:cubicBezTo>
                  <a:cubicBezTo>
                    <a:pt x="23" y="59"/>
                    <a:pt x="24" y="60"/>
                    <a:pt x="25" y="62"/>
                  </a:cubicBezTo>
                  <a:cubicBezTo>
                    <a:pt x="27" y="65"/>
                    <a:pt x="30" y="68"/>
                    <a:pt x="31" y="72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śliḍè"/>
            <p:cNvSpPr/>
            <p:nvPr/>
          </p:nvSpPr>
          <p:spPr bwMode="auto">
            <a:xfrm>
              <a:off x="6843160" y="3477949"/>
              <a:ext cx="504740" cy="1209341"/>
            </a:xfrm>
            <a:custGeom>
              <a:avLst/>
              <a:gdLst>
                <a:gd name="T0" fmla="*/ 11 w 72"/>
                <a:gd name="T1" fmla="*/ 28 h 172"/>
                <a:gd name="T2" fmla="*/ 28 w 72"/>
                <a:gd name="T3" fmla="*/ 19 h 172"/>
                <a:gd name="T4" fmla="*/ 3 w 72"/>
                <a:gd name="T5" fmla="*/ 10 h 172"/>
                <a:gd name="T6" fmla="*/ 0 w 72"/>
                <a:gd name="T7" fmla="*/ 21 h 172"/>
                <a:gd name="T8" fmla="*/ 1 w 72"/>
                <a:gd name="T9" fmla="*/ 0 h 172"/>
                <a:gd name="T10" fmla="*/ 1 w 72"/>
                <a:gd name="T11" fmla="*/ 2 h 172"/>
                <a:gd name="T12" fmla="*/ 33 w 72"/>
                <a:gd name="T13" fmla="*/ 24 h 172"/>
                <a:gd name="T14" fmla="*/ 47 w 72"/>
                <a:gd name="T15" fmla="*/ 43 h 172"/>
                <a:gd name="T16" fmla="*/ 31 w 72"/>
                <a:gd name="T17" fmla="*/ 53 h 172"/>
                <a:gd name="T18" fmla="*/ 25 w 72"/>
                <a:gd name="T19" fmla="*/ 43 h 172"/>
                <a:gd name="T20" fmla="*/ 31 w 72"/>
                <a:gd name="T21" fmla="*/ 26 h 172"/>
                <a:gd name="T22" fmla="*/ 51 w 72"/>
                <a:gd name="T23" fmla="*/ 49 h 172"/>
                <a:gd name="T24" fmla="*/ 50 w 72"/>
                <a:gd name="T25" fmla="*/ 71 h 172"/>
                <a:gd name="T26" fmla="*/ 35 w 72"/>
                <a:gd name="T27" fmla="*/ 59 h 172"/>
                <a:gd name="T28" fmla="*/ 51 w 72"/>
                <a:gd name="T29" fmla="*/ 49 h 172"/>
                <a:gd name="T30" fmla="*/ 67 w 72"/>
                <a:gd name="T31" fmla="*/ 95 h 172"/>
                <a:gd name="T32" fmla="*/ 52 w 72"/>
                <a:gd name="T33" fmla="*/ 99 h 172"/>
                <a:gd name="T34" fmla="*/ 46 w 72"/>
                <a:gd name="T35" fmla="*/ 82 h 172"/>
                <a:gd name="T36" fmla="*/ 45 w 72"/>
                <a:gd name="T37" fmla="*/ 80 h 172"/>
                <a:gd name="T38" fmla="*/ 62 w 72"/>
                <a:gd name="T39" fmla="*/ 73 h 172"/>
                <a:gd name="T40" fmla="*/ 71 w 72"/>
                <a:gd name="T41" fmla="*/ 119 h 172"/>
                <a:gd name="T42" fmla="*/ 54 w 72"/>
                <a:gd name="T43" fmla="*/ 105 h 172"/>
                <a:gd name="T44" fmla="*/ 69 w 72"/>
                <a:gd name="T45" fmla="*/ 101 h 172"/>
                <a:gd name="T46" fmla="*/ 72 w 72"/>
                <a:gd name="T47" fmla="*/ 142 h 172"/>
                <a:gd name="T48" fmla="*/ 58 w 72"/>
                <a:gd name="T49" fmla="*/ 128 h 172"/>
                <a:gd name="T50" fmla="*/ 72 w 72"/>
                <a:gd name="T51" fmla="*/ 127 h 172"/>
                <a:gd name="T52" fmla="*/ 71 w 72"/>
                <a:gd name="T53" fmla="*/ 156 h 172"/>
                <a:gd name="T54" fmla="*/ 60 w 72"/>
                <a:gd name="T55" fmla="*/ 154 h 172"/>
                <a:gd name="T56" fmla="*/ 60 w 72"/>
                <a:gd name="T57" fmla="*/ 146 h 172"/>
                <a:gd name="T58" fmla="*/ 71 w 72"/>
                <a:gd name="T59" fmla="*/ 164 h 172"/>
                <a:gd name="T60" fmla="*/ 58 w 72"/>
                <a:gd name="T61" fmla="*/ 167 h 172"/>
                <a:gd name="T62" fmla="*/ 57 w 72"/>
                <a:gd name="T63" fmla="*/ 167 h 172"/>
                <a:gd name="T64" fmla="*/ 61 w 72"/>
                <a:gd name="T65" fmla="*/ 16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72">
                  <a:moveTo>
                    <a:pt x="11" y="28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4" y="30"/>
                    <a:pt x="16" y="32"/>
                    <a:pt x="18" y="34"/>
                  </a:cubicBezTo>
                  <a:cubicBezTo>
                    <a:pt x="20" y="29"/>
                    <a:pt x="24" y="24"/>
                    <a:pt x="28" y="19"/>
                  </a:cubicBezTo>
                  <a:cubicBezTo>
                    <a:pt x="22" y="13"/>
                    <a:pt x="15" y="8"/>
                    <a:pt x="8" y="4"/>
                  </a:cubicBezTo>
                  <a:cubicBezTo>
                    <a:pt x="6" y="6"/>
                    <a:pt x="4" y="8"/>
                    <a:pt x="3" y="10"/>
                  </a:cubicBezTo>
                  <a:cubicBezTo>
                    <a:pt x="2" y="12"/>
                    <a:pt x="1" y="14"/>
                    <a:pt x="0" y="16"/>
                  </a:cubicBezTo>
                  <a:cubicBezTo>
                    <a:pt x="0" y="18"/>
                    <a:pt x="0" y="19"/>
                    <a:pt x="0" y="21"/>
                  </a:cubicBezTo>
                  <a:cubicBezTo>
                    <a:pt x="4" y="23"/>
                    <a:pt x="8" y="26"/>
                    <a:pt x="11" y="28"/>
                  </a:cubicBezTo>
                  <a:close/>
                  <a:moveTo>
                    <a:pt x="1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1" y="0"/>
                  </a:lnTo>
                  <a:close/>
                  <a:moveTo>
                    <a:pt x="33" y="24"/>
                  </a:moveTo>
                  <a:cubicBezTo>
                    <a:pt x="37" y="28"/>
                    <a:pt x="41" y="33"/>
                    <a:pt x="44" y="38"/>
                  </a:cubicBezTo>
                  <a:cubicBezTo>
                    <a:pt x="45" y="40"/>
                    <a:pt x="46" y="42"/>
                    <a:pt x="47" y="43"/>
                  </a:cubicBezTo>
                  <a:cubicBezTo>
                    <a:pt x="46" y="44"/>
                    <a:pt x="45" y="45"/>
                    <a:pt x="44" y="46"/>
                  </a:cubicBezTo>
                  <a:cubicBezTo>
                    <a:pt x="40" y="48"/>
                    <a:pt x="35" y="50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0" y="49"/>
                    <a:pt x="27" y="46"/>
                    <a:pt x="25" y="43"/>
                  </a:cubicBezTo>
                  <a:cubicBezTo>
                    <a:pt x="24" y="41"/>
                    <a:pt x="23" y="40"/>
                    <a:pt x="21" y="38"/>
                  </a:cubicBezTo>
                  <a:cubicBezTo>
                    <a:pt x="25" y="34"/>
                    <a:pt x="27" y="29"/>
                    <a:pt x="31" y="26"/>
                  </a:cubicBezTo>
                  <a:lnTo>
                    <a:pt x="33" y="24"/>
                  </a:lnTo>
                  <a:close/>
                  <a:moveTo>
                    <a:pt x="51" y="49"/>
                  </a:moveTo>
                  <a:cubicBezTo>
                    <a:pt x="54" y="55"/>
                    <a:pt x="57" y="62"/>
                    <a:pt x="60" y="68"/>
                  </a:cubicBezTo>
                  <a:cubicBezTo>
                    <a:pt x="56" y="69"/>
                    <a:pt x="53" y="69"/>
                    <a:pt x="50" y="71"/>
                  </a:cubicBezTo>
                  <a:cubicBezTo>
                    <a:pt x="48" y="71"/>
                    <a:pt x="45" y="73"/>
                    <a:pt x="42" y="74"/>
                  </a:cubicBezTo>
                  <a:cubicBezTo>
                    <a:pt x="40" y="69"/>
                    <a:pt x="38" y="64"/>
                    <a:pt x="35" y="59"/>
                  </a:cubicBezTo>
                  <a:cubicBezTo>
                    <a:pt x="38" y="57"/>
                    <a:pt x="41" y="55"/>
                    <a:pt x="44" y="54"/>
                  </a:cubicBezTo>
                  <a:cubicBezTo>
                    <a:pt x="46" y="52"/>
                    <a:pt x="49" y="51"/>
                    <a:pt x="51" y="49"/>
                  </a:cubicBezTo>
                  <a:close/>
                  <a:moveTo>
                    <a:pt x="62" y="73"/>
                  </a:moveTo>
                  <a:cubicBezTo>
                    <a:pt x="64" y="81"/>
                    <a:pt x="66" y="88"/>
                    <a:pt x="67" y="95"/>
                  </a:cubicBezTo>
                  <a:cubicBezTo>
                    <a:pt x="65" y="95"/>
                    <a:pt x="62" y="96"/>
                    <a:pt x="59" y="96"/>
                  </a:cubicBezTo>
                  <a:cubicBezTo>
                    <a:pt x="57" y="97"/>
                    <a:pt x="54" y="98"/>
                    <a:pt x="52" y="99"/>
                  </a:cubicBezTo>
                  <a:cubicBezTo>
                    <a:pt x="50" y="93"/>
                    <a:pt x="48" y="88"/>
                    <a:pt x="46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5" y="82"/>
                    <a:pt x="45" y="81"/>
                    <a:pt x="45" y="81"/>
                  </a:cubicBezTo>
                  <a:cubicBezTo>
                    <a:pt x="45" y="81"/>
                    <a:pt x="45" y="80"/>
                    <a:pt x="45" y="80"/>
                  </a:cubicBezTo>
                  <a:cubicBezTo>
                    <a:pt x="49" y="79"/>
                    <a:pt x="52" y="77"/>
                    <a:pt x="55" y="76"/>
                  </a:cubicBezTo>
                  <a:cubicBezTo>
                    <a:pt x="57" y="75"/>
                    <a:pt x="59" y="74"/>
                    <a:pt x="62" y="73"/>
                  </a:cubicBezTo>
                  <a:close/>
                  <a:moveTo>
                    <a:pt x="69" y="101"/>
                  </a:moveTo>
                  <a:cubicBezTo>
                    <a:pt x="70" y="108"/>
                    <a:pt x="71" y="114"/>
                    <a:pt x="71" y="119"/>
                  </a:cubicBezTo>
                  <a:cubicBezTo>
                    <a:pt x="66" y="119"/>
                    <a:pt x="61" y="120"/>
                    <a:pt x="57" y="121"/>
                  </a:cubicBezTo>
                  <a:cubicBezTo>
                    <a:pt x="56" y="115"/>
                    <a:pt x="55" y="110"/>
                    <a:pt x="54" y="105"/>
                  </a:cubicBezTo>
                  <a:cubicBezTo>
                    <a:pt x="56" y="105"/>
                    <a:pt x="59" y="104"/>
                    <a:pt x="61" y="103"/>
                  </a:cubicBezTo>
                  <a:cubicBezTo>
                    <a:pt x="64" y="103"/>
                    <a:pt x="66" y="102"/>
                    <a:pt x="69" y="101"/>
                  </a:cubicBezTo>
                  <a:close/>
                  <a:moveTo>
                    <a:pt x="72" y="127"/>
                  </a:moveTo>
                  <a:cubicBezTo>
                    <a:pt x="72" y="132"/>
                    <a:pt x="72" y="137"/>
                    <a:pt x="72" y="142"/>
                  </a:cubicBezTo>
                  <a:cubicBezTo>
                    <a:pt x="68" y="141"/>
                    <a:pt x="64" y="141"/>
                    <a:pt x="60" y="141"/>
                  </a:cubicBezTo>
                  <a:cubicBezTo>
                    <a:pt x="59" y="137"/>
                    <a:pt x="59" y="133"/>
                    <a:pt x="58" y="128"/>
                  </a:cubicBezTo>
                  <a:cubicBezTo>
                    <a:pt x="62" y="128"/>
                    <a:pt x="66" y="128"/>
                    <a:pt x="70" y="127"/>
                  </a:cubicBezTo>
                  <a:lnTo>
                    <a:pt x="72" y="127"/>
                  </a:lnTo>
                  <a:close/>
                  <a:moveTo>
                    <a:pt x="72" y="148"/>
                  </a:moveTo>
                  <a:cubicBezTo>
                    <a:pt x="72" y="151"/>
                    <a:pt x="71" y="154"/>
                    <a:pt x="71" y="156"/>
                  </a:cubicBezTo>
                  <a:cubicBezTo>
                    <a:pt x="69" y="156"/>
                    <a:pt x="67" y="155"/>
                    <a:pt x="65" y="155"/>
                  </a:cubicBezTo>
                  <a:cubicBezTo>
                    <a:pt x="64" y="155"/>
                    <a:pt x="62" y="155"/>
                    <a:pt x="60" y="154"/>
                  </a:cubicBezTo>
                  <a:cubicBezTo>
                    <a:pt x="60" y="154"/>
                    <a:pt x="60" y="153"/>
                    <a:pt x="60" y="152"/>
                  </a:cubicBezTo>
                  <a:cubicBezTo>
                    <a:pt x="60" y="150"/>
                    <a:pt x="60" y="148"/>
                    <a:pt x="60" y="146"/>
                  </a:cubicBezTo>
                  <a:cubicBezTo>
                    <a:pt x="63" y="148"/>
                    <a:pt x="67" y="148"/>
                    <a:pt x="72" y="148"/>
                  </a:cubicBezTo>
                  <a:close/>
                  <a:moveTo>
                    <a:pt x="71" y="164"/>
                  </a:moveTo>
                  <a:cubicBezTo>
                    <a:pt x="70" y="167"/>
                    <a:pt x="70" y="170"/>
                    <a:pt x="69" y="172"/>
                  </a:cubicBezTo>
                  <a:cubicBezTo>
                    <a:pt x="66" y="170"/>
                    <a:pt x="62" y="169"/>
                    <a:pt x="58" y="167"/>
                  </a:cubicBezTo>
                  <a:cubicBezTo>
                    <a:pt x="58" y="167"/>
                    <a:pt x="58" y="167"/>
                    <a:pt x="58" y="167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8" y="166"/>
                    <a:pt x="58" y="164"/>
                    <a:pt x="59" y="162"/>
                  </a:cubicBezTo>
                  <a:cubicBezTo>
                    <a:pt x="59" y="162"/>
                    <a:pt x="60" y="162"/>
                    <a:pt x="61" y="162"/>
                  </a:cubicBezTo>
                  <a:cubicBezTo>
                    <a:pt x="65" y="162"/>
                    <a:pt x="68" y="163"/>
                    <a:pt x="71" y="164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ïṣļîďè"/>
            <p:cNvSpPr/>
            <p:nvPr/>
          </p:nvSpPr>
          <p:spPr bwMode="auto">
            <a:xfrm>
              <a:off x="6257120" y="3098548"/>
              <a:ext cx="254064" cy="81300"/>
            </a:xfrm>
            <a:custGeom>
              <a:avLst/>
              <a:gdLst>
                <a:gd name="T0" fmla="*/ 35 w 36"/>
                <a:gd name="T1" fmla="*/ 5 h 12"/>
                <a:gd name="T2" fmla="*/ 35 w 36"/>
                <a:gd name="T3" fmla="*/ 5 h 12"/>
                <a:gd name="T4" fmla="*/ 35 w 36"/>
                <a:gd name="T5" fmla="*/ 0 h 12"/>
                <a:gd name="T6" fmla="*/ 6 w 36"/>
                <a:gd name="T7" fmla="*/ 0 h 12"/>
                <a:gd name="T8" fmla="*/ 0 w 36"/>
                <a:gd name="T9" fmla="*/ 1 h 12"/>
                <a:gd name="T10" fmla="*/ 0 w 36"/>
                <a:gd name="T11" fmla="*/ 4 h 12"/>
                <a:gd name="T12" fmla="*/ 0 w 36"/>
                <a:gd name="T13" fmla="*/ 11 h 12"/>
                <a:gd name="T14" fmla="*/ 14 w 36"/>
                <a:gd name="T15" fmla="*/ 12 h 12"/>
                <a:gd name="T16" fmla="*/ 36 w 36"/>
                <a:gd name="T17" fmla="*/ 12 h 12"/>
                <a:gd name="T18" fmla="*/ 35 w 36"/>
                <a:gd name="T1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2">
                  <a:moveTo>
                    <a:pt x="35" y="5"/>
                  </a:moveTo>
                  <a:cubicBezTo>
                    <a:pt x="35" y="5"/>
                    <a:pt x="35" y="5"/>
                    <a:pt x="35" y="5"/>
                  </a:cubicBezTo>
                  <a:cubicBezTo>
                    <a:pt x="35" y="3"/>
                    <a:pt x="35" y="2"/>
                    <a:pt x="35" y="0"/>
                  </a:cubicBezTo>
                  <a:cubicBezTo>
                    <a:pt x="25" y="0"/>
                    <a:pt x="16" y="0"/>
                    <a:pt x="6" y="0"/>
                  </a:cubicBezTo>
                  <a:cubicBezTo>
                    <a:pt x="4" y="0"/>
                    <a:pt x="2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6"/>
                    <a:pt x="0" y="9"/>
                    <a:pt x="0" y="11"/>
                  </a:cubicBezTo>
                  <a:cubicBezTo>
                    <a:pt x="5" y="12"/>
                    <a:pt x="9" y="12"/>
                    <a:pt x="14" y="12"/>
                  </a:cubicBezTo>
                  <a:cubicBezTo>
                    <a:pt x="21" y="12"/>
                    <a:pt x="29" y="12"/>
                    <a:pt x="36" y="12"/>
                  </a:cubicBezTo>
                  <a:cubicBezTo>
                    <a:pt x="36" y="10"/>
                    <a:pt x="36" y="7"/>
                    <a:pt x="35" y="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ïS1iḓê"/>
            <p:cNvSpPr/>
            <p:nvPr/>
          </p:nvSpPr>
          <p:spPr bwMode="auto">
            <a:xfrm>
              <a:off x="5596557" y="1486095"/>
              <a:ext cx="1554867" cy="1520992"/>
            </a:xfrm>
            <a:custGeom>
              <a:avLst/>
              <a:gdLst>
                <a:gd name="T0" fmla="*/ 169 w 221"/>
                <a:gd name="T1" fmla="*/ 215 h 216"/>
                <a:gd name="T2" fmla="*/ 169 w 221"/>
                <a:gd name="T3" fmla="*/ 215 h 216"/>
                <a:gd name="T4" fmla="*/ 188 w 221"/>
                <a:gd name="T5" fmla="*/ 215 h 216"/>
                <a:gd name="T6" fmla="*/ 188 w 221"/>
                <a:gd name="T7" fmla="*/ 191 h 216"/>
                <a:gd name="T8" fmla="*/ 188 w 221"/>
                <a:gd name="T9" fmla="*/ 164 h 216"/>
                <a:gd name="T10" fmla="*/ 189 w 221"/>
                <a:gd name="T11" fmla="*/ 127 h 216"/>
                <a:gd name="T12" fmla="*/ 189 w 221"/>
                <a:gd name="T13" fmla="*/ 122 h 216"/>
                <a:gd name="T14" fmla="*/ 189 w 221"/>
                <a:gd name="T15" fmla="*/ 108 h 216"/>
                <a:gd name="T16" fmla="*/ 184 w 221"/>
                <a:gd name="T17" fmla="*/ 54 h 216"/>
                <a:gd name="T18" fmla="*/ 179 w 221"/>
                <a:gd name="T19" fmla="*/ 30 h 216"/>
                <a:gd name="T20" fmla="*/ 174 w 221"/>
                <a:gd name="T21" fmla="*/ 18 h 216"/>
                <a:gd name="T22" fmla="*/ 174 w 221"/>
                <a:gd name="T23" fmla="*/ 18 h 216"/>
                <a:gd name="T24" fmla="*/ 159 w 221"/>
                <a:gd name="T25" fmla="*/ 10 h 216"/>
                <a:gd name="T26" fmla="*/ 108 w 221"/>
                <a:gd name="T27" fmla="*/ 1 h 216"/>
                <a:gd name="T28" fmla="*/ 25 w 221"/>
                <a:gd name="T29" fmla="*/ 45 h 216"/>
                <a:gd name="T30" fmla="*/ 2 w 221"/>
                <a:gd name="T31" fmla="*/ 121 h 216"/>
                <a:gd name="T32" fmla="*/ 1 w 221"/>
                <a:gd name="T33" fmla="*/ 166 h 216"/>
                <a:gd name="T34" fmla="*/ 0 w 221"/>
                <a:gd name="T35" fmla="*/ 209 h 216"/>
                <a:gd name="T36" fmla="*/ 1 w 221"/>
                <a:gd name="T37" fmla="*/ 212 h 216"/>
                <a:gd name="T38" fmla="*/ 4 w 221"/>
                <a:gd name="T39" fmla="*/ 212 h 216"/>
                <a:gd name="T40" fmla="*/ 16 w 221"/>
                <a:gd name="T41" fmla="*/ 213 h 216"/>
                <a:gd name="T42" fmla="*/ 47 w 221"/>
                <a:gd name="T43" fmla="*/ 216 h 216"/>
                <a:gd name="T44" fmla="*/ 77 w 221"/>
                <a:gd name="T45" fmla="*/ 215 h 216"/>
                <a:gd name="T46" fmla="*/ 108 w 221"/>
                <a:gd name="T47" fmla="*/ 214 h 216"/>
                <a:gd name="T48" fmla="*/ 169 w 221"/>
                <a:gd name="T49" fmla="*/ 215 h 216"/>
                <a:gd name="T50" fmla="*/ 184 w 221"/>
                <a:gd name="T51" fmla="*/ 26 h 216"/>
                <a:gd name="T52" fmla="*/ 184 w 221"/>
                <a:gd name="T53" fmla="*/ 26 h 216"/>
                <a:gd name="T54" fmla="*/ 188 w 221"/>
                <a:gd name="T55" fmla="*/ 42 h 216"/>
                <a:gd name="T56" fmla="*/ 192 w 221"/>
                <a:gd name="T57" fmla="*/ 39 h 216"/>
                <a:gd name="T58" fmla="*/ 194 w 221"/>
                <a:gd name="T59" fmla="*/ 40 h 216"/>
                <a:gd name="T60" fmla="*/ 192 w 221"/>
                <a:gd name="T61" fmla="*/ 34 h 216"/>
                <a:gd name="T62" fmla="*/ 184 w 221"/>
                <a:gd name="T63" fmla="*/ 26 h 216"/>
                <a:gd name="T64" fmla="*/ 217 w 221"/>
                <a:gd name="T65" fmla="*/ 215 h 216"/>
                <a:gd name="T66" fmla="*/ 217 w 221"/>
                <a:gd name="T67" fmla="*/ 215 h 216"/>
                <a:gd name="T68" fmla="*/ 220 w 221"/>
                <a:gd name="T69" fmla="*/ 212 h 216"/>
                <a:gd name="T70" fmla="*/ 221 w 221"/>
                <a:gd name="T71" fmla="*/ 211 h 216"/>
                <a:gd name="T72" fmla="*/ 221 w 221"/>
                <a:gd name="T73" fmla="*/ 198 h 216"/>
                <a:gd name="T74" fmla="*/ 221 w 221"/>
                <a:gd name="T75" fmla="*/ 173 h 216"/>
                <a:gd name="T76" fmla="*/ 219 w 221"/>
                <a:gd name="T77" fmla="*/ 132 h 216"/>
                <a:gd name="T78" fmla="*/ 208 w 221"/>
                <a:gd name="T79" fmla="*/ 132 h 216"/>
                <a:gd name="T80" fmla="*/ 199 w 221"/>
                <a:gd name="T81" fmla="*/ 131 h 216"/>
                <a:gd name="T82" fmla="*/ 196 w 221"/>
                <a:gd name="T83" fmla="*/ 131 h 216"/>
                <a:gd name="T84" fmla="*/ 196 w 221"/>
                <a:gd name="T85" fmla="*/ 161 h 216"/>
                <a:gd name="T86" fmla="*/ 196 w 221"/>
                <a:gd name="T87" fmla="*/ 189 h 216"/>
                <a:gd name="T88" fmla="*/ 196 w 221"/>
                <a:gd name="T89" fmla="*/ 203 h 216"/>
                <a:gd name="T90" fmla="*/ 195 w 221"/>
                <a:gd name="T91" fmla="*/ 215 h 216"/>
                <a:gd name="T92" fmla="*/ 217 w 221"/>
                <a:gd name="T93" fmla="*/ 215 h 216"/>
                <a:gd name="T94" fmla="*/ 202 w 221"/>
                <a:gd name="T95" fmla="*/ 52 h 216"/>
                <a:gd name="T96" fmla="*/ 202 w 221"/>
                <a:gd name="T97" fmla="*/ 52 h 216"/>
                <a:gd name="T98" fmla="*/ 197 w 221"/>
                <a:gd name="T99" fmla="*/ 44 h 216"/>
                <a:gd name="T100" fmla="*/ 192 w 221"/>
                <a:gd name="T101" fmla="*/ 48 h 216"/>
                <a:gd name="T102" fmla="*/ 189 w 221"/>
                <a:gd name="T103" fmla="*/ 46 h 216"/>
                <a:gd name="T104" fmla="*/ 190 w 221"/>
                <a:gd name="T105" fmla="*/ 50 h 216"/>
                <a:gd name="T106" fmla="*/ 196 w 221"/>
                <a:gd name="T107" fmla="*/ 105 h 216"/>
                <a:gd name="T108" fmla="*/ 196 w 221"/>
                <a:gd name="T109" fmla="*/ 118 h 216"/>
                <a:gd name="T110" fmla="*/ 206 w 221"/>
                <a:gd name="T111" fmla="*/ 117 h 216"/>
                <a:gd name="T112" fmla="*/ 217 w 221"/>
                <a:gd name="T113" fmla="*/ 117 h 216"/>
                <a:gd name="T114" fmla="*/ 212 w 221"/>
                <a:gd name="T115" fmla="*/ 71 h 216"/>
                <a:gd name="T116" fmla="*/ 202 w 221"/>
                <a:gd name="T117" fmla="*/ 5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1" h="216">
                  <a:moveTo>
                    <a:pt x="169" y="215"/>
                  </a:moveTo>
                  <a:cubicBezTo>
                    <a:pt x="169" y="215"/>
                    <a:pt x="169" y="215"/>
                    <a:pt x="169" y="215"/>
                  </a:cubicBezTo>
                  <a:cubicBezTo>
                    <a:pt x="175" y="215"/>
                    <a:pt x="182" y="215"/>
                    <a:pt x="188" y="215"/>
                  </a:cubicBezTo>
                  <a:cubicBezTo>
                    <a:pt x="187" y="207"/>
                    <a:pt x="188" y="199"/>
                    <a:pt x="188" y="191"/>
                  </a:cubicBezTo>
                  <a:cubicBezTo>
                    <a:pt x="188" y="182"/>
                    <a:pt x="188" y="173"/>
                    <a:pt x="188" y="164"/>
                  </a:cubicBezTo>
                  <a:cubicBezTo>
                    <a:pt x="188" y="151"/>
                    <a:pt x="188" y="139"/>
                    <a:pt x="189" y="127"/>
                  </a:cubicBezTo>
                  <a:cubicBezTo>
                    <a:pt x="187" y="126"/>
                    <a:pt x="187" y="123"/>
                    <a:pt x="189" y="122"/>
                  </a:cubicBezTo>
                  <a:cubicBezTo>
                    <a:pt x="189" y="117"/>
                    <a:pt x="189" y="113"/>
                    <a:pt x="189" y="108"/>
                  </a:cubicBezTo>
                  <a:cubicBezTo>
                    <a:pt x="189" y="90"/>
                    <a:pt x="187" y="72"/>
                    <a:pt x="184" y="54"/>
                  </a:cubicBezTo>
                  <a:cubicBezTo>
                    <a:pt x="183" y="46"/>
                    <a:pt x="182" y="38"/>
                    <a:pt x="179" y="30"/>
                  </a:cubicBezTo>
                  <a:cubicBezTo>
                    <a:pt x="178" y="26"/>
                    <a:pt x="176" y="22"/>
                    <a:pt x="174" y="18"/>
                  </a:cubicBezTo>
                  <a:cubicBezTo>
                    <a:pt x="174" y="18"/>
                    <a:pt x="174" y="18"/>
                    <a:pt x="174" y="18"/>
                  </a:cubicBezTo>
                  <a:cubicBezTo>
                    <a:pt x="169" y="15"/>
                    <a:pt x="164" y="12"/>
                    <a:pt x="159" y="10"/>
                  </a:cubicBezTo>
                  <a:cubicBezTo>
                    <a:pt x="143" y="3"/>
                    <a:pt x="125" y="0"/>
                    <a:pt x="108" y="1"/>
                  </a:cubicBezTo>
                  <a:cubicBezTo>
                    <a:pt x="76" y="3"/>
                    <a:pt x="44" y="19"/>
                    <a:pt x="25" y="45"/>
                  </a:cubicBezTo>
                  <a:cubicBezTo>
                    <a:pt x="9" y="67"/>
                    <a:pt x="3" y="94"/>
                    <a:pt x="2" y="121"/>
                  </a:cubicBezTo>
                  <a:cubicBezTo>
                    <a:pt x="1" y="136"/>
                    <a:pt x="1" y="151"/>
                    <a:pt x="1" y="166"/>
                  </a:cubicBezTo>
                  <a:cubicBezTo>
                    <a:pt x="1" y="181"/>
                    <a:pt x="2" y="195"/>
                    <a:pt x="0" y="209"/>
                  </a:cubicBezTo>
                  <a:cubicBezTo>
                    <a:pt x="0" y="210"/>
                    <a:pt x="1" y="211"/>
                    <a:pt x="1" y="212"/>
                  </a:cubicBezTo>
                  <a:cubicBezTo>
                    <a:pt x="2" y="212"/>
                    <a:pt x="2" y="212"/>
                    <a:pt x="4" y="212"/>
                  </a:cubicBezTo>
                  <a:cubicBezTo>
                    <a:pt x="8" y="213"/>
                    <a:pt x="12" y="213"/>
                    <a:pt x="16" y="213"/>
                  </a:cubicBezTo>
                  <a:cubicBezTo>
                    <a:pt x="27" y="215"/>
                    <a:pt x="36" y="215"/>
                    <a:pt x="47" y="216"/>
                  </a:cubicBezTo>
                  <a:cubicBezTo>
                    <a:pt x="57" y="216"/>
                    <a:pt x="67" y="215"/>
                    <a:pt x="77" y="215"/>
                  </a:cubicBezTo>
                  <a:cubicBezTo>
                    <a:pt x="88" y="214"/>
                    <a:pt x="98" y="214"/>
                    <a:pt x="108" y="214"/>
                  </a:cubicBezTo>
                  <a:cubicBezTo>
                    <a:pt x="129" y="214"/>
                    <a:pt x="149" y="215"/>
                    <a:pt x="169" y="215"/>
                  </a:cubicBezTo>
                  <a:close/>
                  <a:moveTo>
                    <a:pt x="184" y="26"/>
                  </a:moveTo>
                  <a:cubicBezTo>
                    <a:pt x="184" y="26"/>
                    <a:pt x="184" y="26"/>
                    <a:pt x="184" y="26"/>
                  </a:cubicBezTo>
                  <a:cubicBezTo>
                    <a:pt x="186" y="31"/>
                    <a:pt x="187" y="37"/>
                    <a:pt x="188" y="42"/>
                  </a:cubicBezTo>
                  <a:cubicBezTo>
                    <a:pt x="189" y="40"/>
                    <a:pt x="191" y="39"/>
                    <a:pt x="192" y="39"/>
                  </a:cubicBezTo>
                  <a:cubicBezTo>
                    <a:pt x="193" y="39"/>
                    <a:pt x="194" y="39"/>
                    <a:pt x="194" y="40"/>
                  </a:cubicBezTo>
                  <a:cubicBezTo>
                    <a:pt x="194" y="38"/>
                    <a:pt x="193" y="36"/>
                    <a:pt x="192" y="34"/>
                  </a:cubicBezTo>
                  <a:cubicBezTo>
                    <a:pt x="189" y="31"/>
                    <a:pt x="187" y="28"/>
                    <a:pt x="184" y="26"/>
                  </a:cubicBezTo>
                  <a:close/>
                  <a:moveTo>
                    <a:pt x="217" y="215"/>
                  </a:moveTo>
                  <a:cubicBezTo>
                    <a:pt x="217" y="215"/>
                    <a:pt x="217" y="215"/>
                    <a:pt x="217" y="215"/>
                  </a:cubicBezTo>
                  <a:cubicBezTo>
                    <a:pt x="218" y="214"/>
                    <a:pt x="219" y="213"/>
                    <a:pt x="220" y="212"/>
                  </a:cubicBezTo>
                  <a:cubicBezTo>
                    <a:pt x="220" y="212"/>
                    <a:pt x="221" y="211"/>
                    <a:pt x="221" y="211"/>
                  </a:cubicBezTo>
                  <a:cubicBezTo>
                    <a:pt x="221" y="206"/>
                    <a:pt x="221" y="202"/>
                    <a:pt x="221" y="198"/>
                  </a:cubicBezTo>
                  <a:cubicBezTo>
                    <a:pt x="221" y="190"/>
                    <a:pt x="221" y="181"/>
                    <a:pt x="221" y="173"/>
                  </a:cubicBezTo>
                  <a:cubicBezTo>
                    <a:pt x="221" y="159"/>
                    <a:pt x="220" y="145"/>
                    <a:pt x="219" y="132"/>
                  </a:cubicBezTo>
                  <a:cubicBezTo>
                    <a:pt x="215" y="132"/>
                    <a:pt x="212" y="132"/>
                    <a:pt x="208" y="132"/>
                  </a:cubicBezTo>
                  <a:cubicBezTo>
                    <a:pt x="205" y="132"/>
                    <a:pt x="202" y="132"/>
                    <a:pt x="199" y="131"/>
                  </a:cubicBezTo>
                  <a:cubicBezTo>
                    <a:pt x="198" y="131"/>
                    <a:pt x="197" y="131"/>
                    <a:pt x="196" y="131"/>
                  </a:cubicBezTo>
                  <a:cubicBezTo>
                    <a:pt x="196" y="141"/>
                    <a:pt x="196" y="151"/>
                    <a:pt x="196" y="161"/>
                  </a:cubicBezTo>
                  <a:cubicBezTo>
                    <a:pt x="196" y="170"/>
                    <a:pt x="196" y="180"/>
                    <a:pt x="196" y="189"/>
                  </a:cubicBezTo>
                  <a:cubicBezTo>
                    <a:pt x="196" y="194"/>
                    <a:pt x="196" y="198"/>
                    <a:pt x="196" y="203"/>
                  </a:cubicBezTo>
                  <a:cubicBezTo>
                    <a:pt x="196" y="207"/>
                    <a:pt x="196" y="211"/>
                    <a:pt x="195" y="215"/>
                  </a:cubicBezTo>
                  <a:cubicBezTo>
                    <a:pt x="203" y="215"/>
                    <a:pt x="210" y="215"/>
                    <a:pt x="217" y="215"/>
                  </a:cubicBezTo>
                  <a:close/>
                  <a:moveTo>
                    <a:pt x="202" y="52"/>
                  </a:moveTo>
                  <a:cubicBezTo>
                    <a:pt x="202" y="52"/>
                    <a:pt x="202" y="52"/>
                    <a:pt x="202" y="52"/>
                  </a:cubicBezTo>
                  <a:cubicBezTo>
                    <a:pt x="200" y="50"/>
                    <a:pt x="198" y="47"/>
                    <a:pt x="197" y="44"/>
                  </a:cubicBezTo>
                  <a:cubicBezTo>
                    <a:pt x="197" y="46"/>
                    <a:pt x="195" y="48"/>
                    <a:pt x="192" y="48"/>
                  </a:cubicBezTo>
                  <a:cubicBezTo>
                    <a:pt x="191" y="48"/>
                    <a:pt x="190" y="47"/>
                    <a:pt x="189" y="46"/>
                  </a:cubicBezTo>
                  <a:cubicBezTo>
                    <a:pt x="189" y="47"/>
                    <a:pt x="190" y="49"/>
                    <a:pt x="190" y="50"/>
                  </a:cubicBezTo>
                  <a:cubicBezTo>
                    <a:pt x="193" y="68"/>
                    <a:pt x="195" y="87"/>
                    <a:pt x="196" y="105"/>
                  </a:cubicBezTo>
                  <a:cubicBezTo>
                    <a:pt x="196" y="110"/>
                    <a:pt x="196" y="114"/>
                    <a:pt x="196" y="118"/>
                  </a:cubicBezTo>
                  <a:cubicBezTo>
                    <a:pt x="199" y="117"/>
                    <a:pt x="203" y="117"/>
                    <a:pt x="206" y="117"/>
                  </a:cubicBezTo>
                  <a:cubicBezTo>
                    <a:pt x="210" y="117"/>
                    <a:pt x="214" y="117"/>
                    <a:pt x="217" y="117"/>
                  </a:cubicBezTo>
                  <a:cubicBezTo>
                    <a:pt x="216" y="101"/>
                    <a:pt x="216" y="86"/>
                    <a:pt x="212" y="71"/>
                  </a:cubicBezTo>
                  <a:cubicBezTo>
                    <a:pt x="209" y="65"/>
                    <a:pt x="206" y="58"/>
                    <a:pt x="202" y="52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sḷîdê"/>
            <p:cNvSpPr/>
            <p:nvPr/>
          </p:nvSpPr>
          <p:spPr bwMode="auto">
            <a:xfrm>
              <a:off x="5596557" y="1536908"/>
              <a:ext cx="542001" cy="1446467"/>
            </a:xfrm>
            <a:custGeom>
              <a:avLst/>
              <a:gdLst>
                <a:gd name="T0" fmla="*/ 77 w 77"/>
                <a:gd name="T1" fmla="*/ 0 h 206"/>
                <a:gd name="T2" fmla="*/ 25 w 77"/>
                <a:gd name="T3" fmla="*/ 38 h 206"/>
                <a:gd name="T4" fmla="*/ 2 w 77"/>
                <a:gd name="T5" fmla="*/ 114 h 206"/>
                <a:gd name="T6" fmla="*/ 1 w 77"/>
                <a:gd name="T7" fmla="*/ 159 h 206"/>
                <a:gd name="T8" fmla="*/ 0 w 77"/>
                <a:gd name="T9" fmla="*/ 202 h 206"/>
                <a:gd name="T10" fmla="*/ 1 w 77"/>
                <a:gd name="T11" fmla="*/ 205 h 206"/>
                <a:gd name="T12" fmla="*/ 4 w 77"/>
                <a:gd name="T13" fmla="*/ 205 h 206"/>
                <a:gd name="T14" fmla="*/ 14 w 77"/>
                <a:gd name="T15" fmla="*/ 206 h 206"/>
                <a:gd name="T16" fmla="*/ 21 w 77"/>
                <a:gd name="T17" fmla="*/ 80 h 206"/>
                <a:gd name="T18" fmla="*/ 77 w 77"/>
                <a:gd name="T19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206">
                  <a:moveTo>
                    <a:pt x="77" y="0"/>
                  </a:moveTo>
                  <a:cubicBezTo>
                    <a:pt x="56" y="7"/>
                    <a:pt x="37" y="20"/>
                    <a:pt x="25" y="38"/>
                  </a:cubicBezTo>
                  <a:cubicBezTo>
                    <a:pt x="9" y="60"/>
                    <a:pt x="3" y="87"/>
                    <a:pt x="2" y="114"/>
                  </a:cubicBezTo>
                  <a:cubicBezTo>
                    <a:pt x="1" y="129"/>
                    <a:pt x="1" y="144"/>
                    <a:pt x="1" y="159"/>
                  </a:cubicBezTo>
                  <a:cubicBezTo>
                    <a:pt x="1" y="174"/>
                    <a:pt x="2" y="188"/>
                    <a:pt x="0" y="202"/>
                  </a:cubicBezTo>
                  <a:cubicBezTo>
                    <a:pt x="0" y="203"/>
                    <a:pt x="1" y="204"/>
                    <a:pt x="1" y="205"/>
                  </a:cubicBezTo>
                  <a:cubicBezTo>
                    <a:pt x="2" y="205"/>
                    <a:pt x="2" y="205"/>
                    <a:pt x="4" y="205"/>
                  </a:cubicBezTo>
                  <a:cubicBezTo>
                    <a:pt x="7" y="206"/>
                    <a:pt x="11" y="206"/>
                    <a:pt x="14" y="206"/>
                  </a:cubicBezTo>
                  <a:cubicBezTo>
                    <a:pt x="14" y="179"/>
                    <a:pt x="15" y="122"/>
                    <a:pt x="21" y="80"/>
                  </a:cubicBezTo>
                  <a:cubicBezTo>
                    <a:pt x="30" y="23"/>
                    <a:pt x="77" y="0"/>
                    <a:pt x="7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ṥliḓê"/>
            <p:cNvSpPr/>
            <p:nvPr/>
          </p:nvSpPr>
          <p:spPr bwMode="auto">
            <a:xfrm>
              <a:off x="6538284" y="1499645"/>
              <a:ext cx="613140" cy="1497278"/>
            </a:xfrm>
            <a:custGeom>
              <a:avLst/>
              <a:gdLst>
                <a:gd name="T0" fmla="*/ 35 w 87"/>
                <a:gd name="T1" fmla="*/ 213 h 213"/>
                <a:gd name="T2" fmla="*/ 54 w 87"/>
                <a:gd name="T3" fmla="*/ 213 h 213"/>
                <a:gd name="T4" fmla="*/ 54 w 87"/>
                <a:gd name="T5" fmla="*/ 189 h 213"/>
                <a:gd name="T6" fmla="*/ 54 w 87"/>
                <a:gd name="T7" fmla="*/ 162 h 213"/>
                <a:gd name="T8" fmla="*/ 55 w 87"/>
                <a:gd name="T9" fmla="*/ 125 h 213"/>
                <a:gd name="T10" fmla="*/ 55 w 87"/>
                <a:gd name="T11" fmla="*/ 120 h 213"/>
                <a:gd name="T12" fmla="*/ 55 w 87"/>
                <a:gd name="T13" fmla="*/ 106 h 213"/>
                <a:gd name="T14" fmla="*/ 50 w 87"/>
                <a:gd name="T15" fmla="*/ 52 h 213"/>
                <a:gd name="T16" fmla="*/ 45 w 87"/>
                <a:gd name="T17" fmla="*/ 28 h 213"/>
                <a:gd name="T18" fmla="*/ 40 w 87"/>
                <a:gd name="T19" fmla="*/ 16 h 213"/>
                <a:gd name="T20" fmla="*/ 40 w 87"/>
                <a:gd name="T21" fmla="*/ 16 h 213"/>
                <a:gd name="T22" fmla="*/ 25 w 87"/>
                <a:gd name="T23" fmla="*/ 8 h 213"/>
                <a:gd name="T24" fmla="*/ 0 w 87"/>
                <a:gd name="T25" fmla="*/ 0 h 213"/>
                <a:gd name="T26" fmla="*/ 35 w 87"/>
                <a:gd name="T27" fmla="*/ 213 h 213"/>
                <a:gd name="T28" fmla="*/ 50 w 87"/>
                <a:gd name="T29" fmla="*/ 24 h 213"/>
                <a:gd name="T30" fmla="*/ 50 w 87"/>
                <a:gd name="T31" fmla="*/ 24 h 213"/>
                <a:gd name="T32" fmla="*/ 54 w 87"/>
                <a:gd name="T33" fmla="*/ 40 h 213"/>
                <a:gd name="T34" fmla="*/ 58 w 87"/>
                <a:gd name="T35" fmla="*/ 37 h 213"/>
                <a:gd name="T36" fmla="*/ 60 w 87"/>
                <a:gd name="T37" fmla="*/ 38 h 213"/>
                <a:gd name="T38" fmla="*/ 58 w 87"/>
                <a:gd name="T39" fmla="*/ 32 h 213"/>
                <a:gd name="T40" fmla="*/ 50 w 87"/>
                <a:gd name="T41" fmla="*/ 24 h 213"/>
                <a:gd name="T42" fmla="*/ 83 w 87"/>
                <a:gd name="T43" fmla="*/ 213 h 213"/>
                <a:gd name="T44" fmla="*/ 83 w 87"/>
                <a:gd name="T45" fmla="*/ 213 h 213"/>
                <a:gd name="T46" fmla="*/ 86 w 87"/>
                <a:gd name="T47" fmla="*/ 210 h 213"/>
                <a:gd name="T48" fmla="*/ 87 w 87"/>
                <a:gd name="T49" fmla="*/ 209 h 213"/>
                <a:gd name="T50" fmla="*/ 87 w 87"/>
                <a:gd name="T51" fmla="*/ 196 h 213"/>
                <a:gd name="T52" fmla="*/ 87 w 87"/>
                <a:gd name="T53" fmla="*/ 171 h 213"/>
                <a:gd name="T54" fmla="*/ 85 w 87"/>
                <a:gd name="T55" fmla="*/ 130 h 213"/>
                <a:gd name="T56" fmla="*/ 74 w 87"/>
                <a:gd name="T57" fmla="*/ 130 h 213"/>
                <a:gd name="T58" fmla="*/ 65 w 87"/>
                <a:gd name="T59" fmla="*/ 129 h 213"/>
                <a:gd name="T60" fmla="*/ 62 w 87"/>
                <a:gd name="T61" fmla="*/ 129 h 213"/>
                <a:gd name="T62" fmla="*/ 62 w 87"/>
                <a:gd name="T63" fmla="*/ 159 h 213"/>
                <a:gd name="T64" fmla="*/ 62 w 87"/>
                <a:gd name="T65" fmla="*/ 187 h 213"/>
                <a:gd name="T66" fmla="*/ 62 w 87"/>
                <a:gd name="T67" fmla="*/ 201 h 213"/>
                <a:gd name="T68" fmla="*/ 61 w 87"/>
                <a:gd name="T69" fmla="*/ 213 h 213"/>
                <a:gd name="T70" fmla="*/ 83 w 87"/>
                <a:gd name="T71" fmla="*/ 213 h 213"/>
                <a:gd name="T72" fmla="*/ 68 w 87"/>
                <a:gd name="T73" fmla="*/ 50 h 213"/>
                <a:gd name="T74" fmla="*/ 68 w 87"/>
                <a:gd name="T75" fmla="*/ 50 h 213"/>
                <a:gd name="T76" fmla="*/ 63 w 87"/>
                <a:gd name="T77" fmla="*/ 42 h 213"/>
                <a:gd name="T78" fmla="*/ 58 w 87"/>
                <a:gd name="T79" fmla="*/ 46 h 213"/>
                <a:gd name="T80" fmla="*/ 55 w 87"/>
                <a:gd name="T81" fmla="*/ 44 h 213"/>
                <a:gd name="T82" fmla="*/ 56 w 87"/>
                <a:gd name="T83" fmla="*/ 48 h 213"/>
                <a:gd name="T84" fmla="*/ 62 w 87"/>
                <a:gd name="T85" fmla="*/ 103 h 213"/>
                <a:gd name="T86" fmla="*/ 62 w 87"/>
                <a:gd name="T87" fmla="*/ 116 h 213"/>
                <a:gd name="T88" fmla="*/ 72 w 87"/>
                <a:gd name="T89" fmla="*/ 115 h 213"/>
                <a:gd name="T90" fmla="*/ 83 w 87"/>
                <a:gd name="T91" fmla="*/ 115 h 213"/>
                <a:gd name="T92" fmla="*/ 78 w 87"/>
                <a:gd name="T93" fmla="*/ 69 h 213"/>
                <a:gd name="T94" fmla="*/ 68 w 87"/>
                <a:gd name="T95" fmla="*/ 5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7" h="213">
                  <a:moveTo>
                    <a:pt x="35" y="213"/>
                  </a:moveTo>
                  <a:cubicBezTo>
                    <a:pt x="41" y="213"/>
                    <a:pt x="48" y="213"/>
                    <a:pt x="54" y="213"/>
                  </a:cubicBezTo>
                  <a:cubicBezTo>
                    <a:pt x="53" y="205"/>
                    <a:pt x="54" y="197"/>
                    <a:pt x="54" y="189"/>
                  </a:cubicBezTo>
                  <a:cubicBezTo>
                    <a:pt x="54" y="180"/>
                    <a:pt x="54" y="171"/>
                    <a:pt x="54" y="162"/>
                  </a:cubicBezTo>
                  <a:cubicBezTo>
                    <a:pt x="54" y="149"/>
                    <a:pt x="54" y="137"/>
                    <a:pt x="55" y="125"/>
                  </a:cubicBezTo>
                  <a:cubicBezTo>
                    <a:pt x="53" y="124"/>
                    <a:pt x="53" y="121"/>
                    <a:pt x="55" y="120"/>
                  </a:cubicBezTo>
                  <a:cubicBezTo>
                    <a:pt x="55" y="115"/>
                    <a:pt x="55" y="111"/>
                    <a:pt x="55" y="106"/>
                  </a:cubicBezTo>
                  <a:cubicBezTo>
                    <a:pt x="55" y="88"/>
                    <a:pt x="53" y="70"/>
                    <a:pt x="50" y="52"/>
                  </a:cubicBezTo>
                  <a:cubicBezTo>
                    <a:pt x="49" y="44"/>
                    <a:pt x="48" y="36"/>
                    <a:pt x="45" y="28"/>
                  </a:cubicBezTo>
                  <a:cubicBezTo>
                    <a:pt x="44" y="24"/>
                    <a:pt x="42" y="20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35" y="13"/>
                    <a:pt x="30" y="10"/>
                    <a:pt x="25" y="8"/>
                  </a:cubicBezTo>
                  <a:cubicBezTo>
                    <a:pt x="17" y="4"/>
                    <a:pt x="9" y="2"/>
                    <a:pt x="0" y="0"/>
                  </a:cubicBezTo>
                  <a:cubicBezTo>
                    <a:pt x="0" y="0"/>
                    <a:pt x="68" y="37"/>
                    <a:pt x="35" y="213"/>
                  </a:cubicBezTo>
                  <a:close/>
                  <a:moveTo>
                    <a:pt x="50" y="24"/>
                  </a:moveTo>
                  <a:cubicBezTo>
                    <a:pt x="50" y="24"/>
                    <a:pt x="50" y="24"/>
                    <a:pt x="50" y="24"/>
                  </a:cubicBezTo>
                  <a:cubicBezTo>
                    <a:pt x="52" y="29"/>
                    <a:pt x="53" y="35"/>
                    <a:pt x="54" y="40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9" y="37"/>
                    <a:pt x="60" y="37"/>
                    <a:pt x="60" y="38"/>
                  </a:cubicBezTo>
                  <a:cubicBezTo>
                    <a:pt x="60" y="36"/>
                    <a:pt x="59" y="34"/>
                    <a:pt x="58" y="32"/>
                  </a:cubicBezTo>
                  <a:cubicBezTo>
                    <a:pt x="55" y="29"/>
                    <a:pt x="53" y="26"/>
                    <a:pt x="50" y="24"/>
                  </a:cubicBezTo>
                  <a:close/>
                  <a:moveTo>
                    <a:pt x="83" y="213"/>
                  </a:moveTo>
                  <a:cubicBezTo>
                    <a:pt x="83" y="213"/>
                    <a:pt x="83" y="213"/>
                    <a:pt x="83" y="213"/>
                  </a:cubicBezTo>
                  <a:cubicBezTo>
                    <a:pt x="84" y="212"/>
                    <a:pt x="85" y="211"/>
                    <a:pt x="86" y="210"/>
                  </a:cubicBezTo>
                  <a:cubicBezTo>
                    <a:pt x="86" y="210"/>
                    <a:pt x="87" y="209"/>
                    <a:pt x="87" y="209"/>
                  </a:cubicBezTo>
                  <a:cubicBezTo>
                    <a:pt x="87" y="204"/>
                    <a:pt x="87" y="200"/>
                    <a:pt x="87" y="196"/>
                  </a:cubicBezTo>
                  <a:cubicBezTo>
                    <a:pt x="87" y="188"/>
                    <a:pt x="87" y="179"/>
                    <a:pt x="87" y="171"/>
                  </a:cubicBezTo>
                  <a:cubicBezTo>
                    <a:pt x="87" y="157"/>
                    <a:pt x="86" y="143"/>
                    <a:pt x="85" y="130"/>
                  </a:cubicBezTo>
                  <a:cubicBezTo>
                    <a:pt x="81" y="130"/>
                    <a:pt x="78" y="130"/>
                    <a:pt x="74" y="130"/>
                  </a:cubicBezTo>
                  <a:cubicBezTo>
                    <a:pt x="71" y="130"/>
                    <a:pt x="68" y="130"/>
                    <a:pt x="65" y="129"/>
                  </a:cubicBezTo>
                  <a:cubicBezTo>
                    <a:pt x="64" y="129"/>
                    <a:pt x="63" y="129"/>
                    <a:pt x="62" y="129"/>
                  </a:cubicBezTo>
                  <a:cubicBezTo>
                    <a:pt x="62" y="139"/>
                    <a:pt x="62" y="149"/>
                    <a:pt x="62" y="159"/>
                  </a:cubicBezTo>
                  <a:cubicBezTo>
                    <a:pt x="62" y="168"/>
                    <a:pt x="62" y="178"/>
                    <a:pt x="62" y="187"/>
                  </a:cubicBezTo>
                  <a:cubicBezTo>
                    <a:pt x="62" y="192"/>
                    <a:pt x="62" y="196"/>
                    <a:pt x="62" y="201"/>
                  </a:cubicBezTo>
                  <a:cubicBezTo>
                    <a:pt x="62" y="205"/>
                    <a:pt x="62" y="209"/>
                    <a:pt x="61" y="213"/>
                  </a:cubicBezTo>
                  <a:cubicBezTo>
                    <a:pt x="69" y="213"/>
                    <a:pt x="76" y="213"/>
                    <a:pt x="83" y="213"/>
                  </a:cubicBezTo>
                  <a:close/>
                  <a:moveTo>
                    <a:pt x="68" y="50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6" y="48"/>
                    <a:pt x="64" y="45"/>
                    <a:pt x="63" y="42"/>
                  </a:cubicBezTo>
                  <a:cubicBezTo>
                    <a:pt x="63" y="44"/>
                    <a:pt x="61" y="46"/>
                    <a:pt x="58" y="46"/>
                  </a:cubicBezTo>
                  <a:cubicBezTo>
                    <a:pt x="57" y="46"/>
                    <a:pt x="56" y="45"/>
                    <a:pt x="55" y="44"/>
                  </a:cubicBezTo>
                  <a:cubicBezTo>
                    <a:pt x="55" y="45"/>
                    <a:pt x="56" y="47"/>
                    <a:pt x="56" y="48"/>
                  </a:cubicBezTo>
                  <a:cubicBezTo>
                    <a:pt x="59" y="66"/>
                    <a:pt x="61" y="85"/>
                    <a:pt x="62" y="103"/>
                  </a:cubicBezTo>
                  <a:cubicBezTo>
                    <a:pt x="62" y="108"/>
                    <a:pt x="62" y="112"/>
                    <a:pt x="62" y="116"/>
                  </a:cubicBezTo>
                  <a:cubicBezTo>
                    <a:pt x="65" y="115"/>
                    <a:pt x="69" y="115"/>
                    <a:pt x="72" y="115"/>
                  </a:cubicBezTo>
                  <a:cubicBezTo>
                    <a:pt x="76" y="115"/>
                    <a:pt x="80" y="115"/>
                    <a:pt x="83" y="115"/>
                  </a:cubicBezTo>
                  <a:cubicBezTo>
                    <a:pt x="82" y="99"/>
                    <a:pt x="82" y="84"/>
                    <a:pt x="78" y="69"/>
                  </a:cubicBezTo>
                  <a:cubicBezTo>
                    <a:pt x="75" y="63"/>
                    <a:pt x="72" y="56"/>
                    <a:pt x="68" y="50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ŝļidé"/>
            <p:cNvSpPr/>
            <p:nvPr/>
          </p:nvSpPr>
          <p:spPr bwMode="auto">
            <a:xfrm>
              <a:off x="6067419" y="3525374"/>
              <a:ext cx="176150" cy="274389"/>
            </a:xfrm>
            <a:custGeom>
              <a:avLst/>
              <a:gdLst>
                <a:gd name="T0" fmla="*/ 23 w 25"/>
                <a:gd name="T1" fmla="*/ 37 h 39"/>
                <a:gd name="T2" fmla="*/ 23 w 25"/>
                <a:gd name="T3" fmla="*/ 37 h 39"/>
                <a:gd name="T4" fmla="*/ 24 w 25"/>
                <a:gd name="T5" fmla="*/ 23 h 39"/>
                <a:gd name="T6" fmla="*/ 24 w 25"/>
                <a:gd name="T7" fmla="*/ 10 h 39"/>
                <a:gd name="T8" fmla="*/ 25 w 25"/>
                <a:gd name="T9" fmla="*/ 2 h 39"/>
                <a:gd name="T10" fmla="*/ 11 w 25"/>
                <a:gd name="T11" fmla="*/ 1 h 39"/>
                <a:gd name="T12" fmla="*/ 4 w 25"/>
                <a:gd name="T13" fmla="*/ 1 h 39"/>
                <a:gd name="T14" fmla="*/ 2 w 25"/>
                <a:gd name="T15" fmla="*/ 7 h 39"/>
                <a:gd name="T16" fmla="*/ 1 w 25"/>
                <a:gd name="T17" fmla="*/ 20 h 39"/>
                <a:gd name="T18" fmla="*/ 1 w 25"/>
                <a:gd name="T19" fmla="*/ 32 h 39"/>
                <a:gd name="T20" fmla="*/ 1 w 25"/>
                <a:gd name="T21" fmla="*/ 36 h 39"/>
                <a:gd name="T22" fmla="*/ 3 w 25"/>
                <a:gd name="T23" fmla="*/ 36 h 39"/>
                <a:gd name="T24" fmla="*/ 12 w 25"/>
                <a:gd name="T25" fmla="*/ 37 h 39"/>
                <a:gd name="T26" fmla="*/ 23 w 25"/>
                <a:gd name="T27" fmla="*/ 39 h 39"/>
                <a:gd name="T28" fmla="*/ 23 w 25"/>
                <a:gd name="T29" fmla="*/ 3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39">
                  <a:moveTo>
                    <a:pt x="23" y="37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32"/>
                    <a:pt x="23" y="28"/>
                    <a:pt x="24" y="23"/>
                  </a:cubicBezTo>
                  <a:cubicBezTo>
                    <a:pt x="24" y="19"/>
                    <a:pt x="24" y="15"/>
                    <a:pt x="24" y="10"/>
                  </a:cubicBezTo>
                  <a:cubicBezTo>
                    <a:pt x="25" y="7"/>
                    <a:pt x="24" y="4"/>
                    <a:pt x="25" y="2"/>
                  </a:cubicBezTo>
                  <a:cubicBezTo>
                    <a:pt x="21" y="0"/>
                    <a:pt x="16" y="1"/>
                    <a:pt x="11" y="1"/>
                  </a:cubicBezTo>
                  <a:cubicBezTo>
                    <a:pt x="9" y="0"/>
                    <a:pt x="6" y="0"/>
                    <a:pt x="4" y="1"/>
                  </a:cubicBezTo>
                  <a:cubicBezTo>
                    <a:pt x="2" y="2"/>
                    <a:pt x="2" y="5"/>
                    <a:pt x="2" y="7"/>
                  </a:cubicBezTo>
                  <a:cubicBezTo>
                    <a:pt x="1" y="11"/>
                    <a:pt x="1" y="16"/>
                    <a:pt x="1" y="20"/>
                  </a:cubicBezTo>
                  <a:cubicBezTo>
                    <a:pt x="0" y="24"/>
                    <a:pt x="1" y="28"/>
                    <a:pt x="1" y="32"/>
                  </a:cubicBezTo>
                  <a:cubicBezTo>
                    <a:pt x="1" y="33"/>
                    <a:pt x="1" y="35"/>
                    <a:pt x="1" y="36"/>
                  </a:cubicBezTo>
                  <a:cubicBezTo>
                    <a:pt x="2" y="36"/>
                    <a:pt x="2" y="36"/>
                    <a:pt x="3" y="36"/>
                  </a:cubicBezTo>
                  <a:cubicBezTo>
                    <a:pt x="6" y="36"/>
                    <a:pt x="9" y="36"/>
                    <a:pt x="12" y="37"/>
                  </a:cubicBezTo>
                  <a:cubicBezTo>
                    <a:pt x="16" y="37"/>
                    <a:pt x="20" y="37"/>
                    <a:pt x="23" y="39"/>
                  </a:cubicBezTo>
                  <a:cubicBezTo>
                    <a:pt x="23" y="38"/>
                    <a:pt x="23" y="37"/>
                    <a:pt x="23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îṡḷîḋè"/>
            <p:cNvSpPr/>
            <p:nvPr/>
          </p:nvSpPr>
          <p:spPr bwMode="auto">
            <a:xfrm>
              <a:off x="6700884" y="3308574"/>
              <a:ext cx="64364" cy="287939"/>
            </a:xfrm>
            <a:custGeom>
              <a:avLst/>
              <a:gdLst>
                <a:gd name="T0" fmla="*/ 8 w 9"/>
                <a:gd name="T1" fmla="*/ 31 h 41"/>
                <a:gd name="T2" fmla="*/ 8 w 9"/>
                <a:gd name="T3" fmla="*/ 31 h 41"/>
                <a:gd name="T4" fmla="*/ 9 w 9"/>
                <a:gd name="T5" fmla="*/ 8 h 41"/>
                <a:gd name="T6" fmla="*/ 8 w 9"/>
                <a:gd name="T7" fmla="*/ 7 h 41"/>
                <a:gd name="T8" fmla="*/ 4 w 9"/>
                <a:gd name="T9" fmla="*/ 0 h 41"/>
                <a:gd name="T10" fmla="*/ 3 w 9"/>
                <a:gd name="T11" fmla="*/ 3 h 41"/>
                <a:gd name="T12" fmla="*/ 1 w 9"/>
                <a:gd name="T13" fmla="*/ 15 h 41"/>
                <a:gd name="T14" fmla="*/ 7 w 9"/>
                <a:gd name="T15" fmla="*/ 41 h 41"/>
                <a:gd name="T16" fmla="*/ 8 w 9"/>
                <a:gd name="T17" fmla="*/ 3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41">
                  <a:moveTo>
                    <a:pt x="8" y="31"/>
                  </a:moveTo>
                  <a:cubicBezTo>
                    <a:pt x="8" y="31"/>
                    <a:pt x="8" y="31"/>
                    <a:pt x="8" y="31"/>
                  </a:cubicBezTo>
                  <a:cubicBezTo>
                    <a:pt x="9" y="23"/>
                    <a:pt x="9" y="16"/>
                    <a:pt x="9" y="8"/>
                  </a:cubicBezTo>
                  <a:cubicBezTo>
                    <a:pt x="9" y="8"/>
                    <a:pt x="8" y="8"/>
                    <a:pt x="8" y="7"/>
                  </a:cubicBezTo>
                  <a:cubicBezTo>
                    <a:pt x="6" y="5"/>
                    <a:pt x="6" y="2"/>
                    <a:pt x="4" y="0"/>
                  </a:cubicBezTo>
                  <a:cubicBezTo>
                    <a:pt x="4" y="1"/>
                    <a:pt x="3" y="2"/>
                    <a:pt x="3" y="3"/>
                  </a:cubicBezTo>
                  <a:cubicBezTo>
                    <a:pt x="2" y="7"/>
                    <a:pt x="1" y="11"/>
                    <a:pt x="1" y="15"/>
                  </a:cubicBezTo>
                  <a:cubicBezTo>
                    <a:pt x="0" y="24"/>
                    <a:pt x="1" y="34"/>
                    <a:pt x="7" y="41"/>
                  </a:cubicBezTo>
                  <a:cubicBezTo>
                    <a:pt x="7" y="38"/>
                    <a:pt x="7" y="34"/>
                    <a:pt x="8" y="3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ïSḷïḑe"/>
            <p:cNvSpPr/>
            <p:nvPr/>
          </p:nvSpPr>
          <p:spPr bwMode="auto">
            <a:xfrm>
              <a:off x="5996283" y="3295024"/>
              <a:ext cx="37264" cy="189700"/>
            </a:xfrm>
            <a:custGeom>
              <a:avLst/>
              <a:gdLst>
                <a:gd name="T0" fmla="*/ 5 w 5"/>
                <a:gd name="T1" fmla="*/ 0 h 27"/>
                <a:gd name="T2" fmla="*/ 5 w 5"/>
                <a:gd name="T3" fmla="*/ 0 h 27"/>
                <a:gd name="T4" fmla="*/ 4 w 5"/>
                <a:gd name="T5" fmla="*/ 1 h 27"/>
                <a:gd name="T6" fmla="*/ 2 w 5"/>
                <a:gd name="T7" fmla="*/ 8 h 27"/>
                <a:gd name="T8" fmla="*/ 2 w 5"/>
                <a:gd name="T9" fmla="*/ 9 h 27"/>
                <a:gd name="T10" fmla="*/ 2 w 5"/>
                <a:gd name="T11" fmla="*/ 11 h 27"/>
                <a:gd name="T12" fmla="*/ 1 w 5"/>
                <a:gd name="T13" fmla="*/ 15 h 27"/>
                <a:gd name="T14" fmla="*/ 0 w 5"/>
                <a:gd name="T15" fmla="*/ 27 h 27"/>
                <a:gd name="T16" fmla="*/ 0 w 5"/>
                <a:gd name="T17" fmla="*/ 26 h 27"/>
                <a:gd name="T18" fmla="*/ 5 w 5"/>
                <a:gd name="T19" fmla="*/ 11 h 27"/>
                <a:gd name="T20" fmla="*/ 5 w 5"/>
                <a:gd name="T2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27"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3"/>
                    <a:pt x="2" y="6"/>
                    <a:pt x="2" y="8"/>
                  </a:cubicBezTo>
                  <a:cubicBezTo>
                    <a:pt x="2" y="8"/>
                    <a:pt x="2" y="9"/>
                    <a:pt x="2" y="9"/>
                  </a:cubicBezTo>
                  <a:cubicBezTo>
                    <a:pt x="2" y="9"/>
                    <a:pt x="2" y="11"/>
                    <a:pt x="2" y="11"/>
                  </a:cubicBezTo>
                  <a:cubicBezTo>
                    <a:pt x="1" y="12"/>
                    <a:pt x="1" y="14"/>
                    <a:pt x="1" y="15"/>
                  </a:cubicBezTo>
                  <a:cubicBezTo>
                    <a:pt x="1" y="19"/>
                    <a:pt x="1" y="23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" y="22"/>
                    <a:pt x="4" y="16"/>
                    <a:pt x="5" y="11"/>
                  </a:cubicBezTo>
                  <a:cubicBezTo>
                    <a:pt x="5" y="7"/>
                    <a:pt x="5" y="4"/>
                    <a:pt x="5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Sľiḓè"/>
            <p:cNvSpPr/>
            <p:nvPr/>
          </p:nvSpPr>
          <p:spPr bwMode="auto">
            <a:xfrm>
              <a:off x="5054555" y="4003014"/>
              <a:ext cx="105014" cy="386176"/>
            </a:xfrm>
            <a:custGeom>
              <a:avLst/>
              <a:gdLst>
                <a:gd name="T0" fmla="*/ 13 w 15"/>
                <a:gd name="T1" fmla="*/ 54 h 55"/>
                <a:gd name="T2" fmla="*/ 13 w 15"/>
                <a:gd name="T3" fmla="*/ 54 h 55"/>
                <a:gd name="T4" fmla="*/ 14 w 15"/>
                <a:gd name="T5" fmla="*/ 51 h 55"/>
                <a:gd name="T6" fmla="*/ 14 w 15"/>
                <a:gd name="T7" fmla="*/ 38 h 55"/>
                <a:gd name="T8" fmla="*/ 10 w 15"/>
                <a:gd name="T9" fmla="*/ 19 h 55"/>
                <a:gd name="T10" fmla="*/ 9 w 15"/>
                <a:gd name="T11" fmla="*/ 13 h 55"/>
                <a:gd name="T12" fmla="*/ 3 w 15"/>
                <a:gd name="T13" fmla="*/ 0 h 55"/>
                <a:gd name="T14" fmla="*/ 2 w 15"/>
                <a:gd name="T15" fmla="*/ 1 h 55"/>
                <a:gd name="T16" fmla="*/ 0 w 15"/>
                <a:gd name="T17" fmla="*/ 7 h 55"/>
                <a:gd name="T18" fmla="*/ 5 w 15"/>
                <a:gd name="T19" fmla="*/ 28 h 55"/>
                <a:gd name="T20" fmla="*/ 11 w 15"/>
                <a:gd name="T21" fmla="*/ 52 h 55"/>
                <a:gd name="T22" fmla="*/ 11 w 15"/>
                <a:gd name="T23" fmla="*/ 55 h 55"/>
                <a:gd name="T24" fmla="*/ 13 w 15"/>
                <a:gd name="T25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55">
                  <a:moveTo>
                    <a:pt x="13" y="54"/>
                  </a:move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14" y="53"/>
                    <a:pt x="14" y="51"/>
                  </a:cubicBezTo>
                  <a:cubicBezTo>
                    <a:pt x="15" y="48"/>
                    <a:pt x="14" y="42"/>
                    <a:pt x="14" y="38"/>
                  </a:cubicBezTo>
                  <a:cubicBezTo>
                    <a:pt x="13" y="32"/>
                    <a:pt x="12" y="25"/>
                    <a:pt x="10" y="19"/>
                  </a:cubicBezTo>
                  <a:cubicBezTo>
                    <a:pt x="10" y="17"/>
                    <a:pt x="9" y="15"/>
                    <a:pt x="9" y="13"/>
                  </a:cubicBezTo>
                  <a:cubicBezTo>
                    <a:pt x="6" y="9"/>
                    <a:pt x="5" y="4"/>
                    <a:pt x="3" y="0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4"/>
                    <a:pt x="3" y="21"/>
                    <a:pt x="5" y="28"/>
                  </a:cubicBezTo>
                  <a:cubicBezTo>
                    <a:pt x="7" y="36"/>
                    <a:pt x="8" y="44"/>
                    <a:pt x="11" y="52"/>
                  </a:cubicBezTo>
                  <a:cubicBezTo>
                    <a:pt x="11" y="53"/>
                    <a:pt x="11" y="54"/>
                    <a:pt x="11" y="55"/>
                  </a:cubicBezTo>
                  <a:cubicBezTo>
                    <a:pt x="12" y="54"/>
                    <a:pt x="12" y="54"/>
                    <a:pt x="13" y="54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S1íḑê"/>
            <p:cNvSpPr/>
            <p:nvPr/>
          </p:nvSpPr>
          <p:spPr bwMode="auto">
            <a:xfrm>
              <a:off x="5105367" y="4236751"/>
              <a:ext cx="54200" cy="152439"/>
            </a:xfrm>
            <a:custGeom>
              <a:avLst/>
              <a:gdLst>
                <a:gd name="T0" fmla="*/ 6 w 8"/>
                <a:gd name="T1" fmla="*/ 21 h 22"/>
                <a:gd name="T2" fmla="*/ 6 w 8"/>
                <a:gd name="T3" fmla="*/ 21 h 22"/>
                <a:gd name="T4" fmla="*/ 7 w 8"/>
                <a:gd name="T5" fmla="*/ 18 h 22"/>
                <a:gd name="T6" fmla="*/ 7 w 8"/>
                <a:gd name="T7" fmla="*/ 5 h 22"/>
                <a:gd name="T8" fmla="*/ 6 w 8"/>
                <a:gd name="T9" fmla="*/ 0 h 22"/>
                <a:gd name="T10" fmla="*/ 0 w 8"/>
                <a:gd name="T11" fmla="*/ 2 h 22"/>
                <a:gd name="T12" fmla="*/ 4 w 8"/>
                <a:gd name="T13" fmla="*/ 19 h 22"/>
                <a:gd name="T14" fmla="*/ 4 w 8"/>
                <a:gd name="T15" fmla="*/ 22 h 22"/>
                <a:gd name="T16" fmla="*/ 6 w 8"/>
                <a:gd name="T17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22"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7" y="20"/>
                    <a:pt x="7" y="18"/>
                  </a:cubicBezTo>
                  <a:cubicBezTo>
                    <a:pt x="8" y="15"/>
                    <a:pt x="7" y="9"/>
                    <a:pt x="7" y="5"/>
                  </a:cubicBezTo>
                  <a:cubicBezTo>
                    <a:pt x="6" y="3"/>
                    <a:pt x="6" y="2"/>
                    <a:pt x="6" y="0"/>
                  </a:cubicBezTo>
                  <a:cubicBezTo>
                    <a:pt x="4" y="1"/>
                    <a:pt x="2" y="1"/>
                    <a:pt x="0" y="2"/>
                  </a:cubicBezTo>
                  <a:cubicBezTo>
                    <a:pt x="1" y="8"/>
                    <a:pt x="2" y="14"/>
                    <a:pt x="4" y="19"/>
                  </a:cubicBezTo>
                  <a:cubicBezTo>
                    <a:pt x="4" y="20"/>
                    <a:pt x="4" y="21"/>
                    <a:pt x="4" y="22"/>
                  </a:cubicBezTo>
                  <a:cubicBezTo>
                    <a:pt x="5" y="21"/>
                    <a:pt x="5" y="21"/>
                    <a:pt x="6" y="2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iŝḻîďe"/>
            <p:cNvSpPr/>
            <p:nvPr/>
          </p:nvSpPr>
          <p:spPr bwMode="auto">
            <a:xfrm>
              <a:off x="6216470" y="5706929"/>
              <a:ext cx="254064" cy="169375"/>
            </a:xfrm>
            <a:custGeom>
              <a:avLst/>
              <a:gdLst>
                <a:gd name="T0" fmla="*/ 21 w 36"/>
                <a:gd name="T1" fmla="*/ 21 h 24"/>
                <a:gd name="T2" fmla="*/ 21 w 36"/>
                <a:gd name="T3" fmla="*/ 21 h 24"/>
                <a:gd name="T4" fmla="*/ 34 w 36"/>
                <a:gd name="T5" fmla="*/ 8 h 24"/>
                <a:gd name="T6" fmla="*/ 36 w 36"/>
                <a:gd name="T7" fmla="*/ 1 h 24"/>
                <a:gd name="T8" fmla="*/ 33 w 36"/>
                <a:gd name="T9" fmla="*/ 1 h 24"/>
                <a:gd name="T10" fmla="*/ 11 w 36"/>
                <a:gd name="T11" fmla="*/ 0 h 24"/>
                <a:gd name="T12" fmla="*/ 0 w 36"/>
                <a:gd name="T13" fmla="*/ 0 h 24"/>
                <a:gd name="T14" fmla="*/ 21 w 36"/>
                <a:gd name="T15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4">
                  <a:moveTo>
                    <a:pt x="21" y="21"/>
                  </a:moveTo>
                  <a:cubicBezTo>
                    <a:pt x="21" y="21"/>
                    <a:pt x="21" y="21"/>
                    <a:pt x="21" y="21"/>
                  </a:cubicBezTo>
                  <a:cubicBezTo>
                    <a:pt x="28" y="19"/>
                    <a:pt x="32" y="14"/>
                    <a:pt x="34" y="8"/>
                  </a:cubicBezTo>
                  <a:cubicBezTo>
                    <a:pt x="35" y="7"/>
                    <a:pt x="35" y="4"/>
                    <a:pt x="36" y="1"/>
                  </a:cubicBezTo>
                  <a:cubicBezTo>
                    <a:pt x="35" y="1"/>
                    <a:pt x="34" y="1"/>
                    <a:pt x="33" y="1"/>
                  </a:cubicBezTo>
                  <a:cubicBezTo>
                    <a:pt x="26" y="0"/>
                    <a:pt x="18" y="0"/>
                    <a:pt x="11" y="0"/>
                  </a:cubicBezTo>
                  <a:cubicBezTo>
                    <a:pt x="7" y="0"/>
                    <a:pt x="4" y="0"/>
                    <a:pt x="0" y="0"/>
                  </a:cubicBezTo>
                  <a:cubicBezTo>
                    <a:pt x="4" y="11"/>
                    <a:pt x="9" y="24"/>
                    <a:pt x="21" y="2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ŝ1îḓè"/>
            <p:cNvSpPr/>
            <p:nvPr/>
          </p:nvSpPr>
          <p:spPr bwMode="auto">
            <a:xfrm>
              <a:off x="6301158" y="5706929"/>
              <a:ext cx="169375" cy="152439"/>
            </a:xfrm>
            <a:custGeom>
              <a:avLst/>
              <a:gdLst>
                <a:gd name="T0" fmla="*/ 9 w 24"/>
                <a:gd name="T1" fmla="*/ 21 h 22"/>
                <a:gd name="T2" fmla="*/ 9 w 24"/>
                <a:gd name="T3" fmla="*/ 21 h 22"/>
                <a:gd name="T4" fmla="*/ 22 w 24"/>
                <a:gd name="T5" fmla="*/ 8 h 22"/>
                <a:gd name="T6" fmla="*/ 24 w 24"/>
                <a:gd name="T7" fmla="*/ 1 h 22"/>
                <a:gd name="T8" fmla="*/ 21 w 24"/>
                <a:gd name="T9" fmla="*/ 1 h 22"/>
                <a:gd name="T10" fmla="*/ 8 w 24"/>
                <a:gd name="T11" fmla="*/ 0 h 22"/>
                <a:gd name="T12" fmla="*/ 0 w 24"/>
                <a:gd name="T13" fmla="*/ 20 h 22"/>
                <a:gd name="T14" fmla="*/ 9 w 24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2">
                  <a:moveTo>
                    <a:pt x="9" y="21"/>
                  </a:moveTo>
                  <a:cubicBezTo>
                    <a:pt x="9" y="21"/>
                    <a:pt x="9" y="21"/>
                    <a:pt x="9" y="21"/>
                  </a:cubicBezTo>
                  <a:cubicBezTo>
                    <a:pt x="16" y="19"/>
                    <a:pt x="20" y="14"/>
                    <a:pt x="22" y="8"/>
                  </a:cubicBezTo>
                  <a:cubicBezTo>
                    <a:pt x="23" y="7"/>
                    <a:pt x="23" y="4"/>
                    <a:pt x="24" y="1"/>
                  </a:cubicBezTo>
                  <a:cubicBezTo>
                    <a:pt x="23" y="1"/>
                    <a:pt x="22" y="1"/>
                    <a:pt x="21" y="1"/>
                  </a:cubicBezTo>
                  <a:cubicBezTo>
                    <a:pt x="17" y="0"/>
                    <a:pt x="12" y="0"/>
                    <a:pt x="8" y="0"/>
                  </a:cubicBezTo>
                  <a:cubicBezTo>
                    <a:pt x="5" y="7"/>
                    <a:pt x="2" y="14"/>
                    <a:pt x="0" y="20"/>
                  </a:cubicBezTo>
                  <a:cubicBezTo>
                    <a:pt x="3" y="21"/>
                    <a:pt x="6" y="22"/>
                    <a:pt x="9" y="2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sḻíḓe"/>
            <p:cNvSpPr/>
            <p:nvPr/>
          </p:nvSpPr>
          <p:spPr bwMode="auto">
            <a:xfrm>
              <a:off x="7131097" y="4721165"/>
              <a:ext cx="392951" cy="233739"/>
            </a:xfrm>
            <a:custGeom>
              <a:avLst/>
              <a:gdLst>
                <a:gd name="T0" fmla="*/ 3 w 56"/>
                <a:gd name="T1" fmla="*/ 1 h 33"/>
                <a:gd name="T2" fmla="*/ 3 w 56"/>
                <a:gd name="T3" fmla="*/ 1 h 33"/>
                <a:gd name="T4" fmla="*/ 1 w 56"/>
                <a:gd name="T5" fmla="*/ 4 h 33"/>
                <a:gd name="T6" fmla="*/ 0 w 56"/>
                <a:gd name="T7" fmla="*/ 5 h 33"/>
                <a:gd name="T8" fmla="*/ 31 w 56"/>
                <a:gd name="T9" fmla="*/ 19 h 33"/>
                <a:gd name="T10" fmla="*/ 47 w 56"/>
                <a:gd name="T11" fmla="*/ 28 h 33"/>
                <a:gd name="T12" fmla="*/ 53 w 56"/>
                <a:gd name="T13" fmla="*/ 33 h 33"/>
                <a:gd name="T14" fmla="*/ 56 w 56"/>
                <a:gd name="T15" fmla="*/ 29 h 33"/>
                <a:gd name="T16" fmla="*/ 54 w 56"/>
                <a:gd name="T17" fmla="*/ 21 h 33"/>
                <a:gd name="T18" fmla="*/ 52 w 56"/>
                <a:gd name="T19" fmla="*/ 20 h 33"/>
                <a:gd name="T20" fmla="*/ 41 w 56"/>
                <a:gd name="T21" fmla="*/ 15 h 33"/>
                <a:gd name="T22" fmla="*/ 20 w 56"/>
                <a:gd name="T23" fmla="*/ 6 h 33"/>
                <a:gd name="T24" fmla="*/ 11 w 56"/>
                <a:gd name="T25" fmla="*/ 3 h 33"/>
                <a:gd name="T26" fmla="*/ 3 w 56"/>
                <a:gd name="T27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33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2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11" y="7"/>
                    <a:pt x="21" y="13"/>
                    <a:pt x="31" y="19"/>
                  </a:cubicBezTo>
                  <a:cubicBezTo>
                    <a:pt x="36" y="22"/>
                    <a:pt x="42" y="25"/>
                    <a:pt x="47" y="28"/>
                  </a:cubicBezTo>
                  <a:cubicBezTo>
                    <a:pt x="49" y="29"/>
                    <a:pt x="51" y="31"/>
                    <a:pt x="53" y="33"/>
                  </a:cubicBezTo>
                  <a:cubicBezTo>
                    <a:pt x="55" y="32"/>
                    <a:pt x="56" y="32"/>
                    <a:pt x="56" y="29"/>
                  </a:cubicBezTo>
                  <a:cubicBezTo>
                    <a:pt x="56" y="27"/>
                    <a:pt x="55" y="24"/>
                    <a:pt x="54" y="21"/>
                  </a:cubicBezTo>
                  <a:cubicBezTo>
                    <a:pt x="53" y="21"/>
                    <a:pt x="53" y="20"/>
                    <a:pt x="52" y="20"/>
                  </a:cubicBezTo>
                  <a:cubicBezTo>
                    <a:pt x="48" y="18"/>
                    <a:pt x="44" y="17"/>
                    <a:pt x="41" y="15"/>
                  </a:cubicBezTo>
                  <a:cubicBezTo>
                    <a:pt x="33" y="12"/>
                    <a:pt x="27" y="9"/>
                    <a:pt x="20" y="6"/>
                  </a:cubicBezTo>
                  <a:cubicBezTo>
                    <a:pt x="17" y="5"/>
                    <a:pt x="14" y="4"/>
                    <a:pt x="11" y="3"/>
                  </a:cubicBezTo>
                  <a:cubicBezTo>
                    <a:pt x="9" y="2"/>
                    <a:pt x="6" y="0"/>
                    <a:pt x="3" y="1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ṧḻiḍé"/>
            <p:cNvSpPr/>
            <p:nvPr/>
          </p:nvSpPr>
          <p:spPr bwMode="auto">
            <a:xfrm>
              <a:off x="7131097" y="4721165"/>
              <a:ext cx="155825" cy="77914"/>
            </a:xfrm>
            <a:custGeom>
              <a:avLst/>
              <a:gdLst>
                <a:gd name="T0" fmla="*/ 3 w 22"/>
                <a:gd name="T1" fmla="*/ 1 h 11"/>
                <a:gd name="T2" fmla="*/ 3 w 22"/>
                <a:gd name="T3" fmla="*/ 1 h 11"/>
                <a:gd name="T4" fmla="*/ 1 w 22"/>
                <a:gd name="T5" fmla="*/ 4 h 11"/>
                <a:gd name="T6" fmla="*/ 0 w 22"/>
                <a:gd name="T7" fmla="*/ 5 h 11"/>
                <a:gd name="T8" fmla="*/ 17 w 22"/>
                <a:gd name="T9" fmla="*/ 11 h 11"/>
                <a:gd name="T10" fmla="*/ 22 w 22"/>
                <a:gd name="T11" fmla="*/ 7 h 11"/>
                <a:gd name="T12" fmla="*/ 20 w 22"/>
                <a:gd name="T13" fmla="*/ 6 h 11"/>
                <a:gd name="T14" fmla="*/ 11 w 22"/>
                <a:gd name="T15" fmla="*/ 3 h 11"/>
                <a:gd name="T16" fmla="*/ 3 w 22"/>
                <a:gd name="T1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11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2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6" y="6"/>
                    <a:pt x="11" y="8"/>
                    <a:pt x="17" y="11"/>
                  </a:cubicBezTo>
                  <a:cubicBezTo>
                    <a:pt x="18" y="9"/>
                    <a:pt x="20" y="8"/>
                    <a:pt x="22" y="7"/>
                  </a:cubicBezTo>
                  <a:cubicBezTo>
                    <a:pt x="21" y="6"/>
                    <a:pt x="20" y="6"/>
                    <a:pt x="20" y="6"/>
                  </a:cubicBezTo>
                  <a:cubicBezTo>
                    <a:pt x="17" y="5"/>
                    <a:pt x="14" y="4"/>
                    <a:pt x="11" y="3"/>
                  </a:cubicBezTo>
                  <a:cubicBezTo>
                    <a:pt x="9" y="2"/>
                    <a:pt x="6" y="0"/>
                    <a:pt x="3" y="1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ṥḻiḓê"/>
            <p:cNvSpPr/>
            <p:nvPr/>
          </p:nvSpPr>
          <p:spPr bwMode="auto">
            <a:xfrm>
              <a:off x="5989508" y="4446776"/>
              <a:ext cx="724927" cy="77914"/>
            </a:xfrm>
            <a:custGeom>
              <a:avLst/>
              <a:gdLst>
                <a:gd name="T0" fmla="*/ 21 w 103"/>
                <a:gd name="T1" fmla="*/ 7 h 11"/>
                <a:gd name="T2" fmla="*/ 21 w 103"/>
                <a:gd name="T3" fmla="*/ 7 h 11"/>
                <a:gd name="T4" fmla="*/ 56 w 103"/>
                <a:gd name="T5" fmla="*/ 8 h 11"/>
                <a:gd name="T6" fmla="*/ 92 w 103"/>
                <a:gd name="T7" fmla="*/ 9 h 11"/>
                <a:gd name="T8" fmla="*/ 102 w 103"/>
                <a:gd name="T9" fmla="*/ 9 h 11"/>
                <a:gd name="T10" fmla="*/ 103 w 103"/>
                <a:gd name="T11" fmla="*/ 7 h 11"/>
                <a:gd name="T12" fmla="*/ 103 w 103"/>
                <a:gd name="T13" fmla="*/ 2 h 11"/>
                <a:gd name="T14" fmla="*/ 103 w 103"/>
                <a:gd name="T15" fmla="*/ 0 h 11"/>
                <a:gd name="T16" fmla="*/ 96 w 103"/>
                <a:gd name="T17" fmla="*/ 0 h 11"/>
                <a:gd name="T18" fmla="*/ 85 w 103"/>
                <a:gd name="T19" fmla="*/ 1 h 11"/>
                <a:gd name="T20" fmla="*/ 57 w 103"/>
                <a:gd name="T21" fmla="*/ 2 h 11"/>
                <a:gd name="T22" fmla="*/ 29 w 103"/>
                <a:gd name="T23" fmla="*/ 3 h 11"/>
                <a:gd name="T24" fmla="*/ 15 w 103"/>
                <a:gd name="T25" fmla="*/ 2 h 11"/>
                <a:gd name="T26" fmla="*/ 2 w 103"/>
                <a:gd name="T27" fmla="*/ 0 h 11"/>
                <a:gd name="T28" fmla="*/ 0 w 103"/>
                <a:gd name="T29" fmla="*/ 6 h 11"/>
                <a:gd name="T30" fmla="*/ 3 w 103"/>
                <a:gd name="T31" fmla="*/ 7 h 11"/>
                <a:gd name="T32" fmla="*/ 21 w 103"/>
                <a:gd name="T3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1">
                  <a:moveTo>
                    <a:pt x="21" y="7"/>
                  </a:moveTo>
                  <a:cubicBezTo>
                    <a:pt x="21" y="7"/>
                    <a:pt x="21" y="7"/>
                    <a:pt x="21" y="7"/>
                  </a:cubicBezTo>
                  <a:cubicBezTo>
                    <a:pt x="33" y="7"/>
                    <a:pt x="44" y="8"/>
                    <a:pt x="56" y="8"/>
                  </a:cubicBezTo>
                  <a:cubicBezTo>
                    <a:pt x="68" y="8"/>
                    <a:pt x="80" y="8"/>
                    <a:pt x="92" y="9"/>
                  </a:cubicBezTo>
                  <a:cubicBezTo>
                    <a:pt x="95" y="10"/>
                    <a:pt x="99" y="11"/>
                    <a:pt x="102" y="9"/>
                  </a:cubicBezTo>
                  <a:cubicBezTo>
                    <a:pt x="103" y="9"/>
                    <a:pt x="103" y="6"/>
                    <a:pt x="103" y="7"/>
                  </a:cubicBezTo>
                  <a:cubicBezTo>
                    <a:pt x="103" y="6"/>
                    <a:pt x="103" y="4"/>
                    <a:pt x="103" y="2"/>
                  </a:cubicBezTo>
                  <a:cubicBezTo>
                    <a:pt x="103" y="2"/>
                    <a:pt x="103" y="1"/>
                    <a:pt x="103" y="0"/>
                  </a:cubicBezTo>
                  <a:cubicBezTo>
                    <a:pt x="100" y="0"/>
                    <a:pt x="98" y="0"/>
                    <a:pt x="96" y="0"/>
                  </a:cubicBezTo>
                  <a:cubicBezTo>
                    <a:pt x="92" y="0"/>
                    <a:pt x="88" y="1"/>
                    <a:pt x="85" y="1"/>
                  </a:cubicBezTo>
                  <a:cubicBezTo>
                    <a:pt x="75" y="1"/>
                    <a:pt x="66" y="2"/>
                    <a:pt x="57" y="2"/>
                  </a:cubicBezTo>
                  <a:cubicBezTo>
                    <a:pt x="47" y="3"/>
                    <a:pt x="38" y="3"/>
                    <a:pt x="29" y="3"/>
                  </a:cubicBezTo>
                  <a:cubicBezTo>
                    <a:pt x="24" y="2"/>
                    <a:pt x="19" y="2"/>
                    <a:pt x="15" y="2"/>
                  </a:cubicBezTo>
                  <a:cubicBezTo>
                    <a:pt x="11" y="1"/>
                    <a:pt x="6" y="2"/>
                    <a:pt x="2" y="0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1" y="7"/>
                    <a:pt x="2" y="7"/>
                    <a:pt x="3" y="7"/>
                  </a:cubicBezTo>
                  <a:cubicBezTo>
                    <a:pt x="8" y="8"/>
                    <a:pt x="15" y="8"/>
                    <a:pt x="21" y="7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$ḷïḍé"/>
            <p:cNvSpPr/>
            <p:nvPr/>
          </p:nvSpPr>
          <p:spPr bwMode="auto">
            <a:xfrm>
              <a:off x="7503723" y="2295710"/>
              <a:ext cx="169375" cy="118564"/>
            </a:xfrm>
            <a:custGeom>
              <a:avLst/>
              <a:gdLst>
                <a:gd name="T0" fmla="*/ 1 w 24"/>
                <a:gd name="T1" fmla="*/ 13 h 17"/>
                <a:gd name="T2" fmla="*/ 1 w 24"/>
                <a:gd name="T3" fmla="*/ 13 h 17"/>
                <a:gd name="T4" fmla="*/ 3 w 24"/>
                <a:gd name="T5" fmla="*/ 14 h 17"/>
                <a:gd name="T6" fmla="*/ 7 w 24"/>
                <a:gd name="T7" fmla="*/ 16 h 17"/>
                <a:gd name="T8" fmla="*/ 9 w 24"/>
                <a:gd name="T9" fmla="*/ 16 h 17"/>
                <a:gd name="T10" fmla="*/ 10 w 24"/>
                <a:gd name="T11" fmla="*/ 17 h 17"/>
                <a:gd name="T12" fmla="*/ 11 w 24"/>
                <a:gd name="T13" fmla="*/ 17 h 17"/>
                <a:gd name="T14" fmla="*/ 14 w 24"/>
                <a:gd name="T15" fmla="*/ 17 h 17"/>
                <a:gd name="T16" fmla="*/ 15 w 24"/>
                <a:gd name="T17" fmla="*/ 17 h 17"/>
                <a:gd name="T18" fmla="*/ 16 w 24"/>
                <a:gd name="T19" fmla="*/ 16 h 17"/>
                <a:gd name="T20" fmla="*/ 23 w 24"/>
                <a:gd name="T21" fmla="*/ 13 h 17"/>
                <a:gd name="T22" fmla="*/ 19 w 24"/>
                <a:gd name="T23" fmla="*/ 3 h 17"/>
                <a:gd name="T24" fmla="*/ 19 w 24"/>
                <a:gd name="T25" fmla="*/ 2 h 17"/>
                <a:gd name="T26" fmla="*/ 7 w 24"/>
                <a:gd name="T27" fmla="*/ 1 h 17"/>
                <a:gd name="T28" fmla="*/ 2 w 24"/>
                <a:gd name="T29" fmla="*/ 5 h 17"/>
                <a:gd name="T30" fmla="*/ 0 w 24"/>
                <a:gd name="T31" fmla="*/ 7 h 17"/>
                <a:gd name="T32" fmla="*/ 0 w 24"/>
                <a:gd name="T33" fmla="*/ 7 h 17"/>
                <a:gd name="T34" fmla="*/ 0 w 24"/>
                <a:gd name="T35" fmla="*/ 12 h 17"/>
                <a:gd name="T36" fmla="*/ 0 w 24"/>
                <a:gd name="T37" fmla="*/ 12 h 17"/>
                <a:gd name="T38" fmla="*/ 1 w 24"/>
                <a:gd name="T39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17">
                  <a:moveTo>
                    <a:pt x="1" y="13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0" y="12"/>
                    <a:pt x="2" y="14"/>
                    <a:pt x="3" y="14"/>
                  </a:cubicBezTo>
                  <a:cubicBezTo>
                    <a:pt x="5" y="15"/>
                    <a:pt x="4" y="15"/>
                    <a:pt x="7" y="16"/>
                  </a:cubicBezTo>
                  <a:cubicBezTo>
                    <a:pt x="8" y="16"/>
                    <a:pt x="9" y="16"/>
                    <a:pt x="9" y="16"/>
                  </a:cubicBezTo>
                  <a:cubicBezTo>
                    <a:pt x="10" y="16"/>
                    <a:pt x="10" y="17"/>
                    <a:pt x="10" y="17"/>
                  </a:cubicBezTo>
                  <a:cubicBezTo>
                    <a:pt x="10" y="17"/>
                    <a:pt x="11" y="17"/>
                    <a:pt x="11" y="17"/>
                  </a:cubicBezTo>
                  <a:cubicBezTo>
                    <a:pt x="12" y="17"/>
                    <a:pt x="13" y="17"/>
                    <a:pt x="14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6" y="16"/>
                    <a:pt x="16" y="16"/>
                  </a:cubicBezTo>
                  <a:cubicBezTo>
                    <a:pt x="19" y="16"/>
                    <a:pt x="22" y="15"/>
                    <a:pt x="23" y="13"/>
                  </a:cubicBezTo>
                  <a:cubicBezTo>
                    <a:pt x="24" y="9"/>
                    <a:pt x="21" y="6"/>
                    <a:pt x="19" y="3"/>
                  </a:cubicBezTo>
                  <a:cubicBezTo>
                    <a:pt x="19" y="3"/>
                    <a:pt x="19" y="3"/>
                    <a:pt x="19" y="2"/>
                  </a:cubicBezTo>
                  <a:cubicBezTo>
                    <a:pt x="15" y="2"/>
                    <a:pt x="11" y="0"/>
                    <a:pt x="7" y="1"/>
                  </a:cubicBezTo>
                  <a:cubicBezTo>
                    <a:pt x="5" y="2"/>
                    <a:pt x="3" y="3"/>
                    <a:pt x="2" y="5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9"/>
                    <a:pt x="0" y="10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1" y="13"/>
                    <a:pt x="1" y="13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$1îḓê"/>
            <p:cNvSpPr/>
            <p:nvPr/>
          </p:nvSpPr>
          <p:spPr bwMode="auto">
            <a:xfrm>
              <a:off x="5406856" y="230248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$lïďé"/>
            <p:cNvSpPr/>
            <p:nvPr/>
          </p:nvSpPr>
          <p:spPr bwMode="auto">
            <a:xfrm>
              <a:off x="5203606" y="2322810"/>
              <a:ext cx="111789" cy="91464"/>
            </a:xfrm>
            <a:custGeom>
              <a:avLst/>
              <a:gdLst>
                <a:gd name="T0" fmla="*/ 0 w 16"/>
                <a:gd name="T1" fmla="*/ 5 h 13"/>
                <a:gd name="T2" fmla="*/ 0 w 16"/>
                <a:gd name="T3" fmla="*/ 5 h 13"/>
                <a:gd name="T4" fmla="*/ 4 w 16"/>
                <a:gd name="T5" fmla="*/ 11 h 13"/>
                <a:gd name="T6" fmla="*/ 12 w 16"/>
                <a:gd name="T7" fmla="*/ 11 h 13"/>
                <a:gd name="T8" fmla="*/ 16 w 16"/>
                <a:gd name="T9" fmla="*/ 5 h 13"/>
                <a:gd name="T10" fmla="*/ 14 w 16"/>
                <a:gd name="T11" fmla="*/ 0 h 13"/>
                <a:gd name="T12" fmla="*/ 3 w 16"/>
                <a:gd name="T13" fmla="*/ 1 h 13"/>
                <a:gd name="T14" fmla="*/ 0 w 16"/>
                <a:gd name="T15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3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2" y="10"/>
                    <a:pt x="4" y="11"/>
                  </a:cubicBezTo>
                  <a:cubicBezTo>
                    <a:pt x="7" y="13"/>
                    <a:pt x="9" y="13"/>
                    <a:pt x="12" y="11"/>
                  </a:cubicBezTo>
                  <a:cubicBezTo>
                    <a:pt x="14" y="10"/>
                    <a:pt x="16" y="8"/>
                    <a:pt x="16" y="5"/>
                  </a:cubicBezTo>
                  <a:cubicBezTo>
                    <a:pt x="16" y="3"/>
                    <a:pt x="15" y="2"/>
                    <a:pt x="14" y="0"/>
                  </a:cubicBezTo>
                  <a:cubicBezTo>
                    <a:pt x="10" y="1"/>
                    <a:pt x="7" y="0"/>
                    <a:pt x="3" y="1"/>
                  </a:cubicBezTo>
                  <a:cubicBezTo>
                    <a:pt x="2" y="1"/>
                    <a:pt x="0" y="3"/>
                    <a:pt x="0" y="5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îsľidê"/>
            <p:cNvSpPr/>
            <p:nvPr/>
          </p:nvSpPr>
          <p:spPr bwMode="auto">
            <a:xfrm>
              <a:off x="6216470" y="3264537"/>
              <a:ext cx="331976" cy="64364"/>
            </a:xfrm>
            <a:custGeom>
              <a:avLst/>
              <a:gdLst>
                <a:gd name="T0" fmla="*/ 27 w 47"/>
                <a:gd name="T1" fmla="*/ 0 h 9"/>
                <a:gd name="T2" fmla="*/ 27 w 47"/>
                <a:gd name="T3" fmla="*/ 0 h 9"/>
                <a:gd name="T4" fmla="*/ 0 w 47"/>
                <a:gd name="T5" fmla="*/ 0 h 9"/>
                <a:gd name="T6" fmla="*/ 2 w 47"/>
                <a:gd name="T7" fmla="*/ 2 h 9"/>
                <a:gd name="T8" fmla="*/ 19 w 47"/>
                <a:gd name="T9" fmla="*/ 8 h 9"/>
                <a:gd name="T10" fmla="*/ 42 w 47"/>
                <a:gd name="T11" fmla="*/ 3 h 9"/>
                <a:gd name="T12" fmla="*/ 47 w 47"/>
                <a:gd name="T13" fmla="*/ 1 h 9"/>
                <a:gd name="T14" fmla="*/ 27 w 47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9"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18" y="0"/>
                    <a:pt x="9" y="0"/>
                    <a:pt x="0" y="0"/>
                  </a:cubicBezTo>
                  <a:cubicBezTo>
                    <a:pt x="1" y="1"/>
                    <a:pt x="2" y="1"/>
                    <a:pt x="2" y="2"/>
                  </a:cubicBezTo>
                  <a:cubicBezTo>
                    <a:pt x="7" y="6"/>
                    <a:pt x="13" y="9"/>
                    <a:pt x="19" y="8"/>
                  </a:cubicBezTo>
                  <a:cubicBezTo>
                    <a:pt x="27" y="8"/>
                    <a:pt x="35" y="6"/>
                    <a:pt x="42" y="3"/>
                  </a:cubicBezTo>
                  <a:cubicBezTo>
                    <a:pt x="44" y="2"/>
                    <a:pt x="45" y="1"/>
                    <a:pt x="47" y="1"/>
                  </a:cubicBezTo>
                  <a:cubicBezTo>
                    <a:pt x="40" y="0"/>
                    <a:pt x="34" y="0"/>
                    <a:pt x="27" y="0"/>
                  </a:cubicBezTo>
                  <a:close/>
                </a:path>
              </a:pathLst>
            </a:custGeom>
            <a:solidFill>
              <a:srgbClr val="FB7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Sliḋè"/>
            <p:cNvSpPr/>
            <p:nvPr/>
          </p:nvSpPr>
          <p:spPr bwMode="auto">
            <a:xfrm>
              <a:off x="6470534" y="2295710"/>
              <a:ext cx="1202567" cy="2228980"/>
            </a:xfrm>
            <a:custGeom>
              <a:avLst/>
              <a:gdLst>
                <a:gd name="T0" fmla="*/ 6 w 171"/>
                <a:gd name="T1" fmla="*/ 307 h 317"/>
                <a:gd name="T2" fmla="*/ 0 w 171"/>
                <a:gd name="T3" fmla="*/ 314 h 317"/>
                <a:gd name="T4" fmla="*/ 24 w 171"/>
                <a:gd name="T5" fmla="*/ 315 h 317"/>
                <a:gd name="T6" fmla="*/ 34 w 171"/>
                <a:gd name="T7" fmla="*/ 315 h 317"/>
                <a:gd name="T8" fmla="*/ 35 w 171"/>
                <a:gd name="T9" fmla="*/ 313 h 317"/>
                <a:gd name="T10" fmla="*/ 35 w 171"/>
                <a:gd name="T11" fmla="*/ 308 h 317"/>
                <a:gd name="T12" fmla="*/ 35 w 171"/>
                <a:gd name="T13" fmla="*/ 306 h 317"/>
                <a:gd name="T14" fmla="*/ 28 w 171"/>
                <a:gd name="T15" fmla="*/ 306 h 317"/>
                <a:gd name="T16" fmla="*/ 17 w 171"/>
                <a:gd name="T17" fmla="*/ 307 h 317"/>
                <a:gd name="T18" fmla="*/ 6 w 171"/>
                <a:gd name="T19" fmla="*/ 307 h 317"/>
                <a:gd name="T20" fmla="*/ 148 w 171"/>
                <a:gd name="T21" fmla="*/ 13 h 317"/>
                <a:gd name="T22" fmla="*/ 148 w 171"/>
                <a:gd name="T23" fmla="*/ 13 h 317"/>
                <a:gd name="T24" fmla="*/ 150 w 171"/>
                <a:gd name="T25" fmla="*/ 14 h 317"/>
                <a:gd name="T26" fmla="*/ 154 w 171"/>
                <a:gd name="T27" fmla="*/ 16 h 317"/>
                <a:gd name="T28" fmla="*/ 156 w 171"/>
                <a:gd name="T29" fmla="*/ 16 h 317"/>
                <a:gd name="T30" fmla="*/ 157 w 171"/>
                <a:gd name="T31" fmla="*/ 17 h 317"/>
                <a:gd name="T32" fmla="*/ 158 w 171"/>
                <a:gd name="T33" fmla="*/ 17 h 317"/>
                <a:gd name="T34" fmla="*/ 161 w 171"/>
                <a:gd name="T35" fmla="*/ 17 h 317"/>
                <a:gd name="T36" fmla="*/ 162 w 171"/>
                <a:gd name="T37" fmla="*/ 17 h 317"/>
                <a:gd name="T38" fmla="*/ 163 w 171"/>
                <a:gd name="T39" fmla="*/ 16 h 317"/>
                <a:gd name="T40" fmla="*/ 170 w 171"/>
                <a:gd name="T41" fmla="*/ 13 h 317"/>
                <a:gd name="T42" fmla="*/ 166 w 171"/>
                <a:gd name="T43" fmla="*/ 3 h 317"/>
                <a:gd name="T44" fmla="*/ 166 w 171"/>
                <a:gd name="T45" fmla="*/ 2 h 317"/>
                <a:gd name="T46" fmla="*/ 154 w 171"/>
                <a:gd name="T47" fmla="*/ 1 h 317"/>
                <a:gd name="T48" fmla="*/ 149 w 171"/>
                <a:gd name="T49" fmla="*/ 5 h 317"/>
                <a:gd name="T50" fmla="*/ 147 w 171"/>
                <a:gd name="T51" fmla="*/ 7 h 317"/>
                <a:gd name="T52" fmla="*/ 147 w 171"/>
                <a:gd name="T53" fmla="*/ 7 h 317"/>
                <a:gd name="T54" fmla="*/ 147 w 171"/>
                <a:gd name="T55" fmla="*/ 12 h 317"/>
                <a:gd name="T56" fmla="*/ 147 w 171"/>
                <a:gd name="T57" fmla="*/ 12 h 317"/>
                <a:gd name="T58" fmla="*/ 148 w 171"/>
                <a:gd name="T59" fmla="*/ 13 h 317"/>
                <a:gd name="T60" fmla="*/ 41 w 171"/>
                <a:gd name="T61" fmla="*/ 175 h 317"/>
                <a:gd name="T62" fmla="*/ 41 w 171"/>
                <a:gd name="T63" fmla="*/ 175 h 317"/>
                <a:gd name="T64" fmla="*/ 42 w 171"/>
                <a:gd name="T65" fmla="*/ 152 h 317"/>
                <a:gd name="T66" fmla="*/ 41 w 171"/>
                <a:gd name="T67" fmla="*/ 151 h 317"/>
                <a:gd name="T68" fmla="*/ 37 w 171"/>
                <a:gd name="T69" fmla="*/ 144 h 317"/>
                <a:gd name="T70" fmla="*/ 36 w 171"/>
                <a:gd name="T71" fmla="*/ 147 h 317"/>
                <a:gd name="T72" fmla="*/ 34 w 171"/>
                <a:gd name="T73" fmla="*/ 159 h 317"/>
                <a:gd name="T74" fmla="*/ 40 w 171"/>
                <a:gd name="T75" fmla="*/ 185 h 317"/>
                <a:gd name="T76" fmla="*/ 41 w 171"/>
                <a:gd name="T77" fmla="*/ 17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1" h="317">
                  <a:moveTo>
                    <a:pt x="6" y="307"/>
                  </a:moveTo>
                  <a:cubicBezTo>
                    <a:pt x="5" y="310"/>
                    <a:pt x="3" y="312"/>
                    <a:pt x="0" y="314"/>
                  </a:cubicBezTo>
                  <a:cubicBezTo>
                    <a:pt x="8" y="314"/>
                    <a:pt x="16" y="315"/>
                    <a:pt x="24" y="315"/>
                  </a:cubicBezTo>
                  <a:cubicBezTo>
                    <a:pt x="27" y="316"/>
                    <a:pt x="31" y="317"/>
                    <a:pt x="34" y="315"/>
                  </a:cubicBezTo>
                  <a:cubicBezTo>
                    <a:pt x="35" y="315"/>
                    <a:pt x="35" y="312"/>
                    <a:pt x="35" y="313"/>
                  </a:cubicBezTo>
                  <a:cubicBezTo>
                    <a:pt x="35" y="312"/>
                    <a:pt x="35" y="310"/>
                    <a:pt x="35" y="308"/>
                  </a:cubicBezTo>
                  <a:cubicBezTo>
                    <a:pt x="35" y="308"/>
                    <a:pt x="35" y="307"/>
                    <a:pt x="35" y="306"/>
                  </a:cubicBezTo>
                  <a:cubicBezTo>
                    <a:pt x="32" y="306"/>
                    <a:pt x="30" y="306"/>
                    <a:pt x="28" y="306"/>
                  </a:cubicBezTo>
                  <a:cubicBezTo>
                    <a:pt x="24" y="306"/>
                    <a:pt x="20" y="307"/>
                    <a:pt x="17" y="307"/>
                  </a:cubicBezTo>
                  <a:cubicBezTo>
                    <a:pt x="13" y="307"/>
                    <a:pt x="10" y="307"/>
                    <a:pt x="6" y="307"/>
                  </a:cubicBezTo>
                  <a:close/>
                  <a:moveTo>
                    <a:pt x="148" y="13"/>
                  </a:moveTo>
                  <a:cubicBezTo>
                    <a:pt x="148" y="13"/>
                    <a:pt x="148" y="13"/>
                    <a:pt x="148" y="13"/>
                  </a:cubicBezTo>
                  <a:cubicBezTo>
                    <a:pt x="147" y="12"/>
                    <a:pt x="149" y="14"/>
                    <a:pt x="150" y="14"/>
                  </a:cubicBezTo>
                  <a:cubicBezTo>
                    <a:pt x="152" y="15"/>
                    <a:pt x="151" y="15"/>
                    <a:pt x="154" y="16"/>
                  </a:cubicBezTo>
                  <a:cubicBezTo>
                    <a:pt x="155" y="16"/>
                    <a:pt x="156" y="16"/>
                    <a:pt x="156" y="16"/>
                  </a:cubicBezTo>
                  <a:cubicBezTo>
                    <a:pt x="157" y="16"/>
                    <a:pt x="157" y="17"/>
                    <a:pt x="157" y="17"/>
                  </a:cubicBezTo>
                  <a:cubicBezTo>
                    <a:pt x="157" y="17"/>
                    <a:pt x="158" y="17"/>
                    <a:pt x="158" y="17"/>
                  </a:cubicBezTo>
                  <a:cubicBezTo>
                    <a:pt x="159" y="17"/>
                    <a:pt x="160" y="17"/>
                    <a:pt x="161" y="17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7"/>
                    <a:pt x="163" y="16"/>
                    <a:pt x="163" y="16"/>
                  </a:cubicBezTo>
                  <a:cubicBezTo>
                    <a:pt x="166" y="16"/>
                    <a:pt x="169" y="15"/>
                    <a:pt x="170" y="13"/>
                  </a:cubicBezTo>
                  <a:cubicBezTo>
                    <a:pt x="171" y="9"/>
                    <a:pt x="168" y="6"/>
                    <a:pt x="166" y="3"/>
                  </a:cubicBezTo>
                  <a:cubicBezTo>
                    <a:pt x="166" y="3"/>
                    <a:pt x="166" y="3"/>
                    <a:pt x="166" y="2"/>
                  </a:cubicBezTo>
                  <a:cubicBezTo>
                    <a:pt x="162" y="2"/>
                    <a:pt x="158" y="0"/>
                    <a:pt x="154" y="1"/>
                  </a:cubicBezTo>
                  <a:cubicBezTo>
                    <a:pt x="152" y="2"/>
                    <a:pt x="150" y="3"/>
                    <a:pt x="149" y="5"/>
                  </a:cubicBezTo>
                  <a:cubicBezTo>
                    <a:pt x="148" y="6"/>
                    <a:pt x="147" y="6"/>
                    <a:pt x="147" y="7"/>
                  </a:cubicBezTo>
                  <a:cubicBezTo>
                    <a:pt x="147" y="7"/>
                    <a:pt x="147" y="7"/>
                    <a:pt x="147" y="7"/>
                  </a:cubicBezTo>
                  <a:cubicBezTo>
                    <a:pt x="147" y="9"/>
                    <a:pt x="147" y="10"/>
                    <a:pt x="147" y="12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7" y="12"/>
                    <a:pt x="148" y="13"/>
                    <a:pt x="148" y="13"/>
                  </a:cubicBezTo>
                  <a:close/>
                  <a:moveTo>
                    <a:pt x="41" y="175"/>
                  </a:moveTo>
                  <a:cubicBezTo>
                    <a:pt x="41" y="175"/>
                    <a:pt x="41" y="175"/>
                    <a:pt x="41" y="175"/>
                  </a:cubicBezTo>
                  <a:cubicBezTo>
                    <a:pt x="42" y="167"/>
                    <a:pt x="42" y="160"/>
                    <a:pt x="42" y="152"/>
                  </a:cubicBezTo>
                  <a:cubicBezTo>
                    <a:pt x="42" y="152"/>
                    <a:pt x="41" y="152"/>
                    <a:pt x="41" y="151"/>
                  </a:cubicBezTo>
                  <a:cubicBezTo>
                    <a:pt x="39" y="149"/>
                    <a:pt x="39" y="146"/>
                    <a:pt x="37" y="144"/>
                  </a:cubicBezTo>
                  <a:cubicBezTo>
                    <a:pt x="37" y="145"/>
                    <a:pt x="36" y="146"/>
                    <a:pt x="36" y="147"/>
                  </a:cubicBezTo>
                  <a:cubicBezTo>
                    <a:pt x="35" y="151"/>
                    <a:pt x="34" y="155"/>
                    <a:pt x="34" y="159"/>
                  </a:cubicBezTo>
                  <a:cubicBezTo>
                    <a:pt x="33" y="168"/>
                    <a:pt x="34" y="178"/>
                    <a:pt x="40" y="185"/>
                  </a:cubicBezTo>
                  <a:cubicBezTo>
                    <a:pt x="40" y="182"/>
                    <a:pt x="40" y="178"/>
                    <a:pt x="41" y="175"/>
                  </a:cubicBezTo>
                  <a:close/>
                </a:path>
              </a:pathLst>
            </a:custGeom>
            <a:solidFill>
              <a:srgbClr val="DB5F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š1iḋé"/>
            <p:cNvSpPr/>
            <p:nvPr/>
          </p:nvSpPr>
          <p:spPr bwMode="auto">
            <a:xfrm>
              <a:off x="5996283" y="3257762"/>
              <a:ext cx="748640" cy="1168691"/>
            </a:xfrm>
            <a:custGeom>
              <a:avLst/>
              <a:gdLst>
                <a:gd name="T0" fmla="*/ 101 w 106"/>
                <a:gd name="T1" fmla="*/ 129 h 166"/>
                <a:gd name="T2" fmla="*/ 101 w 106"/>
                <a:gd name="T3" fmla="*/ 129 h 166"/>
                <a:gd name="T4" fmla="*/ 104 w 106"/>
                <a:gd name="T5" fmla="*/ 81 h 166"/>
                <a:gd name="T6" fmla="*/ 106 w 106"/>
                <a:gd name="T7" fmla="*/ 59 h 166"/>
                <a:gd name="T8" fmla="*/ 94 w 106"/>
                <a:gd name="T9" fmla="*/ 20 h 166"/>
                <a:gd name="T10" fmla="*/ 99 w 106"/>
                <a:gd name="T11" fmla="*/ 3 h 166"/>
                <a:gd name="T12" fmla="*/ 93 w 106"/>
                <a:gd name="T13" fmla="*/ 2 h 166"/>
                <a:gd name="T14" fmla="*/ 88 w 106"/>
                <a:gd name="T15" fmla="*/ 2 h 166"/>
                <a:gd name="T16" fmla="*/ 78 w 106"/>
                <a:gd name="T17" fmla="*/ 8 h 166"/>
                <a:gd name="T18" fmla="*/ 50 w 106"/>
                <a:gd name="T19" fmla="*/ 16 h 166"/>
                <a:gd name="T20" fmla="*/ 29 w 106"/>
                <a:gd name="T21" fmla="*/ 7 h 166"/>
                <a:gd name="T22" fmla="*/ 22 w 106"/>
                <a:gd name="T23" fmla="*/ 0 h 166"/>
                <a:gd name="T24" fmla="*/ 11 w 106"/>
                <a:gd name="T25" fmla="*/ 1 h 166"/>
                <a:gd name="T26" fmla="*/ 11 w 106"/>
                <a:gd name="T27" fmla="*/ 1 h 166"/>
                <a:gd name="T28" fmla="*/ 12 w 106"/>
                <a:gd name="T29" fmla="*/ 16 h 166"/>
                <a:gd name="T30" fmla="*/ 8 w 106"/>
                <a:gd name="T31" fmla="*/ 31 h 166"/>
                <a:gd name="T32" fmla="*/ 7 w 106"/>
                <a:gd name="T33" fmla="*/ 34 h 166"/>
                <a:gd name="T34" fmla="*/ 21 w 106"/>
                <a:gd name="T35" fmla="*/ 31 h 166"/>
                <a:gd name="T36" fmla="*/ 38 w 106"/>
                <a:gd name="T37" fmla="*/ 36 h 166"/>
                <a:gd name="T38" fmla="*/ 40 w 106"/>
                <a:gd name="T39" fmla="*/ 36 h 166"/>
                <a:gd name="T40" fmla="*/ 42 w 106"/>
                <a:gd name="T41" fmla="*/ 47 h 166"/>
                <a:gd name="T42" fmla="*/ 41 w 106"/>
                <a:gd name="T43" fmla="*/ 60 h 166"/>
                <a:gd name="T44" fmla="*/ 41 w 106"/>
                <a:gd name="T45" fmla="*/ 73 h 166"/>
                <a:gd name="T46" fmla="*/ 37 w 106"/>
                <a:gd name="T47" fmla="*/ 81 h 166"/>
                <a:gd name="T48" fmla="*/ 36 w 106"/>
                <a:gd name="T49" fmla="*/ 82 h 166"/>
                <a:gd name="T50" fmla="*/ 21 w 106"/>
                <a:gd name="T51" fmla="*/ 82 h 166"/>
                <a:gd name="T52" fmla="*/ 13 w 106"/>
                <a:gd name="T53" fmla="*/ 82 h 166"/>
                <a:gd name="T54" fmla="*/ 5 w 106"/>
                <a:gd name="T55" fmla="*/ 81 h 166"/>
                <a:gd name="T56" fmla="*/ 3 w 106"/>
                <a:gd name="T57" fmla="*/ 77 h 166"/>
                <a:gd name="T58" fmla="*/ 2 w 106"/>
                <a:gd name="T59" fmla="*/ 69 h 166"/>
                <a:gd name="T60" fmla="*/ 2 w 106"/>
                <a:gd name="T61" fmla="*/ 56 h 166"/>
                <a:gd name="T62" fmla="*/ 3 w 106"/>
                <a:gd name="T63" fmla="*/ 42 h 166"/>
                <a:gd name="T64" fmla="*/ 2 w 106"/>
                <a:gd name="T65" fmla="*/ 44 h 166"/>
                <a:gd name="T66" fmla="*/ 0 w 106"/>
                <a:gd name="T67" fmla="*/ 46 h 166"/>
                <a:gd name="T68" fmla="*/ 0 w 106"/>
                <a:gd name="T69" fmla="*/ 52 h 166"/>
                <a:gd name="T70" fmla="*/ 0 w 106"/>
                <a:gd name="T71" fmla="*/ 115 h 166"/>
                <a:gd name="T72" fmla="*/ 1 w 106"/>
                <a:gd name="T73" fmla="*/ 145 h 166"/>
                <a:gd name="T74" fmla="*/ 1 w 106"/>
                <a:gd name="T75" fmla="*/ 163 h 166"/>
                <a:gd name="T76" fmla="*/ 14 w 106"/>
                <a:gd name="T77" fmla="*/ 164 h 166"/>
                <a:gd name="T78" fmla="*/ 28 w 106"/>
                <a:gd name="T79" fmla="*/ 165 h 166"/>
                <a:gd name="T80" fmla="*/ 57 w 106"/>
                <a:gd name="T81" fmla="*/ 165 h 166"/>
                <a:gd name="T82" fmla="*/ 87 w 106"/>
                <a:gd name="T83" fmla="*/ 163 h 166"/>
                <a:gd name="T84" fmla="*/ 101 w 106"/>
                <a:gd name="T85" fmla="*/ 163 h 166"/>
                <a:gd name="T86" fmla="*/ 101 w 106"/>
                <a:gd name="T87" fmla="*/ 152 h 166"/>
                <a:gd name="T88" fmla="*/ 101 w 106"/>
                <a:gd name="T89" fmla="*/ 12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6" h="166">
                  <a:moveTo>
                    <a:pt x="101" y="129"/>
                  </a:moveTo>
                  <a:cubicBezTo>
                    <a:pt x="101" y="129"/>
                    <a:pt x="101" y="129"/>
                    <a:pt x="101" y="129"/>
                  </a:cubicBezTo>
                  <a:cubicBezTo>
                    <a:pt x="102" y="113"/>
                    <a:pt x="103" y="97"/>
                    <a:pt x="104" y="81"/>
                  </a:cubicBezTo>
                  <a:cubicBezTo>
                    <a:pt x="105" y="73"/>
                    <a:pt x="105" y="66"/>
                    <a:pt x="106" y="59"/>
                  </a:cubicBezTo>
                  <a:cubicBezTo>
                    <a:pt x="94" y="49"/>
                    <a:pt x="92" y="34"/>
                    <a:pt x="94" y="20"/>
                  </a:cubicBezTo>
                  <a:cubicBezTo>
                    <a:pt x="94" y="17"/>
                    <a:pt x="96" y="8"/>
                    <a:pt x="99" y="3"/>
                  </a:cubicBezTo>
                  <a:cubicBezTo>
                    <a:pt x="97" y="3"/>
                    <a:pt x="95" y="3"/>
                    <a:pt x="93" y="2"/>
                  </a:cubicBezTo>
                  <a:cubicBezTo>
                    <a:pt x="91" y="2"/>
                    <a:pt x="90" y="2"/>
                    <a:pt x="88" y="2"/>
                  </a:cubicBezTo>
                  <a:cubicBezTo>
                    <a:pt x="85" y="5"/>
                    <a:pt x="81" y="7"/>
                    <a:pt x="78" y="8"/>
                  </a:cubicBezTo>
                  <a:cubicBezTo>
                    <a:pt x="69" y="12"/>
                    <a:pt x="60" y="14"/>
                    <a:pt x="50" y="16"/>
                  </a:cubicBezTo>
                  <a:cubicBezTo>
                    <a:pt x="42" y="17"/>
                    <a:pt x="35" y="13"/>
                    <a:pt x="29" y="7"/>
                  </a:cubicBezTo>
                  <a:cubicBezTo>
                    <a:pt x="27" y="6"/>
                    <a:pt x="24" y="3"/>
                    <a:pt x="22" y="0"/>
                  </a:cubicBezTo>
                  <a:cubicBezTo>
                    <a:pt x="18" y="0"/>
                    <a:pt x="15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5"/>
                    <a:pt x="12" y="11"/>
                    <a:pt x="12" y="16"/>
                  </a:cubicBezTo>
                  <a:cubicBezTo>
                    <a:pt x="12" y="21"/>
                    <a:pt x="10" y="26"/>
                    <a:pt x="8" y="31"/>
                  </a:cubicBezTo>
                  <a:cubicBezTo>
                    <a:pt x="8" y="32"/>
                    <a:pt x="8" y="33"/>
                    <a:pt x="7" y="34"/>
                  </a:cubicBezTo>
                  <a:cubicBezTo>
                    <a:pt x="11" y="31"/>
                    <a:pt x="16" y="31"/>
                    <a:pt x="21" y="31"/>
                  </a:cubicBezTo>
                  <a:cubicBezTo>
                    <a:pt x="27" y="32"/>
                    <a:pt x="33" y="32"/>
                    <a:pt x="38" y="36"/>
                  </a:cubicBezTo>
                  <a:cubicBezTo>
                    <a:pt x="39" y="36"/>
                    <a:pt x="39" y="36"/>
                    <a:pt x="40" y="36"/>
                  </a:cubicBezTo>
                  <a:cubicBezTo>
                    <a:pt x="42" y="39"/>
                    <a:pt x="42" y="43"/>
                    <a:pt x="42" y="47"/>
                  </a:cubicBezTo>
                  <a:cubicBezTo>
                    <a:pt x="42" y="51"/>
                    <a:pt x="41" y="56"/>
                    <a:pt x="41" y="60"/>
                  </a:cubicBezTo>
                  <a:cubicBezTo>
                    <a:pt x="41" y="64"/>
                    <a:pt x="41" y="69"/>
                    <a:pt x="41" y="73"/>
                  </a:cubicBezTo>
                  <a:cubicBezTo>
                    <a:pt x="40" y="76"/>
                    <a:pt x="41" y="81"/>
                    <a:pt x="37" y="81"/>
                  </a:cubicBezTo>
                  <a:cubicBezTo>
                    <a:pt x="37" y="82"/>
                    <a:pt x="37" y="82"/>
                    <a:pt x="36" y="82"/>
                  </a:cubicBezTo>
                  <a:cubicBezTo>
                    <a:pt x="32" y="84"/>
                    <a:pt x="26" y="83"/>
                    <a:pt x="21" y="82"/>
                  </a:cubicBezTo>
                  <a:cubicBezTo>
                    <a:pt x="18" y="82"/>
                    <a:pt x="15" y="82"/>
                    <a:pt x="13" y="82"/>
                  </a:cubicBezTo>
                  <a:cubicBezTo>
                    <a:pt x="10" y="82"/>
                    <a:pt x="7" y="82"/>
                    <a:pt x="5" y="81"/>
                  </a:cubicBezTo>
                  <a:cubicBezTo>
                    <a:pt x="3" y="80"/>
                    <a:pt x="2" y="78"/>
                    <a:pt x="3" y="77"/>
                  </a:cubicBezTo>
                  <a:cubicBezTo>
                    <a:pt x="2" y="74"/>
                    <a:pt x="2" y="71"/>
                    <a:pt x="2" y="69"/>
                  </a:cubicBezTo>
                  <a:cubicBezTo>
                    <a:pt x="2" y="64"/>
                    <a:pt x="2" y="60"/>
                    <a:pt x="2" y="56"/>
                  </a:cubicBezTo>
                  <a:cubicBezTo>
                    <a:pt x="2" y="51"/>
                    <a:pt x="2" y="47"/>
                    <a:pt x="3" y="42"/>
                  </a:cubicBezTo>
                  <a:cubicBezTo>
                    <a:pt x="3" y="43"/>
                    <a:pt x="3" y="43"/>
                    <a:pt x="2" y="44"/>
                  </a:cubicBezTo>
                  <a:cubicBezTo>
                    <a:pt x="2" y="44"/>
                    <a:pt x="1" y="45"/>
                    <a:pt x="0" y="46"/>
                  </a:cubicBezTo>
                  <a:cubicBezTo>
                    <a:pt x="0" y="48"/>
                    <a:pt x="0" y="50"/>
                    <a:pt x="0" y="52"/>
                  </a:cubicBezTo>
                  <a:cubicBezTo>
                    <a:pt x="0" y="73"/>
                    <a:pt x="1" y="94"/>
                    <a:pt x="0" y="115"/>
                  </a:cubicBezTo>
                  <a:cubicBezTo>
                    <a:pt x="0" y="125"/>
                    <a:pt x="0" y="135"/>
                    <a:pt x="1" y="145"/>
                  </a:cubicBezTo>
                  <a:cubicBezTo>
                    <a:pt x="1" y="151"/>
                    <a:pt x="1" y="157"/>
                    <a:pt x="1" y="163"/>
                  </a:cubicBezTo>
                  <a:cubicBezTo>
                    <a:pt x="5" y="162"/>
                    <a:pt x="10" y="164"/>
                    <a:pt x="14" y="164"/>
                  </a:cubicBezTo>
                  <a:cubicBezTo>
                    <a:pt x="18" y="164"/>
                    <a:pt x="23" y="165"/>
                    <a:pt x="28" y="165"/>
                  </a:cubicBezTo>
                  <a:cubicBezTo>
                    <a:pt x="38" y="166"/>
                    <a:pt x="47" y="165"/>
                    <a:pt x="57" y="165"/>
                  </a:cubicBezTo>
                  <a:cubicBezTo>
                    <a:pt x="67" y="164"/>
                    <a:pt x="77" y="163"/>
                    <a:pt x="87" y="163"/>
                  </a:cubicBezTo>
                  <a:cubicBezTo>
                    <a:pt x="91" y="163"/>
                    <a:pt x="96" y="163"/>
                    <a:pt x="101" y="163"/>
                  </a:cubicBezTo>
                  <a:cubicBezTo>
                    <a:pt x="101" y="160"/>
                    <a:pt x="101" y="156"/>
                    <a:pt x="101" y="152"/>
                  </a:cubicBezTo>
                  <a:cubicBezTo>
                    <a:pt x="101" y="145"/>
                    <a:pt x="101" y="137"/>
                    <a:pt x="101" y="129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ṩḷíḓè"/>
            <p:cNvSpPr/>
            <p:nvPr/>
          </p:nvSpPr>
          <p:spPr bwMode="auto">
            <a:xfrm>
              <a:off x="6538284" y="3271312"/>
              <a:ext cx="206639" cy="1134816"/>
            </a:xfrm>
            <a:custGeom>
              <a:avLst/>
              <a:gdLst>
                <a:gd name="T0" fmla="*/ 24 w 29"/>
                <a:gd name="T1" fmla="*/ 127 h 161"/>
                <a:gd name="T2" fmla="*/ 24 w 29"/>
                <a:gd name="T3" fmla="*/ 127 h 161"/>
                <a:gd name="T4" fmla="*/ 27 w 29"/>
                <a:gd name="T5" fmla="*/ 79 h 161"/>
                <a:gd name="T6" fmla="*/ 29 w 29"/>
                <a:gd name="T7" fmla="*/ 57 h 161"/>
                <a:gd name="T8" fmla="*/ 17 w 29"/>
                <a:gd name="T9" fmla="*/ 18 h 161"/>
                <a:gd name="T10" fmla="*/ 22 w 29"/>
                <a:gd name="T11" fmla="*/ 1 h 161"/>
                <a:gd name="T12" fmla="*/ 16 w 29"/>
                <a:gd name="T13" fmla="*/ 0 h 161"/>
                <a:gd name="T14" fmla="*/ 11 w 29"/>
                <a:gd name="T15" fmla="*/ 0 h 161"/>
                <a:gd name="T16" fmla="*/ 8 w 29"/>
                <a:gd name="T17" fmla="*/ 73 h 161"/>
                <a:gd name="T18" fmla="*/ 0 w 29"/>
                <a:gd name="T19" fmla="*/ 161 h 161"/>
                <a:gd name="T20" fmla="*/ 10 w 29"/>
                <a:gd name="T21" fmla="*/ 161 h 161"/>
                <a:gd name="T22" fmla="*/ 24 w 29"/>
                <a:gd name="T23" fmla="*/ 161 h 161"/>
                <a:gd name="T24" fmla="*/ 24 w 29"/>
                <a:gd name="T25" fmla="*/ 150 h 161"/>
                <a:gd name="T26" fmla="*/ 24 w 29"/>
                <a:gd name="T27" fmla="*/ 12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161">
                  <a:moveTo>
                    <a:pt x="24" y="127"/>
                  </a:moveTo>
                  <a:cubicBezTo>
                    <a:pt x="24" y="127"/>
                    <a:pt x="24" y="127"/>
                    <a:pt x="24" y="127"/>
                  </a:cubicBezTo>
                  <a:cubicBezTo>
                    <a:pt x="25" y="111"/>
                    <a:pt x="26" y="95"/>
                    <a:pt x="27" y="79"/>
                  </a:cubicBezTo>
                  <a:cubicBezTo>
                    <a:pt x="28" y="71"/>
                    <a:pt x="28" y="64"/>
                    <a:pt x="29" y="57"/>
                  </a:cubicBezTo>
                  <a:cubicBezTo>
                    <a:pt x="17" y="47"/>
                    <a:pt x="15" y="32"/>
                    <a:pt x="17" y="18"/>
                  </a:cubicBezTo>
                  <a:cubicBezTo>
                    <a:pt x="17" y="15"/>
                    <a:pt x="19" y="6"/>
                    <a:pt x="22" y="1"/>
                  </a:cubicBezTo>
                  <a:cubicBezTo>
                    <a:pt x="20" y="1"/>
                    <a:pt x="18" y="1"/>
                    <a:pt x="16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11" y="0"/>
                    <a:pt x="6" y="13"/>
                    <a:pt x="8" y="73"/>
                  </a:cubicBezTo>
                  <a:cubicBezTo>
                    <a:pt x="9" y="112"/>
                    <a:pt x="8" y="143"/>
                    <a:pt x="0" y="161"/>
                  </a:cubicBezTo>
                  <a:cubicBezTo>
                    <a:pt x="3" y="161"/>
                    <a:pt x="6" y="161"/>
                    <a:pt x="10" y="161"/>
                  </a:cubicBezTo>
                  <a:cubicBezTo>
                    <a:pt x="14" y="161"/>
                    <a:pt x="19" y="161"/>
                    <a:pt x="24" y="161"/>
                  </a:cubicBezTo>
                  <a:cubicBezTo>
                    <a:pt x="24" y="158"/>
                    <a:pt x="24" y="154"/>
                    <a:pt x="24" y="150"/>
                  </a:cubicBezTo>
                  <a:cubicBezTo>
                    <a:pt x="24" y="143"/>
                    <a:pt x="24" y="135"/>
                    <a:pt x="24" y="127"/>
                  </a:cubicBezTo>
                  <a:close/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ṣ1iďe"/>
            <p:cNvSpPr/>
            <p:nvPr/>
          </p:nvSpPr>
          <p:spPr bwMode="auto">
            <a:xfrm>
              <a:off x="6968496" y="1909534"/>
              <a:ext cx="121950" cy="1053516"/>
            </a:xfrm>
            <a:custGeom>
              <a:avLst/>
              <a:gdLst>
                <a:gd name="T0" fmla="*/ 13 w 17"/>
                <a:gd name="T1" fmla="*/ 144 h 150"/>
                <a:gd name="T2" fmla="*/ 13 w 17"/>
                <a:gd name="T3" fmla="*/ 150 h 150"/>
                <a:gd name="T4" fmla="*/ 13 w 17"/>
                <a:gd name="T5" fmla="*/ 144 h 150"/>
                <a:gd name="T6" fmla="*/ 4 w 17"/>
                <a:gd name="T7" fmla="*/ 6 h 150"/>
                <a:gd name="T8" fmla="*/ 4 w 17"/>
                <a:gd name="T9" fmla="*/ 0 h 150"/>
                <a:gd name="T10" fmla="*/ 4 w 17"/>
                <a:gd name="T11" fmla="*/ 6 h 150"/>
                <a:gd name="T12" fmla="*/ 11 w 17"/>
                <a:gd name="T13" fmla="*/ 26 h 150"/>
                <a:gd name="T14" fmla="*/ 7 w 17"/>
                <a:gd name="T15" fmla="*/ 26 h 150"/>
                <a:gd name="T16" fmla="*/ 6 w 17"/>
                <a:gd name="T17" fmla="*/ 25 h 150"/>
                <a:gd name="T18" fmla="*/ 6 w 17"/>
                <a:gd name="T19" fmla="*/ 22 h 150"/>
                <a:gd name="T20" fmla="*/ 9 w 17"/>
                <a:gd name="T21" fmla="*/ 21 h 150"/>
                <a:gd name="T22" fmla="*/ 11 w 17"/>
                <a:gd name="T23" fmla="*/ 22 h 150"/>
                <a:gd name="T24" fmla="*/ 11 w 17"/>
                <a:gd name="T25" fmla="*/ 25 h 150"/>
                <a:gd name="T26" fmla="*/ 11 w 17"/>
                <a:gd name="T27" fmla="*/ 26 h 150"/>
                <a:gd name="T28" fmla="*/ 8 w 17"/>
                <a:gd name="T29" fmla="*/ 39 h 150"/>
                <a:gd name="T30" fmla="*/ 11 w 17"/>
                <a:gd name="T31" fmla="*/ 42 h 150"/>
                <a:gd name="T32" fmla="*/ 11 w 17"/>
                <a:gd name="T33" fmla="*/ 44 h 150"/>
                <a:gd name="T34" fmla="*/ 8 w 17"/>
                <a:gd name="T35" fmla="*/ 46 h 150"/>
                <a:gd name="T36" fmla="*/ 6 w 17"/>
                <a:gd name="T37" fmla="*/ 44 h 150"/>
                <a:gd name="T38" fmla="*/ 6 w 17"/>
                <a:gd name="T39" fmla="*/ 42 h 150"/>
                <a:gd name="T40" fmla="*/ 8 w 17"/>
                <a:gd name="T41" fmla="*/ 39 h 150"/>
                <a:gd name="T42" fmla="*/ 9 w 17"/>
                <a:gd name="T43" fmla="*/ 75 h 150"/>
                <a:gd name="T44" fmla="*/ 12 w 17"/>
                <a:gd name="T45" fmla="*/ 78 h 150"/>
                <a:gd name="T46" fmla="*/ 9 w 17"/>
                <a:gd name="T47" fmla="*/ 81 h 150"/>
                <a:gd name="T48" fmla="*/ 7 w 17"/>
                <a:gd name="T49" fmla="*/ 78 h 150"/>
                <a:gd name="T50" fmla="*/ 9 w 17"/>
                <a:gd name="T51" fmla="*/ 75 h 150"/>
                <a:gd name="T52" fmla="*/ 10 w 17"/>
                <a:gd name="T53" fmla="*/ 92 h 150"/>
                <a:gd name="T54" fmla="*/ 12 w 17"/>
                <a:gd name="T55" fmla="*/ 93 h 150"/>
                <a:gd name="T56" fmla="*/ 13 w 17"/>
                <a:gd name="T57" fmla="*/ 96 h 150"/>
                <a:gd name="T58" fmla="*/ 13 w 17"/>
                <a:gd name="T59" fmla="*/ 97 h 150"/>
                <a:gd name="T60" fmla="*/ 10 w 17"/>
                <a:gd name="T61" fmla="*/ 99 h 150"/>
                <a:gd name="T62" fmla="*/ 7 w 17"/>
                <a:gd name="T63" fmla="*/ 97 h 150"/>
                <a:gd name="T64" fmla="*/ 7 w 17"/>
                <a:gd name="T65" fmla="*/ 96 h 150"/>
                <a:gd name="T66" fmla="*/ 8 w 17"/>
                <a:gd name="T67" fmla="*/ 94 h 150"/>
                <a:gd name="T68" fmla="*/ 10 w 17"/>
                <a:gd name="T69" fmla="*/ 92 h 150"/>
                <a:gd name="T70" fmla="*/ 11 w 17"/>
                <a:gd name="T71" fmla="*/ 119 h 150"/>
                <a:gd name="T72" fmla="*/ 8 w 17"/>
                <a:gd name="T73" fmla="*/ 115 h 150"/>
                <a:gd name="T74" fmla="*/ 11 w 17"/>
                <a:gd name="T75" fmla="*/ 112 h 150"/>
                <a:gd name="T76" fmla="*/ 14 w 17"/>
                <a:gd name="T77" fmla="*/ 115 h 150"/>
                <a:gd name="T78" fmla="*/ 11 w 17"/>
                <a:gd name="T79" fmla="*/ 119 h 150"/>
                <a:gd name="T80" fmla="*/ 8 w 17"/>
                <a:gd name="T81" fmla="*/ 129 h 150"/>
                <a:gd name="T82" fmla="*/ 10 w 17"/>
                <a:gd name="T83" fmla="*/ 129 h 150"/>
                <a:gd name="T84" fmla="*/ 10 w 17"/>
                <a:gd name="T85" fmla="*/ 129 h 150"/>
                <a:gd name="T86" fmla="*/ 11 w 17"/>
                <a:gd name="T87" fmla="*/ 129 h 150"/>
                <a:gd name="T88" fmla="*/ 13 w 17"/>
                <a:gd name="T89" fmla="*/ 129 h 150"/>
                <a:gd name="T90" fmla="*/ 13 w 17"/>
                <a:gd name="T91" fmla="*/ 131 h 150"/>
                <a:gd name="T92" fmla="*/ 13 w 17"/>
                <a:gd name="T93" fmla="*/ 133 h 150"/>
                <a:gd name="T94" fmla="*/ 11 w 17"/>
                <a:gd name="T95" fmla="*/ 134 h 150"/>
                <a:gd name="T96" fmla="*/ 10 w 17"/>
                <a:gd name="T97" fmla="*/ 134 h 150"/>
                <a:gd name="T98" fmla="*/ 10 w 17"/>
                <a:gd name="T99" fmla="*/ 134 h 150"/>
                <a:gd name="T100" fmla="*/ 8 w 17"/>
                <a:gd name="T101" fmla="*/ 133 h 150"/>
                <a:gd name="T102" fmla="*/ 8 w 17"/>
                <a:gd name="T103" fmla="*/ 133 h 150"/>
                <a:gd name="T104" fmla="*/ 7 w 17"/>
                <a:gd name="T105" fmla="*/ 131 h 150"/>
                <a:gd name="T106" fmla="*/ 8 w 17"/>
                <a:gd name="T107" fmla="*/ 129 h 150"/>
                <a:gd name="T108" fmla="*/ 8 w 17"/>
                <a:gd name="T109" fmla="*/ 12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" h="150">
                  <a:moveTo>
                    <a:pt x="13" y="144"/>
                  </a:moveTo>
                  <a:cubicBezTo>
                    <a:pt x="17" y="144"/>
                    <a:pt x="17" y="150"/>
                    <a:pt x="13" y="150"/>
                  </a:cubicBezTo>
                  <a:cubicBezTo>
                    <a:pt x="9" y="150"/>
                    <a:pt x="9" y="144"/>
                    <a:pt x="13" y="144"/>
                  </a:cubicBezTo>
                  <a:close/>
                  <a:moveTo>
                    <a:pt x="4" y="6"/>
                  </a:moveTo>
                  <a:cubicBezTo>
                    <a:pt x="0" y="6"/>
                    <a:pt x="0" y="0"/>
                    <a:pt x="4" y="0"/>
                  </a:cubicBezTo>
                  <a:cubicBezTo>
                    <a:pt x="8" y="0"/>
                    <a:pt x="8" y="6"/>
                    <a:pt x="4" y="6"/>
                  </a:cubicBezTo>
                  <a:close/>
                  <a:moveTo>
                    <a:pt x="11" y="26"/>
                  </a:moveTo>
                  <a:cubicBezTo>
                    <a:pt x="10" y="28"/>
                    <a:pt x="7" y="28"/>
                    <a:pt x="7" y="26"/>
                  </a:cubicBezTo>
                  <a:cubicBezTo>
                    <a:pt x="6" y="26"/>
                    <a:pt x="6" y="26"/>
                    <a:pt x="6" y="25"/>
                  </a:cubicBezTo>
                  <a:cubicBezTo>
                    <a:pt x="6" y="24"/>
                    <a:pt x="6" y="23"/>
                    <a:pt x="6" y="22"/>
                  </a:cubicBezTo>
                  <a:cubicBezTo>
                    <a:pt x="7" y="22"/>
                    <a:pt x="8" y="21"/>
                    <a:pt x="9" y="21"/>
                  </a:cubicBezTo>
                  <a:cubicBezTo>
                    <a:pt x="10" y="21"/>
                    <a:pt x="11" y="22"/>
                    <a:pt x="11" y="22"/>
                  </a:cubicBezTo>
                  <a:cubicBezTo>
                    <a:pt x="12" y="23"/>
                    <a:pt x="12" y="24"/>
                    <a:pt x="11" y="25"/>
                  </a:cubicBezTo>
                  <a:cubicBezTo>
                    <a:pt x="11" y="26"/>
                    <a:pt x="11" y="26"/>
                    <a:pt x="11" y="26"/>
                  </a:cubicBezTo>
                  <a:close/>
                  <a:moveTo>
                    <a:pt x="8" y="39"/>
                  </a:moveTo>
                  <a:cubicBezTo>
                    <a:pt x="10" y="39"/>
                    <a:pt x="11" y="40"/>
                    <a:pt x="11" y="42"/>
                  </a:cubicBezTo>
                  <a:cubicBezTo>
                    <a:pt x="11" y="43"/>
                    <a:pt x="11" y="43"/>
                    <a:pt x="11" y="44"/>
                  </a:cubicBezTo>
                  <a:cubicBezTo>
                    <a:pt x="10" y="45"/>
                    <a:pt x="9" y="46"/>
                    <a:pt x="8" y="46"/>
                  </a:cubicBezTo>
                  <a:cubicBezTo>
                    <a:pt x="7" y="46"/>
                    <a:pt x="6" y="45"/>
                    <a:pt x="6" y="44"/>
                  </a:cubicBezTo>
                  <a:cubicBezTo>
                    <a:pt x="6" y="43"/>
                    <a:pt x="6" y="43"/>
                    <a:pt x="6" y="42"/>
                  </a:cubicBezTo>
                  <a:cubicBezTo>
                    <a:pt x="6" y="40"/>
                    <a:pt x="7" y="39"/>
                    <a:pt x="8" y="39"/>
                  </a:cubicBezTo>
                  <a:close/>
                  <a:moveTo>
                    <a:pt x="9" y="75"/>
                  </a:moveTo>
                  <a:cubicBezTo>
                    <a:pt x="11" y="75"/>
                    <a:pt x="12" y="76"/>
                    <a:pt x="12" y="78"/>
                  </a:cubicBezTo>
                  <a:cubicBezTo>
                    <a:pt x="12" y="79"/>
                    <a:pt x="11" y="81"/>
                    <a:pt x="9" y="81"/>
                  </a:cubicBezTo>
                  <a:cubicBezTo>
                    <a:pt x="8" y="81"/>
                    <a:pt x="7" y="79"/>
                    <a:pt x="7" y="78"/>
                  </a:cubicBezTo>
                  <a:cubicBezTo>
                    <a:pt x="7" y="76"/>
                    <a:pt x="8" y="75"/>
                    <a:pt x="9" y="75"/>
                  </a:cubicBezTo>
                  <a:close/>
                  <a:moveTo>
                    <a:pt x="10" y="92"/>
                  </a:moveTo>
                  <a:cubicBezTo>
                    <a:pt x="11" y="92"/>
                    <a:pt x="12" y="93"/>
                    <a:pt x="12" y="93"/>
                  </a:cubicBezTo>
                  <a:cubicBezTo>
                    <a:pt x="13" y="94"/>
                    <a:pt x="13" y="95"/>
                    <a:pt x="13" y="96"/>
                  </a:cubicBezTo>
                  <a:cubicBezTo>
                    <a:pt x="13" y="96"/>
                    <a:pt x="13" y="97"/>
                    <a:pt x="13" y="97"/>
                  </a:cubicBezTo>
                  <a:cubicBezTo>
                    <a:pt x="13" y="98"/>
                    <a:pt x="11" y="99"/>
                    <a:pt x="10" y="99"/>
                  </a:cubicBezTo>
                  <a:cubicBezTo>
                    <a:pt x="9" y="99"/>
                    <a:pt x="8" y="98"/>
                    <a:pt x="7" y="97"/>
                  </a:cubicBezTo>
                  <a:cubicBezTo>
                    <a:pt x="7" y="97"/>
                    <a:pt x="7" y="96"/>
                    <a:pt x="7" y="96"/>
                  </a:cubicBezTo>
                  <a:cubicBezTo>
                    <a:pt x="7" y="95"/>
                    <a:pt x="7" y="95"/>
                    <a:pt x="8" y="94"/>
                  </a:cubicBezTo>
                  <a:cubicBezTo>
                    <a:pt x="8" y="93"/>
                    <a:pt x="9" y="92"/>
                    <a:pt x="10" y="92"/>
                  </a:cubicBezTo>
                  <a:close/>
                  <a:moveTo>
                    <a:pt x="11" y="119"/>
                  </a:moveTo>
                  <a:cubicBezTo>
                    <a:pt x="9" y="119"/>
                    <a:pt x="8" y="117"/>
                    <a:pt x="8" y="115"/>
                  </a:cubicBezTo>
                  <a:cubicBezTo>
                    <a:pt x="8" y="114"/>
                    <a:pt x="9" y="112"/>
                    <a:pt x="11" y="112"/>
                  </a:cubicBezTo>
                  <a:cubicBezTo>
                    <a:pt x="13" y="112"/>
                    <a:pt x="14" y="114"/>
                    <a:pt x="14" y="115"/>
                  </a:cubicBezTo>
                  <a:cubicBezTo>
                    <a:pt x="14" y="117"/>
                    <a:pt x="13" y="119"/>
                    <a:pt x="11" y="119"/>
                  </a:cubicBezTo>
                  <a:close/>
                  <a:moveTo>
                    <a:pt x="8" y="129"/>
                  </a:moveTo>
                  <a:cubicBezTo>
                    <a:pt x="9" y="129"/>
                    <a:pt x="9" y="129"/>
                    <a:pt x="10" y="129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10" y="129"/>
                    <a:pt x="11" y="129"/>
                    <a:pt x="11" y="129"/>
                  </a:cubicBezTo>
                  <a:cubicBezTo>
                    <a:pt x="12" y="129"/>
                    <a:pt x="12" y="129"/>
                    <a:pt x="13" y="129"/>
                  </a:cubicBezTo>
                  <a:cubicBezTo>
                    <a:pt x="13" y="130"/>
                    <a:pt x="13" y="131"/>
                    <a:pt x="13" y="131"/>
                  </a:cubicBezTo>
                  <a:cubicBezTo>
                    <a:pt x="13" y="132"/>
                    <a:pt x="13" y="133"/>
                    <a:pt x="13" y="133"/>
                  </a:cubicBezTo>
                  <a:cubicBezTo>
                    <a:pt x="12" y="134"/>
                    <a:pt x="12" y="134"/>
                    <a:pt x="11" y="134"/>
                  </a:cubicBezTo>
                  <a:cubicBezTo>
                    <a:pt x="11" y="134"/>
                    <a:pt x="10" y="134"/>
                    <a:pt x="10" y="134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9" y="134"/>
                    <a:pt x="9" y="134"/>
                    <a:pt x="8" y="133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8" y="133"/>
                    <a:pt x="7" y="132"/>
                    <a:pt x="7" y="131"/>
                  </a:cubicBezTo>
                  <a:cubicBezTo>
                    <a:pt x="7" y="131"/>
                    <a:pt x="8" y="130"/>
                    <a:pt x="8" y="129"/>
                  </a:cubicBezTo>
                  <a:cubicBezTo>
                    <a:pt x="8" y="129"/>
                    <a:pt x="8" y="129"/>
                    <a:pt x="8" y="129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ṥļíḍé"/>
            <p:cNvSpPr/>
            <p:nvPr/>
          </p:nvSpPr>
          <p:spPr bwMode="auto">
            <a:xfrm>
              <a:off x="6019994" y="2349910"/>
              <a:ext cx="399726" cy="149050"/>
            </a:xfrm>
            <a:custGeom>
              <a:avLst/>
              <a:gdLst>
                <a:gd name="T0" fmla="*/ 26 w 57"/>
                <a:gd name="T1" fmla="*/ 20 h 21"/>
                <a:gd name="T2" fmla="*/ 10 w 57"/>
                <a:gd name="T3" fmla="*/ 17 h 21"/>
                <a:gd name="T4" fmla="*/ 3 w 57"/>
                <a:gd name="T5" fmla="*/ 3 h 21"/>
                <a:gd name="T6" fmla="*/ 9 w 57"/>
                <a:gd name="T7" fmla="*/ 2 h 21"/>
                <a:gd name="T8" fmla="*/ 16 w 57"/>
                <a:gd name="T9" fmla="*/ 8 h 21"/>
                <a:gd name="T10" fmla="*/ 26 w 57"/>
                <a:gd name="T11" fmla="*/ 10 h 21"/>
                <a:gd name="T12" fmla="*/ 52 w 57"/>
                <a:gd name="T13" fmla="*/ 2 h 21"/>
                <a:gd name="T14" fmla="*/ 56 w 57"/>
                <a:gd name="T15" fmla="*/ 4 h 21"/>
                <a:gd name="T16" fmla="*/ 26 w 57"/>
                <a:gd name="T1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21">
                  <a:moveTo>
                    <a:pt x="26" y="20"/>
                  </a:moveTo>
                  <a:cubicBezTo>
                    <a:pt x="20" y="21"/>
                    <a:pt x="15" y="19"/>
                    <a:pt x="10" y="17"/>
                  </a:cubicBezTo>
                  <a:cubicBezTo>
                    <a:pt x="5" y="15"/>
                    <a:pt x="0" y="9"/>
                    <a:pt x="3" y="3"/>
                  </a:cubicBezTo>
                  <a:cubicBezTo>
                    <a:pt x="4" y="1"/>
                    <a:pt x="7" y="1"/>
                    <a:pt x="9" y="2"/>
                  </a:cubicBezTo>
                  <a:cubicBezTo>
                    <a:pt x="12" y="3"/>
                    <a:pt x="13" y="6"/>
                    <a:pt x="16" y="8"/>
                  </a:cubicBezTo>
                  <a:cubicBezTo>
                    <a:pt x="19" y="9"/>
                    <a:pt x="23" y="9"/>
                    <a:pt x="26" y="10"/>
                  </a:cubicBezTo>
                  <a:cubicBezTo>
                    <a:pt x="35" y="10"/>
                    <a:pt x="47" y="9"/>
                    <a:pt x="52" y="2"/>
                  </a:cubicBezTo>
                  <a:cubicBezTo>
                    <a:pt x="54" y="0"/>
                    <a:pt x="57" y="2"/>
                    <a:pt x="56" y="4"/>
                  </a:cubicBezTo>
                  <a:cubicBezTo>
                    <a:pt x="50" y="15"/>
                    <a:pt x="38" y="20"/>
                    <a:pt x="26" y="2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îṡ1ïḓè"/>
            <p:cNvSpPr/>
            <p:nvPr/>
          </p:nvSpPr>
          <p:spPr bwMode="auto">
            <a:xfrm>
              <a:off x="5813357" y="2092460"/>
              <a:ext cx="226964" cy="196475"/>
            </a:xfrm>
            <a:custGeom>
              <a:avLst/>
              <a:gdLst>
                <a:gd name="T0" fmla="*/ 16 w 32"/>
                <a:gd name="T1" fmla="*/ 28 h 28"/>
                <a:gd name="T2" fmla="*/ 4 w 32"/>
                <a:gd name="T3" fmla="*/ 10 h 28"/>
                <a:gd name="T4" fmla="*/ 13 w 32"/>
                <a:gd name="T5" fmla="*/ 1 h 28"/>
                <a:gd name="T6" fmla="*/ 25 w 32"/>
                <a:gd name="T7" fmla="*/ 3 h 28"/>
                <a:gd name="T8" fmla="*/ 28 w 32"/>
                <a:gd name="T9" fmla="*/ 5 h 28"/>
                <a:gd name="T10" fmla="*/ 32 w 32"/>
                <a:gd name="T11" fmla="*/ 14 h 28"/>
                <a:gd name="T12" fmla="*/ 16 w 3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8">
                  <a:moveTo>
                    <a:pt x="16" y="28"/>
                  </a:moveTo>
                  <a:cubicBezTo>
                    <a:pt x="7" y="27"/>
                    <a:pt x="0" y="19"/>
                    <a:pt x="4" y="10"/>
                  </a:cubicBezTo>
                  <a:cubicBezTo>
                    <a:pt x="6" y="5"/>
                    <a:pt x="9" y="3"/>
                    <a:pt x="13" y="1"/>
                  </a:cubicBezTo>
                  <a:cubicBezTo>
                    <a:pt x="16" y="0"/>
                    <a:pt x="22" y="1"/>
                    <a:pt x="25" y="3"/>
                  </a:cubicBezTo>
                  <a:cubicBezTo>
                    <a:pt x="26" y="4"/>
                    <a:pt x="27" y="4"/>
                    <a:pt x="28" y="5"/>
                  </a:cubicBezTo>
                  <a:cubicBezTo>
                    <a:pt x="31" y="7"/>
                    <a:pt x="32" y="11"/>
                    <a:pt x="32" y="14"/>
                  </a:cubicBezTo>
                  <a:cubicBezTo>
                    <a:pt x="31" y="22"/>
                    <a:pt x="25" y="28"/>
                    <a:pt x="16" y="28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śḻîḍê"/>
            <p:cNvSpPr/>
            <p:nvPr/>
          </p:nvSpPr>
          <p:spPr bwMode="auto">
            <a:xfrm>
              <a:off x="6433270" y="2099235"/>
              <a:ext cx="220189" cy="189700"/>
            </a:xfrm>
            <a:custGeom>
              <a:avLst/>
              <a:gdLst>
                <a:gd name="T0" fmla="*/ 6 w 31"/>
                <a:gd name="T1" fmla="*/ 7 h 27"/>
                <a:gd name="T2" fmla="*/ 19 w 31"/>
                <a:gd name="T3" fmla="*/ 1 h 27"/>
                <a:gd name="T4" fmla="*/ 24 w 31"/>
                <a:gd name="T5" fmla="*/ 5 h 27"/>
                <a:gd name="T6" fmla="*/ 25 w 31"/>
                <a:gd name="T7" fmla="*/ 5 h 27"/>
                <a:gd name="T8" fmla="*/ 30 w 31"/>
                <a:gd name="T9" fmla="*/ 18 h 27"/>
                <a:gd name="T10" fmla="*/ 16 w 31"/>
                <a:gd name="T11" fmla="*/ 27 h 27"/>
                <a:gd name="T12" fmla="*/ 6 w 31"/>
                <a:gd name="T1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6" y="7"/>
                  </a:moveTo>
                  <a:cubicBezTo>
                    <a:pt x="9" y="2"/>
                    <a:pt x="14" y="0"/>
                    <a:pt x="19" y="1"/>
                  </a:cubicBezTo>
                  <a:cubicBezTo>
                    <a:pt x="21" y="2"/>
                    <a:pt x="23" y="3"/>
                    <a:pt x="24" y="5"/>
                  </a:cubicBezTo>
                  <a:cubicBezTo>
                    <a:pt x="24" y="5"/>
                    <a:pt x="24" y="5"/>
                    <a:pt x="25" y="5"/>
                  </a:cubicBezTo>
                  <a:cubicBezTo>
                    <a:pt x="29" y="8"/>
                    <a:pt x="31" y="13"/>
                    <a:pt x="30" y="18"/>
                  </a:cubicBezTo>
                  <a:cubicBezTo>
                    <a:pt x="29" y="24"/>
                    <a:pt x="22" y="27"/>
                    <a:pt x="16" y="27"/>
                  </a:cubicBezTo>
                  <a:cubicBezTo>
                    <a:pt x="6" y="27"/>
                    <a:pt x="0" y="15"/>
                    <a:pt x="6" y="7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505756" y="2151044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505756" y="4457280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505758" y="4161009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1/11/9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5.png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5" Type="http://schemas.openxmlformats.org/officeDocument/2006/relationships/image" Target="../media/image17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slideLayout" Target="../slideLayouts/slideLayout4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6" Type="http://schemas.openxmlformats.org/officeDocument/2006/relationships/tags" Target="../tags/tag28.xml"/><Relationship Id="rId11" Type="http://schemas.openxmlformats.org/officeDocument/2006/relationships/image" Target="../media/image18.png"/><Relationship Id="rId5" Type="http://schemas.openxmlformats.org/officeDocument/2006/relationships/tags" Target="../tags/tag27.xml"/><Relationship Id="rId10" Type="http://schemas.openxmlformats.org/officeDocument/2006/relationships/image" Target="../media/image15.png"/><Relationship Id="rId4" Type="http://schemas.openxmlformats.org/officeDocument/2006/relationships/tags" Target="../tags/tag26.xml"/><Relationship Id="rId9" Type="http://schemas.openxmlformats.org/officeDocument/2006/relationships/image" Target="../media/image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4" Type="http://schemas.openxmlformats.org/officeDocument/2006/relationships/image" Target="../media/image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5" Type="http://schemas.openxmlformats.org/officeDocument/2006/relationships/image" Target="../media/image19.png"/><Relationship Id="rId4" Type="http://schemas.openxmlformats.org/officeDocument/2006/relationships/image" Target="../media/image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5" Type="http://schemas.openxmlformats.org/officeDocument/2006/relationships/image" Target="../media/image20.png"/><Relationship Id="rId4" Type="http://schemas.openxmlformats.org/officeDocument/2006/relationships/image" Target="../media/image9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2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1.png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4" Type="http://schemas.openxmlformats.org/officeDocument/2006/relationships/image" Target="../media/image9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-13324" y="84409"/>
            <a:ext cx="3948326" cy="320027"/>
          </a:xfrm>
        </p:spPr>
        <p:txBody>
          <a:bodyPr/>
          <a:lstStyle/>
          <a:p>
            <a:pPr algn="ctr"/>
            <a:r>
              <a:rPr lang="zh-CN" altLang="en-US" sz="1800" b="1" dirty="0">
                <a:solidFill>
                  <a:schemeClr val="bg1"/>
                </a:solidFill>
              </a:rPr>
              <a:t>浙江省初中</a:t>
            </a:r>
            <a:r>
              <a:rPr lang="en-US" altLang="zh-CN" sz="1800" b="1" dirty="0">
                <a:solidFill>
                  <a:schemeClr val="bg1"/>
                </a:solidFill>
              </a:rPr>
              <a:t>Python</a:t>
            </a:r>
            <a:r>
              <a:rPr lang="zh-CN" altLang="en-US" sz="1800" b="1" dirty="0">
                <a:solidFill>
                  <a:schemeClr val="bg1"/>
                </a:solidFill>
              </a:rPr>
              <a:t>同步教学设计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2885901" y="3909104"/>
            <a:ext cx="4282473" cy="876185"/>
          </a:xfrm>
        </p:spPr>
        <p:txBody>
          <a:bodyPr/>
          <a:lstStyle/>
          <a:p>
            <a:pPr algn="ctr"/>
            <a:r>
              <a:rPr lang="zh-CN" altLang="en-US" sz="1800" b="1" dirty="0">
                <a:solidFill>
                  <a:schemeClr val="bg1">
                    <a:lumMod val="65000"/>
                  </a:schemeClr>
                </a:solidFill>
              </a:rPr>
              <a:t>汪运萍</a:t>
            </a:r>
            <a:endParaRPr lang="en-US" altLang="zh-CN" sz="18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zh-CN" altLang="en-US" sz="1800" b="1" dirty="0">
                <a:solidFill>
                  <a:schemeClr val="bg1">
                    <a:lumMod val="65000"/>
                  </a:schemeClr>
                </a:solidFill>
              </a:rPr>
              <a:t>安徽省宁国市实验小学</a:t>
            </a:r>
          </a:p>
        </p:txBody>
      </p:sp>
      <p:grpSp>
        <p:nvGrpSpPr>
          <p:cNvPr id="14" name="组合 13"/>
          <p:cNvGrpSpPr/>
          <p:nvPr/>
        </p:nvGrpSpPr>
        <p:grpSpPr>
          <a:xfrm>
            <a:off x="1456373" y="1346276"/>
            <a:ext cx="2661982" cy="844473"/>
            <a:chOff x="1880735" y="1863100"/>
            <a:chExt cx="5267679" cy="1671092"/>
          </a:xfrm>
        </p:grpSpPr>
        <p:grpSp>
          <p:nvGrpSpPr>
            <p:cNvPr id="16" name="组合 15"/>
            <p:cNvGrpSpPr/>
            <p:nvPr/>
          </p:nvGrpSpPr>
          <p:grpSpPr>
            <a:xfrm>
              <a:off x="1880735" y="1863100"/>
              <a:ext cx="5267679" cy="1671092"/>
              <a:chOff x="1880735" y="1863100"/>
              <a:chExt cx="5267679" cy="1671092"/>
            </a:xfrm>
            <a:solidFill>
              <a:srgbClr val="603913"/>
            </a:solidFill>
          </p:grpSpPr>
          <p:sp>
            <p:nvSpPr>
              <p:cNvPr id="19" name="任意多边形: 形状 18"/>
              <p:cNvSpPr/>
              <p:nvPr/>
            </p:nvSpPr>
            <p:spPr>
              <a:xfrm>
                <a:off x="6225194" y="1933445"/>
                <a:ext cx="923220" cy="1194165"/>
              </a:xfrm>
              <a:custGeom>
                <a:avLst/>
                <a:gdLst>
                  <a:gd name="connsiteX0" fmla="*/ 0 w 923219"/>
                  <a:gd name="connsiteY0" fmla="*/ 290062 h 1194164"/>
                  <a:gd name="connsiteX1" fmla="*/ 279425 w 923219"/>
                  <a:gd name="connsiteY1" fmla="*/ 290062 h 1194164"/>
                  <a:gd name="connsiteX2" fmla="*/ 165678 w 923219"/>
                  <a:gd name="connsiteY2" fmla="*/ 0 h 1194164"/>
                  <a:gd name="connsiteX3" fmla="*/ 394877 w 923219"/>
                  <a:gd name="connsiteY3" fmla="*/ 0 h 1194164"/>
                  <a:gd name="connsiteX4" fmla="*/ 508624 w 923219"/>
                  <a:gd name="connsiteY4" fmla="*/ 290062 h 1194164"/>
                  <a:gd name="connsiteX5" fmla="*/ 642491 w 923219"/>
                  <a:gd name="connsiteY5" fmla="*/ 290062 h 1194164"/>
                  <a:gd name="connsiteX6" fmla="*/ 557143 w 923219"/>
                  <a:gd name="connsiteY6" fmla="*/ 42398 h 1194164"/>
                  <a:gd name="connsiteX7" fmla="*/ 784687 w 923219"/>
                  <a:gd name="connsiteY7" fmla="*/ 42398 h 1194164"/>
                  <a:gd name="connsiteX8" fmla="*/ 925177 w 923219"/>
                  <a:gd name="connsiteY8" fmla="*/ 454636 h 1194164"/>
                  <a:gd name="connsiteX9" fmla="*/ 829844 w 923219"/>
                  <a:gd name="connsiteY9" fmla="*/ 454636 h 1194164"/>
                  <a:gd name="connsiteX10" fmla="*/ 699339 w 923219"/>
                  <a:gd name="connsiteY10" fmla="*/ 454636 h 1194164"/>
                  <a:gd name="connsiteX11" fmla="*/ 575557 w 923219"/>
                  <a:gd name="connsiteY11" fmla="*/ 454636 h 1194164"/>
                  <a:gd name="connsiteX12" fmla="*/ 868329 w 923219"/>
                  <a:gd name="connsiteY12" fmla="*/ 1196021 h 1194164"/>
                  <a:gd name="connsiteX13" fmla="*/ 639129 w 923219"/>
                  <a:gd name="connsiteY13" fmla="*/ 1196021 h 1194164"/>
                  <a:gd name="connsiteX14" fmla="*/ 346358 w 923219"/>
                  <a:gd name="connsiteY14" fmla="*/ 454636 h 1194164"/>
                  <a:gd name="connsiteX15" fmla="*/ 0 w 923219"/>
                  <a:gd name="connsiteY15" fmla="*/ 454636 h 1194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23219" h="1194164">
                    <a:moveTo>
                      <a:pt x="0" y="290062"/>
                    </a:moveTo>
                    <a:lnTo>
                      <a:pt x="279425" y="290062"/>
                    </a:lnTo>
                    <a:lnTo>
                      <a:pt x="165678" y="0"/>
                    </a:lnTo>
                    <a:lnTo>
                      <a:pt x="394877" y="0"/>
                    </a:lnTo>
                    <a:lnTo>
                      <a:pt x="508624" y="290062"/>
                    </a:lnTo>
                    <a:lnTo>
                      <a:pt x="642491" y="290062"/>
                    </a:lnTo>
                    <a:lnTo>
                      <a:pt x="557143" y="42398"/>
                    </a:lnTo>
                    <a:lnTo>
                      <a:pt x="784687" y="42398"/>
                    </a:lnTo>
                    <a:lnTo>
                      <a:pt x="925177" y="454636"/>
                    </a:lnTo>
                    <a:lnTo>
                      <a:pt x="829844" y="454636"/>
                    </a:lnTo>
                    <a:lnTo>
                      <a:pt x="699339" y="454636"/>
                    </a:lnTo>
                    <a:lnTo>
                      <a:pt x="575557" y="454636"/>
                    </a:lnTo>
                    <a:lnTo>
                      <a:pt x="868329" y="1196021"/>
                    </a:lnTo>
                    <a:lnTo>
                      <a:pt x="639129" y="1196021"/>
                    </a:lnTo>
                    <a:lnTo>
                      <a:pt x="346358" y="454636"/>
                    </a:lnTo>
                    <a:lnTo>
                      <a:pt x="0" y="454636"/>
                    </a:ln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" name="任意多边形: 形状 19"/>
              <p:cNvSpPr/>
              <p:nvPr/>
            </p:nvSpPr>
            <p:spPr>
              <a:xfrm>
                <a:off x="5932474" y="2223406"/>
                <a:ext cx="235822" cy="908167"/>
              </a:xfrm>
              <a:custGeom>
                <a:avLst/>
                <a:gdLst>
                  <a:gd name="connsiteX0" fmla="*/ 0 w 235822"/>
                  <a:gd name="connsiteY0" fmla="*/ 179225 h 908167"/>
                  <a:gd name="connsiteX1" fmla="*/ 0 w 235822"/>
                  <a:gd name="connsiteY1" fmla="*/ 911981 h 908167"/>
                  <a:gd name="connsiteX2" fmla="*/ 237528 w 235822"/>
                  <a:gd name="connsiteY2" fmla="*/ 911981 h 908167"/>
                  <a:gd name="connsiteX3" fmla="*/ 237528 w 235822"/>
                  <a:gd name="connsiteY3" fmla="*/ 0 h 908167"/>
                  <a:gd name="connsiteX4" fmla="*/ 103712 w 235822"/>
                  <a:gd name="connsiteY4" fmla="*/ 0 h 908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5822" h="908167">
                    <a:moveTo>
                      <a:pt x="0" y="179225"/>
                    </a:moveTo>
                    <a:lnTo>
                      <a:pt x="0" y="911981"/>
                    </a:lnTo>
                    <a:lnTo>
                      <a:pt x="237528" y="911981"/>
                    </a:lnTo>
                    <a:lnTo>
                      <a:pt x="237528" y="0"/>
                    </a:lnTo>
                    <a:lnTo>
                      <a:pt x="103712" y="0"/>
                    </a:ln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" name="任意多边形: 形状 20"/>
              <p:cNvSpPr/>
              <p:nvPr/>
            </p:nvSpPr>
            <p:spPr>
              <a:xfrm>
                <a:off x="1880735" y="1899715"/>
                <a:ext cx="1332318" cy="1634477"/>
              </a:xfrm>
              <a:custGeom>
                <a:avLst/>
                <a:gdLst>
                  <a:gd name="connsiteX0" fmla="*/ 292570 w 1414934"/>
                  <a:gd name="connsiteY0" fmla="*/ 906311 h 1726019"/>
                  <a:gd name="connsiteX1" fmla="*/ 450521 w 1414934"/>
                  <a:gd name="connsiteY1" fmla="*/ 720663 h 1726019"/>
                  <a:gd name="connsiteX2" fmla="*/ 565422 w 1414934"/>
                  <a:gd name="connsiteY2" fmla="*/ 906311 h 1726019"/>
                  <a:gd name="connsiteX3" fmla="*/ 814942 w 1414934"/>
                  <a:gd name="connsiteY3" fmla="*/ 906311 h 1726019"/>
                  <a:gd name="connsiteX4" fmla="*/ 658747 w 1414934"/>
                  <a:gd name="connsiteY4" fmla="*/ 657142 h 1726019"/>
                  <a:gd name="connsiteX5" fmla="*/ 791561 w 1414934"/>
                  <a:gd name="connsiteY5" fmla="*/ 657142 h 1726019"/>
                  <a:gd name="connsiteX6" fmla="*/ 791561 w 1414934"/>
                  <a:gd name="connsiteY6" fmla="*/ 465473 h 1726019"/>
                  <a:gd name="connsiteX7" fmla="*/ 558197 w 1414934"/>
                  <a:gd name="connsiteY7" fmla="*/ 465473 h 1726019"/>
                  <a:gd name="connsiteX8" fmla="*/ 558197 w 1414934"/>
                  <a:gd name="connsiteY8" fmla="*/ 327342 h 1726019"/>
                  <a:gd name="connsiteX9" fmla="*/ 780773 w 1414934"/>
                  <a:gd name="connsiteY9" fmla="*/ 327342 h 1726019"/>
                  <a:gd name="connsiteX10" fmla="*/ 780773 w 1414934"/>
                  <a:gd name="connsiteY10" fmla="*/ 85498 h 1726019"/>
                  <a:gd name="connsiteX11" fmla="*/ 310533 w 1414934"/>
                  <a:gd name="connsiteY11" fmla="*/ 85498 h 1726019"/>
                  <a:gd name="connsiteX12" fmla="*/ 332058 w 1414934"/>
                  <a:gd name="connsiteY12" fmla="*/ 0 h 1726019"/>
                  <a:gd name="connsiteX13" fmla="*/ 84344 w 1414934"/>
                  <a:gd name="connsiteY13" fmla="*/ 0 h 1726019"/>
                  <a:gd name="connsiteX14" fmla="*/ 0 w 1414934"/>
                  <a:gd name="connsiteY14" fmla="*/ 327342 h 1726019"/>
                  <a:gd name="connsiteX15" fmla="*/ 308727 w 1414934"/>
                  <a:gd name="connsiteY15" fmla="*/ 327342 h 1726019"/>
                  <a:gd name="connsiteX16" fmla="*/ 308727 w 1414934"/>
                  <a:gd name="connsiteY16" fmla="*/ 465473 h 1726019"/>
                  <a:gd name="connsiteX17" fmla="*/ 0 w 1414934"/>
                  <a:gd name="connsiteY17" fmla="*/ 465473 h 1726019"/>
                  <a:gd name="connsiteX18" fmla="*/ 0 w 1414934"/>
                  <a:gd name="connsiteY18" fmla="*/ 657142 h 1726019"/>
                  <a:gd name="connsiteX19" fmla="*/ 215401 w 1414934"/>
                  <a:gd name="connsiteY19" fmla="*/ 657142 h 1726019"/>
                  <a:gd name="connsiteX20" fmla="*/ 3613 w 1414934"/>
                  <a:gd name="connsiteY20" fmla="*/ 906311 h 1726019"/>
                  <a:gd name="connsiteX21" fmla="*/ 292570 w 1414934"/>
                  <a:gd name="connsiteY21" fmla="*/ 906311 h 1726019"/>
                  <a:gd name="connsiteX22" fmla="*/ 1105656 w 1414934"/>
                  <a:gd name="connsiteY22" fmla="*/ 31008 h 1726019"/>
                  <a:gd name="connsiteX23" fmla="*/ 1105656 w 1414934"/>
                  <a:gd name="connsiteY23" fmla="*/ 264573 h 1726019"/>
                  <a:gd name="connsiteX24" fmla="*/ 1263657 w 1414934"/>
                  <a:gd name="connsiteY24" fmla="*/ 264573 h 1726019"/>
                  <a:gd name="connsiteX25" fmla="*/ 1263657 w 1414934"/>
                  <a:gd name="connsiteY25" fmla="*/ 599591 h 1726019"/>
                  <a:gd name="connsiteX26" fmla="*/ 1247451 w 1414934"/>
                  <a:gd name="connsiteY26" fmla="*/ 651472 h 1726019"/>
                  <a:gd name="connsiteX27" fmla="*/ 1207762 w 1414934"/>
                  <a:gd name="connsiteY27" fmla="*/ 672696 h 1726019"/>
                  <a:gd name="connsiteX28" fmla="*/ 1049059 w 1414934"/>
                  <a:gd name="connsiteY28" fmla="*/ 672696 h 1726019"/>
                  <a:gd name="connsiteX29" fmla="*/ 1049059 w 1414934"/>
                  <a:gd name="connsiteY29" fmla="*/ 31008 h 1726019"/>
                  <a:gd name="connsiteX30" fmla="*/ 878664 w 1414934"/>
                  <a:gd name="connsiteY30" fmla="*/ 31008 h 1726019"/>
                  <a:gd name="connsiteX31" fmla="*/ 878664 w 1414934"/>
                  <a:gd name="connsiteY31" fmla="*/ 906311 h 1726019"/>
                  <a:gd name="connsiteX32" fmla="*/ 1220607 w 1414934"/>
                  <a:gd name="connsiteY32" fmla="*/ 906311 h 1726019"/>
                  <a:gd name="connsiteX33" fmla="*/ 1298178 w 1414934"/>
                  <a:gd name="connsiteY33" fmla="*/ 886241 h 1726019"/>
                  <a:gd name="connsiteX34" fmla="*/ 1361298 w 1414934"/>
                  <a:gd name="connsiteY34" fmla="*/ 830797 h 1726019"/>
                  <a:gd name="connsiteX35" fmla="*/ 1403696 w 1414934"/>
                  <a:gd name="connsiteY35" fmla="*/ 748209 h 1726019"/>
                  <a:gd name="connsiteX36" fmla="*/ 1418999 w 1414934"/>
                  <a:gd name="connsiteY36" fmla="*/ 646756 h 1726019"/>
                  <a:gd name="connsiteX37" fmla="*/ 1418999 w 1414934"/>
                  <a:gd name="connsiteY37" fmla="*/ 31008 h 1726019"/>
                  <a:gd name="connsiteX38" fmla="*/ 1105656 w 1414934"/>
                  <a:gd name="connsiteY38" fmla="*/ 31008 h 1726019"/>
                  <a:gd name="connsiteX39" fmla="*/ 27897 w 1414934"/>
                  <a:gd name="connsiteY39" fmla="*/ 1729682 h 1726019"/>
                  <a:gd name="connsiteX40" fmla="*/ 1209017 w 1414934"/>
                  <a:gd name="connsiteY40" fmla="*/ 1729682 h 1726019"/>
                  <a:gd name="connsiteX41" fmla="*/ 1284781 w 1414934"/>
                  <a:gd name="connsiteY41" fmla="*/ 1706150 h 1726019"/>
                  <a:gd name="connsiteX42" fmla="*/ 1347901 w 1414934"/>
                  <a:gd name="connsiteY42" fmla="*/ 1642679 h 1726019"/>
                  <a:gd name="connsiteX43" fmla="*/ 1390299 w 1414934"/>
                  <a:gd name="connsiteY43" fmla="*/ 1548601 h 1726019"/>
                  <a:gd name="connsiteX44" fmla="*/ 1407409 w 1414934"/>
                  <a:gd name="connsiteY44" fmla="*/ 1430940 h 1726019"/>
                  <a:gd name="connsiteX45" fmla="*/ 1407409 w 1414934"/>
                  <a:gd name="connsiteY45" fmla="*/ 967574 h 1726019"/>
                  <a:gd name="connsiteX46" fmla="*/ 27897 w 1414934"/>
                  <a:gd name="connsiteY46" fmla="*/ 967574 h 1726019"/>
                  <a:gd name="connsiteX47" fmla="*/ 27897 w 1414934"/>
                  <a:gd name="connsiteY47" fmla="*/ 1729682 h 1726019"/>
                  <a:gd name="connsiteX48" fmla="*/ 208678 w 1414934"/>
                  <a:gd name="connsiteY48" fmla="*/ 1140126 h 1726019"/>
                  <a:gd name="connsiteX49" fmla="*/ 1231194 w 1414934"/>
                  <a:gd name="connsiteY49" fmla="*/ 1140126 h 1726019"/>
                  <a:gd name="connsiteX50" fmla="*/ 1231194 w 1414934"/>
                  <a:gd name="connsiteY50" fmla="*/ 1269628 h 1726019"/>
                  <a:gd name="connsiteX51" fmla="*/ 321923 w 1414934"/>
                  <a:gd name="connsiteY51" fmla="*/ 1269628 h 1726019"/>
                  <a:gd name="connsiteX52" fmla="*/ 321923 w 1414934"/>
                  <a:gd name="connsiteY52" fmla="*/ 1430037 h 1726019"/>
                  <a:gd name="connsiteX53" fmla="*/ 1231194 w 1414934"/>
                  <a:gd name="connsiteY53" fmla="*/ 1430037 h 1726019"/>
                  <a:gd name="connsiteX54" fmla="*/ 1231194 w 1414934"/>
                  <a:gd name="connsiteY54" fmla="*/ 1434653 h 1726019"/>
                  <a:gd name="connsiteX55" fmla="*/ 1214937 w 1414934"/>
                  <a:gd name="connsiteY55" fmla="*/ 1496770 h 1726019"/>
                  <a:gd name="connsiteX56" fmla="*/ 1173443 w 1414934"/>
                  <a:gd name="connsiteY56" fmla="*/ 1522058 h 1726019"/>
                  <a:gd name="connsiteX57" fmla="*/ 208678 w 1414934"/>
                  <a:gd name="connsiteY57" fmla="*/ 1522058 h 1726019"/>
                  <a:gd name="connsiteX58" fmla="*/ 208678 w 1414934"/>
                  <a:gd name="connsiteY58" fmla="*/ 1140126 h 1726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414934" h="1726019">
                    <a:moveTo>
                      <a:pt x="292570" y="906311"/>
                    </a:moveTo>
                    <a:lnTo>
                      <a:pt x="450521" y="720663"/>
                    </a:lnTo>
                    <a:lnTo>
                      <a:pt x="565422" y="906311"/>
                    </a:lnTo>
                    <a:lnTo>
                      <a:pt x="814942" y="906311"/>
                    </a:lnTo>
                    <a:lnTo>
                      <a:pt x="658747" y="657142"/>
                    </a:lnTo>
                    <a:lnTo>
                      <a:pt x="791561" y="657142"/>
                    </a:lnTo>
                    <a:lnTo>
                      <a:pt x="791561" y="465473"/>
                    </a:lnTo>
                    <a:lnTo>
                      <a:pt x="558197" y="465473"/>
                    </a:lnTo>
                    <a:lnTo>
                      <a:pt x="558197" y="327342"/>
                    </a:lnTo>
                    <a:lnTo>
                      <a:pt x="780773" y="327342"/>
                    </a:lnTo>
                    <a:lnTo>
                      <a:pt x="780773" y="85498"/>
                    </a:lnTo>
                    <a:lnTo>
                      <a:pt x="310533" y="85498"/>
                    </a:lnTo>
                    <a:lnTo>
                      <a:pt x="332058" y="0"/>
                    </a:lnTo>
                    <a:lnTo>
                      <a:pt x="84344" y="0"/>
                    </a:lnTo>
                    <a:lnTo>
                      <a:pt x="0" y="327342"/>
                    </a:lnTo>
                    <a:lnTo>
                      <a:pt x="308727" y="327342"/>
                    </a:lnTo>
                    <a:lnTo>
                      <a:pt x="308727" y="465473"/>
                    </a:lnTo>
                    <a:lnTo>
                      <a:pt x="0" y="465473"/>
                    </a:lnTo>
                    <a:lnTo>
                      <a:pt x="0" y="657142"/>
                    </a:lnTo>
                    <a:lnTo>
                      <a:pt x="215401" y="657142"/>
                    </a:lnTo>
                    <a:lnTo>
                      <a:pt x="3613" y="906311"/>
                    </a:lnTo>
                    <a:lnTo>
                      <a:pt x="292570" y="906311"/>
                    </a:lnTo>
                    <a:close/>
                    <a:moveTo>
                      <a:pt x="1105656" y="31008"/>
                    </a:moveTo>
                    <a:lnTo>
                      <a:pt x="1105656" y="264573"/>
                    </a:lnTo>
                    <a:lnTo>
                      <a:pt x="1263657" y="264573"/>
                    </a:lnTo>
                    <a:lnTo>
                      <a:pt x="1263657" y="599591"/>
                    </a:lnTo>
                    <a:cubicBezTo>
                      <a:pt x="1263657" y="620063"/>
                      <a:pt x="1258238" y="637323"/>
                      <a:pt x="1247451" y="651472"/>
                    </a:cubicBezTo>
                    <a:cubicBezTo>
                      <a:pt x="1236613" y="665621"/>
                      <a:pt x="1223367" y="672696"/>
                      <a:pt x="1207762" y="672696"/>
                    </a:cubicBezTo>
                    <a:lnTo>
                      <a:pt x="1049059" y="672696"/>
                    </a:lnTo>
                    <a:lnTo>
                      <a:pt x="1049059" y="31008"/>
                    </a:lnTo>
                    <a:lnTo>
                      <a:pt x="878664" y="31008"/>
                    </a:lnTo>
                    <a:lnTo>
                      <a:pt x="878664" y="906311"/>
                    </a:lnTo>
                    <a:lnTo>
                      <a:pt x="1220607" y="906311"/>
                    </a:lnTo>
                    <a:cubicBezTo>
                      <a:pt x="1248253" y="906311"/>
                      <a:pt x="1274094" y="899638"/>
                      <a:pt x="1298178" y="886241"/>
                    </a:cubicBezTo>
                    <a:cubicBezTo>
                      <a:pt x="1322211" y="872894"/>
                      <a:pt x="1343285" y="854380"/>
                      <a:pt x="1361298" y="830797"/>
                    </a:cubicBezTo>
                    <a:cubicBezTo>
                      <a:pt x="1379311" y="807215"/>
                      <a:pt x="1393460" y="779719"/>
                      <a:pt x="1403696" y="748209"/>
                    </a:cubicBezTo>
                    <a:cubicBezTo>
                      <a:pt x="1413881" y="716750"/>
                      <a:pt x="1418999" y="682982"/>
                      <a:pt x="1418999" y="646756"/>
                    </a:cubicBezTo>
                    <a:lnTo>
                      <a:pt x="1418999" y="31008"/>
                    </a:lnTo>
                    <a:lnTo>
                      <a:pt x="1105656" y="31008"/>
                    </a:lnTo>
                    <a:close/>
                    <a:moveTo>
                      <a:pt x="27897" y="1729682"/>
                    </a:moveTo>
                    <a:lnTo>
                      <a:pt x="1209017" y="1729682"/>
                    </a:lnTo>
                    <a:cubicBezTo>
                      <a:pt x="1235459" y="1729682"/>
                      <a:pt x="1260697" y="1721855"/>
                      <a:pt x="1284781" y="1706150"/>
                    </a:cubicBezTo>
                    <a:cubicBezTo>
                      <a:pt x="1308815" y="1690496"/>
                      <a:pt x="1329888" y="1669322"/>
                      <a:pt x="1347901" y="1642679"/>
                    </a:cubicBezTo>
                    <a:cubicBezTo>
                      <a:pt x="1365914" y="1616036"/>
                      <a:pt x="1380063" y="1584626"/>
                      <a:pt x="1390299" y="1548601"/>
                    </a:cubicBezTo>
                    <a:cubicBezTo>
                      <a:pt x="1400484" y="1512525"/>
                      <a:pt x="1406204" y="1473338"/>
                      <a:pt x="1407409" y="1430940"/>
                    </a:cubicBezTo>
                    <a:lnTo>
                      <a:pt x="1407409" y="967574"/>
                    </a:lnTo>
                    <a:lnTo>
                      <a:pt x="27897" y="967574"/>
                    </a:lnTo>
                    <a:lnTo>
                      <a:pt x="27897" y="1729682"/>
                    </a:lnTo>
                    <a:close/>
                    <a:moveTo>
                      <a:pt x="208678" y="1140126"/>
                    </a:moveTo>
                    <a:lnTo>
                      <a:pt x="1231194" y="1140126"/>
                    </a:lnTo>
                    <a:lnTo>
                      <a:pt x="1231194" y="1269628"/>
                    </a:lnTo>
                    <a:lnTo>
                      <a:pt x="321923" y="1269628"/>
                    </a:lnTo>
                    <a:lnTo>
                      <a:pt x="321923" y="1430037"/>
                    </a:lnTo>
                    <a:lnTo>
                      <a:pt x="1231194" y="1430037"/>
                    </a:lnTo>
                    <a:lnTo>
                      <a:pt x="1231194" y="1434653"/>
                    </a:lnTo>
                    <a:cubicBezTo>
                      <a:pt x="1231194" y="1459189"/>
                      <a:pt x="1225775" y="1479861"/>
                      <a:pt x="1214937" y="1496770"/>
                    </a:cubicBezTo>
                    <a:cubicBezTo>
                      <a:pt x="1204099" y="1513679"/>
                      <a:pt x="1190301" y="1522058"/>
                      <a:pt x="1173443" y="1522058"/>
                    </a:cubicBezTo>
                    <a:lnTo>
                      <a:pt x="208678" y="1522058"/>
                    </a:lnTo>
                    <a:lnTo>
                      <a:pt x="208678" y="1140126"/>
                    </a:lnTo>
                    <a:close/>
                  </a:path>
                </a:pathLst>
              </a:custGeom>
              <a:solidFill>
                <a:schemeClr val="accent5"/>
              </a:solidFill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任意多边形: 形状 21"/>
              <p:cNvSpPr/>
              <p:nvPr/>
            </p:nvSpPr>
            <p:spPr>
              <a:xfrm>
                <a:off x="4036361" y="1905447"/>
                <a:ext cx="516802" cy="577012"/>
              </a:xfrm>
              <a:custGeom>
                <a:avLst/>
                <a:gdLst>
                  <a:gd name="connsiteX0" fmla="*/ 40541 w 516802"/>
                  <a:gd name="connsiteY0" fmla="*/ 534514 h 577012"/>
                  <a:gd name="connsiteX1" fmla="*/ 85498 w 516802"/>
                  <a:gd name="connsiteY1" fmla="*/ 569135 h 577012"/>
                  <a:gd name="connsiteX2" fmla="*/ 137730 w 516802"/>
                  <a:gd name="connsiteY2" fmla="*/ 581227 h 577012"/>
                  <a:gd name="connsiteX3" fmla="*/ 494475 w 516802"/>
                  <a:gd name="connsiteY3" fmla="*/ 581227 h 577012"/>
                  <a:gd name="connsiteX4" fmla="*/ 504560 w 516802"/>
                  <a:gd name="connsiteY4" fmla="*/ 427290 h 577012"/>
                  <a:gd name="connsiteX5" fmla="*/ 233414 w 516802"/>
                  <a:gd name="connsiteY5" fmla="*/ 427290 h 577012"/>
                  <a:gd name="connsiteX6" fmla="*/ 200048 w 516802"/>
                  <a:gd name="connsiteY6" fmla="*/ 413442 h 577012"/>
                  <a:gd name="connsiteX7" fmla="*/ 188457 w 516802"/>
                  <a:gd name="connsiteY7" fmla="*/ 373653 h 577012"/>
                  <a:gd name="connsiteX8" fmla="*/ 282736 w 516802"/>
                  <a:gd name="connsiteY8" fmla="*/ 373653 h 577012"/>
                  <a:gd name="connsiteX9" fmla="*/ 519110 w 516802"/>
                  <a:gd name="connsiteY9" fmla="*/ 19066 h 577012"/>
                  <a:gd name="connsiteX10" fmla="*/ 330603 w 516802"/>
                  <a:gd name="connsiteY10" fmla="*/ 19066 h 577012"/>
                  <a:gd name="connsiteX11" fmla="*/ 188507 w 516802"/>
                  <a:gd name="connsiteY11" fmla="*/ 235271 h 577012"/>
                  <a:gd name="connsiteX12" fmla="*/ 188507 w 516802"/>
                  <a:gd name="connsiteY12" fmla="*/ 0 h 577012"/>
                  <a:gd name="connsiteX13" fmla="*/ 0 w 516802"/>
                  <a:gd name="connsiteY13" fmla="*/ 0 h 577012"/>
                  <a:gd name="connsiteX14" fmla="*/ 0 w 516802"/>
                  <a:gd name="connsiteY14" fmla="*/ 418610 h 577012"/>
                  <a:gd name="connsiteX15" fmla="*/ 11590 w 516802"/>
                  <a:gd name="connsiteY15" fmla="*/ 482633 h 577012"/>
                  <a:gd name="connsiteX16" fmla="*/ 40541 w 516802"/>
                  <a:gd name="connsiteY16" fmla="*/ 534514 h 577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16802" h="577012">
                    <a:moveTo>
                      <a:pt x="40541" y="534514"/>
                    </a:moveTo>
                    <a:cubicBezTo>
                      <a:pt x="52132" y="549516"/>
                      <a:pt x="67134" y="561057"/>
                      <a:pt x="85498" y="569135"/>
                    </a:cubicBezTo>
                    <a:cubicBezTo>
                      <a:pt x="100952" y="577213"/>
                      <a:pt x="118363" y="581227"/>
                      <a:pt x="137730" y="581227"/>
                    </a:cubicBezTo>
                    <a:lnTo>
                      <a:pt x="494475" y="581227"/>
                    </a:lnTo>
                    <a:lnTo>
                      <a:pt x="504560" y="427290"/>
                    </a:lnTo>
                    <a:lnTo>
                      <a:pt x="233414" y="427290"/>
                    </a:lnTo>
                    <a:cubicBezTo>
                      <a:pt x="221824" y="427290"/>
                      <a:pt x="210685" y="422674"/>
                      <a:pt x="200048" y="413442"/>
                    </a:cubicBezTo>
                    <a:cubicBezTo>
                      <a:pt x="192321" y="400748"/>
                      <a:pt x="188457" y="387501"/>
                      <a:pt x="188457" y="373653"/>
                    </a:cubicBezTo>
                    <a:lnTo>
                      <a:pt x="282736" y="373653"/>
                    </a:lnTo>
                    <a:lnTo>
                      <a:pt x="519110" y="19066"/>
                    </a:lnTo>
                    <a:lnTo>
                      <a:pt x="330603" y="19066"/>
                    </a:lnTo>
                    <a:lnTo>
                      <a:pt x="188507" y="235271"/>
                    </a:lnTo>
                    <a:lnTo>
                      <a:pt x="188507" y="0"/>
                    </a:lnTo>
                    <a:lnTo>
                      <a:pt x="0" y="0"/>
                    </a:lnTo>
                    <a:lnTo>
                      <a:pt x="0" y="418610"/>
                    </a:lnTo>
                    <a:cubicBezTo>
                      <a:pt x="0" y="439382"/>
                      <a:pt x="3863" y="460707"/>
                      <a:pt x="11590" y="482633"/>
                    </a:cubicBezTo>
                    <a:cubicBezTo>
                      <a:pt x="18314" y="503355"/>
                      <a:pt x="27947" y="520666"/>
                      <a:pt x="40541" y="534514"/>
                    </a:cubicBez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任意多边形: 形状 22"/>
              <p:cNvSpPr/>
              <p:nvPr/>
            </p:nvSpPr>
            <p:spPr>
              <a:xfrm>
                <a:off x="3308271" y="2322301"/>
                <a:ext cx="667327" cy="827887"/>
              </a:xfrm>
              <a:custGeom>
                <a:avLst/>
                <a:gdLst>
                  <a:gd name="connsiteX0" fmla="*/ 543847 w 667327"/>
                  <a:gd name="connsiteY0" fmla="*/ 0 h 827887"/>
                  <a:gd name="connsiteX1" fmla="*/ 27546 w 667327"/>
                  <a:gd name="connsiteY1" fmla="*/ 0 h 827887"/>
                  <a:gd name="connsiteX2" fmla="*/ 27546 w 667327"/>
                  <a:gd name="connsiteY2" fmla="*/ 664267 h 827887"/>
                  <a:gd name="connsiteX3" fmla="*/ 0 w 667327"/>
                  <a:gd name="connsiteY3" fmla="*/ 832052 h 827887"/>
                  <a:gd name="connsiteX4" fmla="*/ 158051 w 667327"/>
                  <a:gd name="connsiteY4" fmla="*/ 832052 h 827887"/>
                  <a:gd name="connsiteX5" fmla="*/ 189963 w 667327"/>
                  <a:gd name="connsiteY5" fmla="*/ 664267 h 827887"/>
                  <a:gd name="connsiteX6" fmla="*/ 189963 w 667327"/>
                  <a:gd name="connsiteY6" fmla="*/ 605462 h 827887"/>
                  <a:gd name="connsiteX7" fmla="*/ 189963 w 667327"/>
                  <a:gd name="connsiteY7" fmla="*/ 472247 h 827887"/>
                  <a:gd name="connsiteX8" fmla="*/ 189963 w 667327"/>
                  <a:gd name="connsiteY8" fmla="*/ 377115 h 827887"/>
                  <a:gd name="connsiteX9" fmla="*/ 189963 w 667327"/>
                  <a:gd name="connsiteY9" fmla="*/ 243901 h 827887"/>
                  <a:gd name="connsiteX10" fmla="*/ 189963 w 667327"/>
                  <a:gd name="connsiteY10" fmla="*/ 164323 h 827887"/>
                  <a:gd name="connsiteX11" fmla="*/ 189963 w 667327"/>
                  <a:gd name="connsiteY11" fmla="*/ 152231 h 827887"/>
                  <a:gd name="connsiteX12" fmla="*/ 449568 w 667327"/>
                  <a:gd name="connsiteY12" fmla="*/ 152231 h 827887"/>
                  <a:gd name="connsiteX13" fmla="*/ 482182 w 667327"/>
                  <a:gd name="connsiteY13" fmla="*/ 168688 h 827887"/>
                  <a:gd name="connsiteX14" fmla="*/ 495980 w 667327"/>
                  <a:gd name="connsiteY14" fmla="*/ 207624 h 827887"/>
                  <a:gd name="connsiteX15" fmla="*/ 495980 w 667327"/>
                  <a:gd name="connsiteY15" fmla="*/ 243951 h 827887"/>
                  <a:gd name="connsiteX16" fmla="*/ 277719 w 667327"/>
                  <a:gd name="connsiteY16" fmla="*/ 243951 h 827887"/>
                  <a:gd name="connsiteX17" fmla="*/ 277719 w 667327"/>
                  <a:gd name="connsiteY17" fmla="*/ 377165 h 827887"/>
                  <a:gd name="connsiteX18" fmla="*/ 495980 w 667327"/>
                  <a:gd name="connsiteY18" fmla="*/ 377165 h 827887"/>
                  <a:gd name="connsiteX19" fmla="*/ 495980 w 667327"/>
                  <a:gd name="connsiteY19" fmla="*/ 472297 h 827887"/>
                  <a:gd name="connsiteX20" fmla="*/ 277719 w 667327"/>
                  <a:gd name="connsiteY20" fmla="*/ 472297 h 827887"/>
                  <a:gd name="connsiteX21" fmla="*/ 277719 w 667327"/>
                  <a:gd name="connsiteY21" fmla="*/ 605512 h 827887"/>
                  <a:gd name="connsiteX22" fmla="*/ 495980 w 667327"/>
                  <a:gd name="connsiteY22" fmla="*/ 605512 h 827887"/>
                  <a:gd name="connsiteX23" fmla="*/ 495980 w 667327"/>
                  <a:gd name="connsiteY23" fmla="*/ 697181 h 827887"/>
                  <a:gd name="connsiteX24" fmla="*/ 493070 w 667327"/>
                  <a:gd name="connsiteY24" fmla="*/ 705812 h 827887"/>
                  <a:gd name="connsiteX25" fmla="*/ 488704 w 667327"/>
                  <a:gd name="connsiteY25" fmla="*/ 712736 h 827887"/>
                  <a:gd name="connsiteX26" fmla="*/ 477114 w 667327"/>
                  <a:gd name="connsiteY26" fmla="*/ 717954 h 827887"/>
                  <a:gd name="connsiteX27" fmla="*/ 453933 w 667327"/>
                  <a:gd name="connsiteY27" fmla="*/ 717954 h 827887"/>
                  <a:gd name="connsiteX28" fmla="*/ 413342 w 667327"/>
                  <a:gd name="connsiteY28" fmla="*/ 832102 h 827887"/>
                  <a:gd name="connsiteX29" fmla="*/ 572848 w 667327"/>
                  <a:gd name="connsiteY29" fmla="*/ 832102 h 827887"/>
                  <a:gd name="connsiteX30" fmla="*/ 604759 w 667327"/>
                  <a:gd name="connsiteY30" fmla="*/ 826884 h 827887"/>
                  <a:gd name="connsiteX31" fmla="*/ 633760 w 667327"/>
                  <a:gd name="connsiteY31" fmla="*/ 802649 h 827887"/>
                  <a:gd name="connsiteX32" fmla="*/ 659851 w 667327"/>
                  <a:gd name="connsiteY32" fmla="*/ 757693 h 827887"/>
                  <a:gd name="connsiteX33" fmla="*/ 668582 w 667327"/>
                  <a:gd name="connsiteY33" fmla="*/ 691963 h 827887"/>
                  <a:gd name="connsiteX34" fmla="*/ 668582 w 667327"/>
                  <a:gd name="connsiteY34" fmla="*/ 148769 h 827887"/>
                  <a:gd name="connsiteX35" fmla="*/ 631603 w 667327"/>
                  <a:gd name="connsiteY35" fmla="*/ 44104 h 827887"/>
                  <a:gd name="connsiteX36" fmla="*/ 543847 w 667327"/>
                  <a:gd name="connsiteY36" fmla="*/ 0 h 827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67327" h="827887">
                    <a:moveTo>
                      <a:pt x="543847" y="0"/>
                    </a:moveTo>
                    <a:lnTo>
                      <a:pt x="27546" y="0"/>
                    </a:lnTo>
                    <a:lnTo>
                      <a:pt x="27546" y="664267"/>
                    </a:lnTo>
                    <a:lnTo>
                      <a:pt x="0" y="832052"/>
                    </a:lnTo>
                    <a:lnTo>
                      <a:pt x="158051" y="832052"/>
                    </a:lnTo>
                    <a:lnTo>
                      <a:pt x="189963" y="664267"/>
                    </a:lnTo>
                    <a:lnTo>
                      <a:pt x="189963" y="605462"/>
                    </a:lnTo>
                    <a:lnTo>
                      <a:pt x="189963" y="472247"/>
                    </a:lnTo>
                    <a:lnTo>
                      <a:pt x="189963" y="377115"/>
                    </a:lnTo>
                    <a:lnTo>
                      <a:pt x="189963" y="243901"/>
                    </a:lnTo>
                    <a:lnTo>
                      <a:pt x="189963" y="164323"/>
                    </a:lnTo>
                    <a:lnTo>
                      <a:pt x="189963" y="152231"/>
                    </a:lnTo>
                    <a:lnTo>
                      <a:pt x="449568" y="152231"/>
                    </a:lnTo>
                    <a:cubicBezTo>
                      <a:pt x="462112" y="152231"/>
                      <a:pt x="473000" y="157700"/>
                      <a:pt x="482182" y="168688"/>
                    </a:cubicBezTo>
                    <a:cubicBezTo>
                      <a:pt x="491364" y="179677"/>
                      <a:pt x="495980" y="192622"/>
                      <a:pt x="495980" y="207624"/>
                    </a:cubicBezTo>
                    <a:lnTo>
                      <a:pt x="495980" y="243951"/>
                    </a:lnTo>
                    <a:lnTo>
                      <a:pt x="277719" y="243951"/>
                    </a:lnTo>
                    <a:lnTo>
                      <a:pt x="277719" y="377165"/>
                    </a:lnTo>
                    <a:lnTo>
                      <a:pt x="495980" y="377165"/>
                    </a:lnTo>
                    <a:lnTo>
                      <a:pt x="495980" y="472297"/>
                    </a:lnTo>
                    <a:lnTo>
                      <a:pt x="277719" y="472297"/>
                    </a:lnTo>
                    <a:lnTo>
                      <a:pt x="277719" y="605512"/>
                    </a:lnTo>
                    <a:lnTo>
                      <a:pt x="495980" y="605512"/>
                    </a:lnTo>
                    <a:lnTo>
                      <a:pt x="495980" y="697181"/>
                    </a:lnTo>
                    <a:lnTo>
                      <a:pt x="493070" y="705812"/>
                    </a:lnTo>
                    <a:cubicBezTo>
                      <a:pt x="490160" y="709274"/>
                      <a:pt x="488704" y="711582"/>
                      <a:pt x="488704" y="712736"/>
                    </a:cubicBezTo>
                    <a:cubicBezTo>
                      <a:pt x="486748" y="716198"/>
                      <a:pt x="482884" y="717954"/>
                      <a:pt x="477114" y="717954"/>
                    </a:cubicBezTo>
                    <a:lnTo>
                      <a:pt x="453933" y="717954"/>
                    </a:lnTo>
                    <a:lnTo>
                      <a:pt x="413342" y="832102"/>
                    </a:lnTo>
                    <a:lnTo>
                      <a:pt x="572848" y="832102"/>
                    </a:lnTo>
                    <a:cubicBezTo>
                      <a:pt x="582481" y="832102"/>
                      <a:pt x="593169" y="830346"/>
                      <a:pt x="604759" y="826884"/>
                    </a:cubicBezTo>
                    <a:cubicBezTo>
                      <a:pt x="615396" y="822268"/>
                      <a:pt x="625080" y="814190"/>
                      <a:pt x="633760" y="802649"/>
                    </a:cubicBezTo>
                    <a:cubicBezTo>
                      <a:pt x="645351" y="788801"/>
                      <a:pt x="654081" y="773849"/>
                      <a:pt x="659851" y="757693"/>
                    </a:cubicBezTo>
                    <a:cubicBezTo>
                      <a:pt x="665672" y="741536"/>
                      <a:pt x="668582" y="719660"/>
                      <a:pt x="668582" y="691963"/>
                    </a:cubicBezTo>
                    <a:lnTo>
                      <a:pt x="668582" y="148769"/>
                    </a:lnTo>
                    <a:cubicBezTo>
                      <a:pt x="668582" y="108428"/>
                      <a:pt x="656239" y="73506"/>
                      <a:pt x="631603" y="44104"/>
                    </a:cubicBezTo>
                    <a:cubicBezTo>
                      <a:pt x="606917" y="14701"/>
                      <a:pt x="577665" y="0"/>
                      <a:pt x="543847" y="0"/>
                    </a:cubicBez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" name="任意多边形: 形状 23"/>
              <p:cNvSpPr/>
              <p:nvPr/>
            </p:nvSpPr>
            <p:spPr>
              <a:xfrm>
                <a:off x="3331502" y="1893305"/>
                <a:ext cx="662310" cy="361260"/>
              </a:xfrm>
              <a:custGeom>
                <a:avLst/>
                <a:gdLst>
                  <a:gd name="connsiteX0" fmla="*/ 408976 w 662309"/>
                  <a:gd name="connsiteY0" fmla="*/ 119366 h 361259"/>
                  <a:gd name="connsiteX1" fmla="*/ 440837 w 662309"/>
                  <a:gd name="connsiteY1" fmla="*/ 216254 h 361259"/>
                  <a:gd name="connsiteX2" fmla="*/ 234919 w 662309"/>
                  <a:gd name="connsiteY2" fmla="*/ 216254 h 361259"/>
                  <a:gd name="connsiteX3" fmla="*/ 320468 w 662309"/>
                  <a:gd name="connsiteY3" fmla="*/ 0 h 361259"/>
                  <a:gd name="connsiteX4" fmla="*/ 133415 w 662309"/>
                  <a:gd name="connsiteY4" fmla="*/ 0 h 361259"/>
                  <a:gd name="connsiteX5" fmla="*/ 0 w 662309"/>
                  <a:gd name="connsiteY5" fmla="*/ 365023 h 361259"/>
                  <a:gd name="connsiteX6" fmla="*/ 561207 w 662309"/>
                  <a:gd name="connsiteY6" fmla="*/ 365023 h 361259"/>
                  <a:gd name="connsiteX7" fmla="*/ 561207 w 662309"/>
                  <a:gd name="connsiteY7" fmla="*/ 363267 h 361259"/>
                  <a:gd name="connsiteX8" fmla="*/ 667077 w 662309"/>
                  <a:gd name="connsiteY8" fmla="*/ 363267 h 361259"/>
                  <a:gd name="connsiteX9" fmla="*/ 587348 w 662309"/>
                  <a:gd name="connsiteY9" fmla="*/ 119366 h 361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2309" h="361259">
                    <a:moveTo>
                      <a:pt x="408976" y="119366"/>
                    </a:moveTo>
                    <a:lnTo>
                      <a:pt x="440837" y="216254"/>
                    </a:lnTo>
                    <a:lnTo>
                      <a:pt x="234919" y="216254"/>
                    </a:lnTo>
                    <a:lnTo>
                      <a:pt x="320468" y="0"/>
                    </a:lnTo>
                    <a:lnTo>
                      <a:pt x="133415" y="0"/>
                    </a:lnTo>
                    <a:lnTo>
                      <a:pt x="0" y="365023"/>
                    </a:lnTo>
                    <a:lnTo>
                      <a:pt x="561207" y="365023"/>
                    </a:lnTo>
                    <a:lnTo>
                      <a:pt x="561207" y="363267"/>
                    </a:lnTo>
                    <a:lnTo>
                      <a:pt x="667077" y="363267"/>
                    </a:lnTo>
                    <a:lnTo>
                      <a:pt x="587348" y="119366"/>
                    </a:ln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" name="任意多边形: 形状 24"/>
              <p:cNvSpPr/>
              <p:nvPr/>
            </p:nvSpPr>
            <p:spPr>
              <a:xfrm>
                <a:off x="4036361" y="2536147"/>
                <a:ext cx="1073745" cy="592065"/>
              </a:xfrm>
              <a:custGeom>
                <a:avLst/>
                <a:gdLst>
                  <a:gd name="connsiteX0" fmla="*/ 233414 w 1073744"/>
                  <a:gd name="connsiteY0" fmla="*/ 437024 h 592064"/>
                  <a:gd name="connsiteX1" fmla="*/ 200048 w 1073744"/>
                  <a:gd name="connsiteY1" fmla="*/ 421018 h 592064"/>
                  <a:gd name="connsiteX2" fmla="*/ 188457 w 1073744"/>
                  <a:gd name="connsiteY2" fmla="*/ 381932 h 592064"/>
                  <a:gd name="connsiteX3" fmla="*/ 282736 w 1073744"/>
                  <a:gd name="connsiteY3" fmla="*/ 381932 h 592064"/>
                  <a:gd name="connsiteX4" fmla="*/ 519110 w 1073744"/>
                  <a:gd name="connsiteY4" fmla="*/ 15956 h 592064"/>
                  <a:gd name="connsiteX5" fmla="*/ 330603 w 1073744"/>
                  <a:gd name="connsiteY5" fmla="*/ 15956 h 592064"/>
                  <a:gd name="connsiteX6" fmla="*/ 188507 w 1073744"/>
                  <a:gd name="connsiteY6" fmla="*/ 241593 h 592064"/>
                  <a:gd name="connsiteX7" fmla="*/ 188507 w 1073744"/>
                  <a:gd name="connsiteY7" fmla="*/ 0 h 592064"/>
                  <a:gd name="connsiteX8" fmla="*/ 0 w 1073744"/>
                  <a:gd name="connsiteY8" fmla="*/ 0 h 592064"/>
                  <a:gd name="connsiteX9" fmla="*/ 0 w 1073744"/>
                  <a:gd name="connsiteY9" fmla="*/ 426337 h 592064"/>
                  <a:gd name="connsiteX10" fmla="*/ 11590 w 1073744"/>
                  <a:gd name="connsiteY10" fmla="*/ 492066 h 592064"/>
                  <a:gd name="connsiteX11" fmla="*/ 40592 w 1073744"/>
                  <a:gd name="connsiteY11" fmla="*/ 545352 h 592064"/>
                  <a:gd name="connsiteX12" fmla="*/ 61615 w 1073744"/>
                  <a:gd name="connsiteY12" fmla="*/ 565773 h 592064"/>
                  <a:gd name="connsiteX13" fmla="*/ 85548 w 1073744"/>
                  <a:gd name="connsiteY13" fmla="*/ 580876 h 592064"/>
                  <a:gd name="connsiteX14" fmla="*/ 137780 w 1073744"/>
                  <a:gd name="connsiteY14" fmla="*/ 593319 h 592064"/>
                  <a:gd name="connsiteX15" fmla="*/ 1009119 w 1073744"/>
                  <a:gd name="connsiteY15" fmla="*/ 593319 h 592064"/>
                  <a:gd name="connsiteX16" fmla="*/ 1074397 w 1073744"/>
                  <a:gd name="connsiteY16" fmla="*/ 436974 h 592064"/>
                  <a:gd name="connsiteX17" fmla="*/ 233414 w 1073744"/>
                  <a:gd name="connsiteY17" fmla="*/ 436974 h 592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73744" h="592064">
                    <a:moveTo>
                      <a:pt x="233414" y="437024"/>
                    </a:moveTo>
                    <a:cubicBezTo>
                      <a:pt x="221824" y="437024"/>
                      <a:pt x="210685" y="431706"/>
                      <a:pt x="200048" y="421018"/>
                    </a:cubicBezTo>
                    <a:cubicBezTo>
                      <a:pt x="192321" y="411535"/>
                      <a:pt x="188457" y="398540"/>
                      <a:pt x="188457" y="381932"/>
                    </a:cubicBezTo>
                    <a:lnTo>
                      <a:pt x="282736" y="381932"/>
                    </a:lnTo>
                    <a:lnTo>
                      <a:pt x="519110" y="15956"/>
                    </a:lnTo>
                    <a:lnTo>
                      <a:pt x="330603" y="15956"/>
                    </a:lnTo>
                    <a:lnTo>
                      <a:pt x="188507" y="241593"/>
                    </a:lnTo>
                    <a:lnTo>
                      <a:pt x="188507" y="0"/>
                    </a:lnTo>
                    <a:lnTo>
                      <a:pt x="0" y="0"/>
                    </a:lnTo>
                    <a:lnTo>
                      <a:pt x="0" y="426337"/>
                    </a:lnTo>
                    <a:cubicBezTo>
                      <a:pt x="0" y="448865"/>
                      <a:pt x="3863" y="470742"/>
                      <a:pt x="11590" y="492066"/>
                    </a:cubicBezTo>
                    <a:cubicBezTo>
                      <a:pt x="18364" y="514595"/>
                      <a:pt x="27998" y="532357"/>
                      <a:pt x="40592" y="545352"/>
                    </a:cubicBezTo>
                    <a:cubicBezTo>
                      <a:pt x="47365" y="552477"/>
                      <a:pt x="54390" y="559301"/>
                      <a:pt x="61615" y="565773"/>
                    </a:cubicBezTo>
                    <a:cubicBezTo>
                      <a:pt x="68840" y="572296"/>
                      <a:pt x="76818" y="577313"/>
                      <a:pt x="85548" y="580876"/>
                    </a:cubicBezTo>
                    <a:cubicBezTo>
                      <a:pt x="100049" y="589155"/>
                      <a:pt x="117460" y="593319"/>
                      <a:pt x="137780" y="593319"/>
                    </a:cubicBezTo>
                    <a:lnTo>
                      <a:pt x="1009119" y="593319"/>
                    </a:lnTo>
                    <a:lnTo>
                      <a:pt x="1074397" y="436974"/>
                    </a:lnTo>
                    <a:lnTo>
                      <a:pt x="233414" y="436974"/>
                    </a:ln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" name="任意多边形: 形状 25"/>
              <p:cNvSpPr/>
              <p:nvPr/>
            </p:nvSpPr>
            <p:spPr>
              <a:xfrm>
                <a:off x="5191740" y="1863100"/>
                <a:ext cx="551925" cy="1269427"/>
              </a:xfrm>
              <a:custGeom>
                <a:avLst/>
                <a:gdLst>
                  <a:gd name="connsiteX0" fmla="*/ 555236 w 551924"/>
                  <a:gd name="connsiteY0" fmla="*/ 86251 h 1269427"/>
                  <a:gd name="connsiteX1" fmla="*/ 510430 w 551924"/>
                  <a:gd name="connsiteY1" fmla="*/ 86251 h 1269427"/>
                  <a:gd name="connsiteX2" fmla="*/ 510430 w 551924"/>
                  <a:gd name="connsiteY2" fmla="*/ 0 h 1269427"/>
                  <a:gd name="connsiteX3" fmla="*/ 499592 w 551924"/>
                  <a:gd name="connsiteY3" fmla="*/ 0 h 1269427"/>
                  <a:gd name="connsiteX4" fmla="*/ 353985 w 551924"/>
                  <a:gd name="connsiteY4" fmla="*/ 0 h 1269427"/>
                  <a:gd name="connsiteX5" fmla="*/ 264021 w 551924"/>
                  <a:gd name="connsiteY5" fmla="*/ 0 h 1269427"/>
                  <a:gd name="connsiteX6" fmla="*/ 264021 w 551924"/>
                  <a:gd name="connsiteY6" fmla="*/ 86251 h 1269427"/>
                  <a:gd name="connsiteX7" fmla="*/ 0 w 551924"/>
                  <a:gd name="connsiteY7" fmla="*/ 86251 h 1269427"/>
                  <a:gd name="connsiteX8" fmla="*/ 0 w 551924"/>
                  <a:gd name="connsiteY8" fmla="*/ 211789 h 1269427"/>
                  <a:gd name="connsiteX9" fmla="*/ 264021 w 551924"/>
                  <a:gd name="connsiteY9" fmla="*/ 211789 h 1269427"/>
                  <a:gd name="connsiteX10" fmla="*/ 264021 w 551924"/>
                  <a:gd name="connsiteY10" fmla="*/ 1112530 h 1269427"/>
                  <a:gd name="connsiteX11" fmla="*/ 96185 w 551924"/>
                  <a:gd name="connsiteY11" fmla="*/ 1112530 h 1269427"/>
                  <a:gd name="connsiteX12" fmla="*/ 28449 w 551924"/>
                  <a:gd name="connsiteY12" fmla="*/ 1273241 h 1269427"/>
                  <a:gd name="connsiteX13" fmla="*/ 264021 w 551924"/>
                  <a:gd name="connsiteY13" fmla="*/ 1273241 h 1269427"/>
                  <a:gd name="connsiteX14" fmla="*/ 370542 w 551924"/>
                  <a:gd name="connsiteY14" fmla="*/ 1273241 h 1269427"/>
                  <a:gd name="connsiteX15" fmla="*/ 510430 w 551924"/>
                  <a:gd name="connsiteY15" fmla="*/ 1273241 h 1269427"/>
                  <a:gd name="connsiteX16" fmla="*/ 510430 w 551924"/>
                  <a:gd name="connsiteY16" fmla="*/ 211789 h 1269427"/>
                  <a:gd name="connsiteX17" fmla="*/ 555236 w 551924"/>
                  <a:gd name="connsiteY17" fmla="*/ 211789 h 1269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51924" h="1269427">
                    <a:moveTo>
                      <a:pt x="555236" y="86251"/>
                    </a:moveTo>
                    <a:lnTo>
                      <a:pt x="510430" y="86251"/>
                    </a:lnTo>
                    <a:lnTo>
                      <a:pt x="510430" y="0"/>
                    </a:lnTo>
                    <a:lnTo>
                      <a:pt x="499592" y="0"/>
                    </a:lnTo>
                    <a:lnTo>
                      <a:pt x="353985" y="0"/>
                    </a:lnTo>
                    <a:lnTo>
                      <a:pt x="264021" y="0"/>
                    </a:lnTo>
                    <a:lnTo>
                      <a:pt x="264021" y="86251"/>
                    </a:lnTo>
                    <a:lnTo>
                      <a:pt x="0" y="86251"/>
                    </a:lnTo>
                    <a:lnTo>
                      <a:pt x="0" y="211789"/>
                    </a:lnTo>
                    <a:lnTo>
                      <a:pt x="264021" y="211789"/>
                    </a:lnTo>
                    <a:lnTo>
                      <a:pt x="264021" y="1112530"/>
                    </a:lnTo>
                    <a:lnTo>
                      <a:pt x="96185" y="1112530"/>
                    </a:lnTo>
                    <a:lnTo>
                      <a:pt x="28449" y="1273241"/>
                    </a:lnTo>
                    <a:lnTo>
                      <a:pt x="264021" y="1273241"/>
                    </a:lnTo>
                    <a:lnTo>
                      <a:pt x="370542" y="1273241"/>
                    </a:lnTo>
                    <a:lnTo>
                      <a:pt x="510430" y="1273241"/>
                    </a:lnTo>
                    <a:lnTo>
                      <a:pt x="510430" y="211789"/>
                    </a:lnTo>
                    <a:lnTo>
                      <a:pt x="555236" y="211789"/>
                    </a:ln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任意多边形: 形状 26"/>
              <p:cNvSpPr/>
              <p:nvPr/>
            </p:nvSpPr>
            <p:spPr>
              <a:xfrm>
                <a:off x="4623408" y="1933445"/>
                <a:ext cx="516802" cy="908167"/>
              </a:xfrm>
              <a:custGeom>
                <a:avLst/>
                <a:gdLst>
                  <a:gd name="connsiteX0" fmla="*/ 0 w 516802"/>
                  <a:gd name="connsiteY0" fmla="*/ 0 h 908167"/>
                  <a:gd name="connsiteX1" fmla="*/ 0 w 516802"/>
                  <a:gd name="connsiteY1" fmla="*/ 909472 h 908167"/>
                  <a:gd name="connsiteX2" fmla="*/ 393121 w 516802"/>
                  <a:gd name="connsiteY2" fmla="*/ 909472 h 908167"/>
                  <a:gd name="connsiteX3" fmla="*/ 441640 w 516802"/>
                  <a:gd name="connsiteY3" fmla="*/ 898684 h 908167"/>
                  <a:gd name="connsiteX4" fmla="*/ 480727 w 516802"/>
                  <a:gd name="connsiteY4" fmla="*/ 870135 h 908167"/>
                  <a:gd name="connsiteX5" fmla="*/ 507369 w 516802"/>
                  <a:gd name="connsiteY5" fmla="*/ 827636 h 908167"/>
                  <a:gd name="connsiteX6" fmla="*/ 517455 w 516802"/>
                  <a:gd name="connsiteY6" fmla="*/ 775003 h 908167"/>
                  <a:gd name="connsiteX7" fmla="*/ 517455 w 516802"/>
                  <a:gd name="connsiteY7" fmla="*/ 0 h 908167"/>
                  <a:gd name="connsiteX8" fmla="*/ 0 w 516802"/>
                  <a:gd name="connsiteY8" fmla="*/ 0 h 908167"/>
                  <a:gd name="connsiteX9" fmla="*/ 216706 w 516802"/>
                  <a:gd name="connsiteY9" fmla="*/ 621066 h 908167"/>
                  <a:gd name="connsiteX10" fmla="*/ 216706 w 516802"/>
                  <a:gd name="connsiteY10" fmla="*/ 516200 h 908167"/>
                  <a:gd name="connsiteX11" fmla="*/ 216706 w 516802"/>
                  <a:gd name="connsiteY11" fmla="*/ 390662 h 908167"/>
                  <a:gd name="connsiteX12" fmla="*/ 216706 w 516802"/>
                  <a:gd name="connsiteY12" fmla="*/ 258752 h 908167"/>
                  <a:gd name="connsiteX13" fmla="*/ 216706 w 516802"/>
                  <a:gd name="connsiteY13" fmla="*/ 119216 h 908167"/>
                  <a:gd name="connsiteX14" fmla="*/ 343398 w 516802"/>
                  <a:gd name="connsiteY14" fmla="*/ 119216 h 908167"/>
                  <a:gd name="connsiteX15" fmla="*/ 343398 w 516802"/>
                  <a:gd name="connsiteY15" fmla="*/ 390662 h 908167"/>
                  <a:gd name="connsiteX16" fmla="*/ 245757 w 516802"/>
                  <a:gd name="connsiteY16" fmla="*/ 390662 h 908167"/>
                  <a:gd name="connsiteX17" fmla="*/ 245757 w 516802"/>
                  <a:gd name="connsiteY17" fmla="*/ 516250 h 908167"/>
                  <a:gd name="connsiteX18" fmla="*/ 343398 w 516802"/>
                  <a:gd name="connsiteY18" fmla="*/ 516250 h 908167"/>
                  <a:gd name="connsiteX19" fmla="*/ 343398 w 516802"/>
                  <a:gd name="connsiteY19" fmla="*/ 785138 h 908167"/>
                  <a:gd name="connsiteX20" fmla="*/ 216706 w 516802"/>
                  <a:gd name="connsiteY20" fmla="*/ 785138 h 908167"/>
                  <a:gd name="connsiteX21" fmla="*/ 216706 w 516802"/>
                  <a:gd name="connsiteY21" fmla="*/ 621066 h 908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16802" h="908167">
                    <a:moveTo>
                      <a:pt x="0" y="0"/>
                    </a:moveTo>
                    <a:lnTo>
                      <a:pt x="0" y="909472"/>
                    </a:lnTo>
                    <a:lnTo>
                      <a:pt x="393121" y="909472"/>
                    </a:lnTo>
                    <a:cubicBezTo>
                      <a:pt x="410482" y="909472"/>
                      <a:pt x="426638" y="905909"/>
                      <a:pt x="441640" y="898684"/>
                    </a:cubicBezTo>
                    <a:cubicBezTo>
                      <a:pt x="456643" y="891509"/>
                      <a:pt x="469638" y="881976"/>
                      <a:pt x="480727" y="870135"/>
                    </a:cubicBezTo>
                    <a:cubicBezTo>
                      <a:pt x="491765" y="858293"/>
                      <a:pt x="500646" y="844144"/>
                      <a:pt x="507369" y="827636"/>
                    </a:cubicBezTo>
                    <a:cubicBezTo>
                      <a:pt x="514043" y="811129"/>
                      <a:pt x="517455" y="793618"/>
                      <a:pt x="517455" y="775003"/>
                    </a:cubicBezTo>
                    <a:lnTo>
                      <a:pt x="517455" y="0"/>
                    </a:lnTo>
                    <a:lnTo>
                      <a:pt x="0" y="0"/>
                    </a:lnTo>
                    <a:close/>
                    <a:moveTo>
                      <a:pt x="216706" y="621066"/>
                    </a:moveTo>
                    <a:lnTo>
                      <a:pt x="216706" y="516200"/>
                    </a:lnTo>
                    <a:lnTo>
                      <a:pt x="216706" y="390662"/>
                    </a:lnTo>
                    <a:lnTo>
                      <a:pt x="216706" y="258752"/>
                    </a:lnTo>
                    <a:lnTo>
                      <a:pt x="216706" y="119216"/>
                    </a:lnTo>
                    <a:lnTo>
                      <a:pt x="343398" y="119216"/>
                    </a:lnTo>
                    <a:lnTo>
                      <a:pt x="343398" y="390662"/>
                    </a:lnTo>
                    <a:lnTo>
                      <a:pt x="245757" y="390662"/>
                    </a:lnTo>
                    <a:lnTo>
                      <a:pt x="245757" y="516250"/>
                    </a:lnTo>
                    <a:lnTo>
                      <a:pt x="343398" y="516250"/>
                    </a:lnTo>
                    <a:lnTo>
                      <a:pt x="343398" y="785138"/>
                    </a:lnTo>
                    <a:lnTo>
                      <a:pt x="216706" y="785138"/>
                    </a:lnTo>
                    <a:lnTo>
                      <a:pt x="216706" y="621066"/>
                    </a:lnTo>
                    <a:close/>
                  </a:path>
                </a:pathLst>
              </a:custGeom>
              <a:grpFill/>
              <a:ln w="50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7" name="任意多边形: 形状 16"/>
            <p:cNvSpPr/>
            <p:nvPr/>
          </p:nvSpPr>
          <p:spPr>
            <a:xfrm>
              <a:off x="5210656" y="1893305"/>
              <a:ext cx="978412" cy="958342"/>
            </a:xfrm>
            <a:custGeom>
              <a:avLst/>
              <a:gdLst>
                <a:gd name="connsiteX0" fmla="*/ 0 w 978412"/>
                <a:gd name="connsiteY0" fmla="*/ 241593 h 958342"/>
                <a:gd name="connsiteX1" fmla="*/ 193675 w 978412"/>
                <a:gd name="connsiteY1" fmla="*/ 241593 h 958342"/>
                <a:gd name="connsiteX2" fmla="*/ 430050 w 978412"/>
                <a:gd name="connsiteY2" fmla="*/ 607669 h 958342"/>
                <a:gd name="connsiteX3" fmla="*/ 754431 w 978412"/>
                <a:gd name="connsiteY3" fmla="*/ 0 h 958342"/>
                <a:gd name="connsiteX4" fmla="*/ 979817 w 978412"/>
                <a:gd name="connsiteY4" fmla="*/ 0 h 958342"/>
                <a:gd name="connsiteX5" fmla="*/ 441038 w 978412"/>
                <a:gd name="connsiteY5" fmla="*/ 960098 h 95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8412" h="958342">
                  <a:moveTo>
                    <a:pt x="0" y="241593"/>
                  </a:moveTo>
                  <a:lnTo>
                    <a:pt x="193675" y="241593"/>
                  </a:lnTo>
                  <a:lnTo>
                    <a:pt x="430050" y="607669"/>
                  </a:lnTo>
                  <a:lnTo>
                    <a:pt x="754431" y="0"/>
                  </a:lnTo>
                  <a:lnTo>
                    <a:pt x="979817" y="0"/>
                  </a:lnTo>
                  <a:lnTo>
                    <a:pt x="441038" y="960098"/>
                  </a:lnTo>
                  <a:close/>
                </a:path>
              </a:pathLst>
            </a:custGeom>
            <a:solidFill>
              <a:srgbClr val="FB7420"/>
            </a:solidFill>
            <a:ln w="762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/>
            <p:cNvSpPr/>
            <p:nvPr/>
          </p:nvSpPr>
          <p:spPr>
            <a:xfrm>
              <a:off x="5205610" y="1885394"/>
              <a:ext cx="978412" cy="958342"/>
            </a:xfrm>
            <a:custGeom>
              <a:avLst/>
              <a:gdLst>
                <a:gd name="connsiteX0" fmla="*/ 0 w 978412"/>
                <a:gd name="connsiteY0" fmla="*/ 241593 h 958342"/>
                <a:gd name="connsiteX1" fmla="*/ 193675 w 978412"/>
                <a:gd name="connsiteY1" fmla="*/ 241593 h 958342"/>
                <a:gd name="connsiteX2" fmla="*/ 430050 w 978412"/>
                <a:gd name="connsiteY2" fmla="*/ 607669 h 958342"/>
                <a:gd name="connsiteX3" fmla="*/ 754431 w 978412"/>
                <a:gd name="connsiteY3" fmla="*/ 0 h 958342"/>
                <a:gd name="connsiteX4" fmla="*/ 979817 w 978412"/>
                <a:gd name="connsiteY4" fmla="*/ 0 h 958342"/>
                <a:gd name="connsiteX5" fmla="*/ 441038 w 978412"/>
                <a:gd name="connsiteY5" fmla="*/ 960098 h 95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8412" h="958342">
                  <a:moveTo>
                    <a:pt x="0" y="241593"/>
                  </a:moveTo>
                  <a:lnTo>
                    <a:pt x="193675" y="241593"/>
                  </a:lnTo>
                  <a:lnTo>
                    <a:pt x="430050" y="607669"/>
                  </a:lnTo>
                  <a:lnTo>
                    <a:pt x="754431" y="0"/>
                  </a:lnTo>
                  <a:lnTo>
                    <a:pt x="979817" y="0"/>
                  </a:lnTo>
                  <a:lnTo>
                    <a:pt x="441038" y="960098"/>
                  </a:lnTo>
                  <a:close/>
                </a:path>
              </a:pathLst>
            </a:custGeom>
            <a:solidFill>
              <a:srgbClr val="FB7420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</p:grpSp>
      <p:sp>
        <p:nvSpPr>
          <p:cNvPr id="4" name="iŝḷiḑè"/>
          <p:cNvSpPr txBox="1"/>
          <p:nvPr/>
        </p:nvSpPr>
        <p:spPr>
          <a:xfrm>
            <a:off x="1782243" y="2467710"/>
            <a:ext cx="6812564" cy="1087301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 fontScale="87500"/>
          </a:bodyPr>
          <a:lstStyle/>
          <a:p>
            <a:r>
              <a:rPr lang="zh-CN" altLang="en-US" sz="5400" b="1" dirty="0">
                <a:solidFill>
                  <a:schemeClr val="bg1">
                    <a:lumMod val="65000"/>
                  </a:schemeClr>
                </a:solidFill>
              </a:rPr>
              <a:t>第</a:t>
            </a:r>
            <a:r>
              <a:rPr lang="en-US" altLang="zh-CN" sz="5400" b="1" dirty="0">
                <a:solidFill>
                  <a:schemeClr val="bg1">
                    <a:lumMod val="65000"/>
                  </a:schemeClr>
                </a:solidFill>
              </a:rPr>
              <a:t>5</a:t>
            </a:r>
            <a:r>
              <a:rPr lang="zh-CN" altLang="en-US" sz="5400" b="1" dirty="0">
                <a:solidFill>
                  <a:schemeClr val="bg1">
                    <a:lumMod val="65000"/>
                  </a:schemeClr>
                </a:solidFill>
              </a:rPr>
              <a:t>课 分支结构程序设计</a:t>
            </a:r>
            <a:endParaRPr lang="en-US" sz="5400" b="1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47625"/>
            <a:ext cx="6649720" cy="1028700"/>
          </a:xfrm>
        </p:spPr>
        <p:txBody>
          <a:bodyPr/>
          <a:lstStyle/>
          <a:p>
            <a:r>
              <a:rPr lang="en-US" altLang="zh-CN" dirty="0"/>
              <a:t>python</a:t>
            </a:r>
            <a:r>
              <a:rPr lang="zh-CN" altLang="en-US" dirty="0"/>
              <a:t>的关系表达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0</a:t>
            </a:fld>
            <a:endParaRPr lang="zh-CN" altLang="en-US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grpSp>
        <p:nvGrpSpPr>
          <p:cNvPr id="55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0262996">
            <a:off x="10758170" y="5979160"/>
            <a:ext cx="1336675" cy="630555"/>
            <a:chOff x="3558970" y="2488798"/>
            <a:chExt cx="5067710" cy="2391582"/>
          </a:xfrm>
        </p:grpSpPr>
        <p:sp>
          <p:nvSpPr>
            <p:cNvPr id="56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663575" y="2258060"/>
            <a:ext cx="2352040" cy="2990850"/>
            <a:chOff x="1348" y="3438"/>
            <a:chExt cx="3704" cy="4710"/>
          </a:xfrm>
        </p:grpSpPr>
        <p:sp>
          <p:nvSpPr>
            <p:cNvPr id="17" name="文本框 16"/>
            <p:cNvSpPr txBox="1"/>
            <p:nvPr/>
          </p:nvSpPr>
          <p:spPr>
            <a:xfrm>
              <a:off x="1789" y="3438"/>
              <a:ext cx="2788" cy="3488"/>
            </a:xfrm>
            <a:prstGeom prst="rect">
              <a:avLst/>
            </a:prstGeom>
            <a:noFill/>
            <a:ln w="25400">
              <a:solidFill>
                <a:srgbClr val="F4A229"/>
              </a:solidFill>
            </a:ln>
          </p:spPr>
          <p:txBody>
            <a:bodyPr wrap="none" rtlCol="0">
              <a:spAutoFit/>
            </a:bodyPr>
            <a:lstStyle/>
            <a:p>
              <a:pPr fontAlgn="auto">
                <a:lnSpc>
                  <a:spcPct val="150000"/>
                </a:lnSpc>
              </a:pPr>
              <a:r>
                <a:rPr lang="en-US" altLang="zh-CN" sz="2800"/>
                <a:t>if</a:t>
              </a:r>
              <a:r>
                <a:rPr lang="en-US" altLang="zh-CN"/>
                <a:t> &lt;</a:t>
              </a:r>
              <a:r>
                <a:rPr lang="zh-CN" altLang="en-US"/>
                <a:t>条件</a:t>
              </a:r>
              <a:r>
                <a:rPr lang="en-US" altLang="zh-CN"/>
                <a:t>&gt;</a:t>
              </a:r>
              <a:r>
                <a:rPr lang="en-US" altLang="zh-CN" sz="2800"/>
                <a:t>:</a:t>
              </a:r>
            </a:p>
            <a:p>
              <a:pPr fontAlgn="auto">
                <a:lnSpc>
                  <a:spcPct val="150000"/>
                </a:lnSpc>
              </a:pPr>
              <a:r>
                <a:rPr lang="en-US" altLang="zh-CN"/>
                <a:t>        &lt;</a:t>
              </a:r>
              <a:r>
                <a:rPr lang="zh-CN" altLang="en-US"/>
                <a:t>语句块</a:t>
              </a:r>
              <a:r>
                <a:rPr lang="en-US" altLang="zh-CN"/>
                <a:t>1&gt;</a:t>
              </a:r>
            </a:p>
            <a:p>
              <a:pPr fontAlgn="auto">
                <a:lnSpc>
                  <a:spcPct val="150000"/>
                </a:lnSpc>
              </a:pPr>
              <a:r>
                <a:rPr lang="en-US" altLang="zh-CN" sz="2800"/>
                <a:t>else:</a:t>
              </a:r>
            </a:p>
            <a:p>
              <a:pPr fontAlgn="auto">
                <a:lnSpc>
                  <a:spcPct val="150000"/>
                </a:lnSpc>
              </a:pPr>
              <a:r>
                <a:rPr lang="en-US" altLang="zh-CN"/>
                <a:t>        &lt;</a:t>
              </a:r>
              <a:r>
                <a:rPr lang="zh-CN" altLang="en-US"/>
                <a:t>语句块</a:t>
              </a:r>
              <a:r>
                <a:rPr lang="en-US" altLang="zh-CN"/>
                <a:t>2&gt;</a:t>
              </a:r>
            </a:p>
          </p:txBody>
        </p:sp>
        <p:sp>
          <p:nvSpPr>
            <p:cNvPr id="18" name="圆角矩形 17"/>
            <p:cNvSpPr/>
            <p:nvPr/>
          </p:nvSpPr>
          <p:spPr>
            <a:xfrm>
              <a:off x="1348" y="7526"/>
              <a:ext cx="3705" cy="623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if</a:t>
              </a:r>
              <a:r>
                <a:rPr lang="zh-CN" altLang="en-US"/>
                <a:t>条件语句一般格式</a:t>
              </a:r>
            </a:p>
          </p:txBody>
        </p:sp>
      </p:grpSp>
      <p:pic>
        <p:nvPicPr>
          <p:cNvPr id="35" name="图片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graphicFrame>
        <p:nvGraphicFramePr>
          <p:cNvPr id="38" name="表格 37"/>
          <p:cNvGraphicFramePr/>
          <p:nvPr>
            <p:custDataLst>
              <p:tags r:id="rId2"/>
            </p:custDataLst>
          </p:nvPr>
        </p:nvGraphicFramePr>
        <p:xfrm>
          <a:off x="3385185" y="2130425"/>
          <a:ext cx="7929245" cy="370268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21E4AEA4-8DFA-4A89-87EB-49C32662AFE0}</a:tableStyleId>
              </a:tblPr>
              <a:tblGrid>
                <a:gridCol w="14706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45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142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498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数学运算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python</a:t>
                      </a:r>
                      <a:r>
                        <a:rPr lang="zh-CN" altLang="en-US"/>
                        <a:t>运算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python</a:t>
                      </a:r>
                      <a:r>
                        <a:rPr lang="zh-CN" altLang="en-US"/>
                        <a:t>表达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描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2400"/>
                        <a:t>＞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2400"/>
                        <a:t>＞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/>
                        <a:t>x&gt;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x</a:t>
                      </a:r>
                      <a:r>
                        <a:rPr lang="zh-CN" altLang="en-US"/>
                        <a:t>大于</a:t>
                      </a:r>
                      <a:r>
                        <a:rPr lang="en-US" altLang="zh-CN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2400">
                          <a:sym typeface="+mn-ea"/>
                        </a:rPr>
                        <a:t>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2400">
                          <a:sym typeface="+mn-ea"/>
                        </a:rPr>
                        <a:t>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>
                          <a:sym typeface="+mn-ea"/>
                        </a:rPr>
                        <a:t>x&lt;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x</a:t>
                      </a:r>
                      <a:r>
                        <a:rPr lang="zh-CN" altLang="en-US" sz="1800">
                          <a:sym typeface="+mn-ea"/>
                        </a:rPr>
                        <a:t>小于</a:t>
                      </a:r>
                      <a:r>
                        <a:rPr lang="en-US" altLang="zh-CN" sz="1800">
                          <a:sym typeface="+mn-ea"/>
                        </a:rPr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/>
                        <a:t>≥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2400">
                          <a:solidFill>
                            <a:srgbClr val="FF0000"/>
                          </a:solidFill>
                        </a:rPr>
                        <a:t>＞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/>
                        <a:t>x</a:t>
                      </a:r>
                      <a:r>
                        <a:rPr lang="zh-CN" altLang="en-US" sz="2400">
                          <a:solidFill>
                            <a:srgbClr val="FF0000"/>
                          </a:solidFill>
                        </a:rPr>
                        <a:t>&gt;=</a:t>
                      </a:r>
                      <a:r>
                        <a:rPr lang="en-US" altLang="zh-CN" sz="2400"/>
                        <a:t>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x</a:t>
                      </a:r>
                      <a:r>
                        <a:rPr lang="zh-CN" altLang="en-US"/>
                        <a:t>大于等于</a:t>
                      </a:r>
                      <a:r>
                        <a:rPr lang="en-US" altLang="zh-CN"/>
                        <a:t>y</a:t>
                      </a:r>
                      <a:r>
                        <a:rPr lang="zh-CN" altLang="en-US"/>
                        <a:t>，</a:t>
                      </a:r>
                      <a:endParaRPr lang="en-US" alt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6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>
                          <a:sym typeface="+mn-ea"/>
                        </a:rPr>
                        <a:t>≤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2400">
                          <a:solidFill>
                            <a:srgbClr val="FF0000"/>
                          </a:solidFill>
                          <a:sym typeface="+mn-ea"/>
                        </a:rPr>
                        <a:t>＜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>
                          <a:sym typeface="+mn-ea"/>
                        </a:rPr>
                        <a:t>x</a:t>
                      </a:r>
                      <a:r>
                        <a:rPr lang="zh-CN" altLang="en-US" sz="2400">
                          <a:solidFill>
                            <a:srgbClr val="FF0000"/>
                          </a:solidFill>
                          <a:sym typeface="+mn-ea"/>
                        </a:rPr>
                        <a:t>&lt;=</a:t>
                      </a:r>
                      <a:r>
                        <a:rPr lang="en-US" altLang="zh-CN" sz="2400">
                          <a:sym typeface="+mn-ea"/>
                        </a:rPr>
                        <a:t>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x</a:t>
                      </a:r>
                      <a:r>
                        <a:rPr lang="zh-CN" altLang="en-US" sz="1800">
                          <a:sym typeface="+mn-ea"/>
                        </a:rPr>
                        <a:t>小于等于</a:t>
                      </a:r>
                      <a:r>
                        <a:rPr lang="en-US" altLang="zh-CN" sz="1800">
                          <a:sym typeface="+mn-ea"/>
                        </a:rPr>
                        <a:t>y</a:t>
                      </a:r>
                      <a:endParaRPr lang="en-US" altLang="zh-CN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2400">
                          <a:sym typeface="+mn-ea"/>
                        </a:rPr>
                        <a:t>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2400">
                          <a:solidFill>
                            <a:srgbClr val="FF0000"/>
                          </a:solidFill>
                          <a:sym typeface="+mn-ea"/>
                        </a:rPr>
                        <a:t>＝＝</a:t>
                      </a:r>
                      <a:endParaRPr lang="zh-CN" altLang="en-US" sz="2400">
                        <a:sym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/>
                        <a:t>x</a:t>
                      </a:r>
                      <a:r>
                        <a:rPr lang="zh-CN" altLang="en-US" sz="2400">
                          <a:solidFill>
                            <a:srgbClr val="FF0000"/>
                          </a:solidFill>
                        </a:rPr>
                        <a:t>==</a:t>
                      </a:r>
                      <a:r>
                        <a:rPr lang="en-US" altLang="zh-CN" sz="2400"/>
                        <a:t>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x</a:t>
                      </a:r>
                      <a:r>
                        <a:rPr lang="zh-CN" altLang="en-US" sz="1800">
                          <a:sym typeface="+mn-ea"/>
                        </a:rPr>
                        <a:t>等于</a:t>
                      </a:r>
                      <a:r>
                        <a:rPr lang="en-US" altLang="zh-CN" sz="1800">
                          <a:sym typeface="+mn-ea"/>
                        </a:rPr>
                        <a:t>y</a:t>
                      </a:r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450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>
                          <a:sym typeface="+mn-ea"/>
                        </a:rPr>
                        <a:t>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2400">
                          <a:solidFill>
                            <a:srgbClr val="FF0000"/>
                          </a:solidFill>
                          <a:sym typeface="+mn-ea"/>
                        </a:rPr>
                        <a:t>!＝</a:t>
                      </a:r>
                      <a:endParaRPr lang="zh-CN" altLang="en-US" sz="2400">
                        <a:sym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/>
                        <a:t>x</a:t>
                      </a:r>
                      <a:r>
                        <a:rPr lang="zh-CN" altLang="en-US" sz="2400">
                          <a:solidFill>
                            <a:srgbClr val="FF0000"/>
                          </a:solidFill>
                        </a:rPr>
                        <a:t>!=</a:t>
                      </a:r>
                      <a:r>
                        <a:rPr lang="en-US" altLang="zh-CN" sz="2400"/>
                        <a:t>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x</a:t>
                      </a:r>
                      <a:r>
                        <a:rPr lang="zh-CN" altLang="en-US" sz="1800">
                          <a:sym typeface="+mn-ea"/>
                        </a:rPr>
                        <a:t>不等于</a:t>
                      </a:r>
                      <a:r>
                        <a:rPr lang="en-US" altLang="zh-CN" sz="1800">
                          <a:sym typeface="+mn-ea"/>
                        </a:rPr>
                        <a:t>y</a:t>
                      </a:r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937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zh-CN" sz="2400">
                        <a:sym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>
                          <a:sym typeface="+mn-ea"/>
                        </a:rPr>
                        <a:t>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/>
                        <a:t>x in 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x</a:t>
                      </a:r>
                      <a:r>
                        <a:rPr lang="zh-CN" altLang="en-US" sz="1800">
                          <a:sym typeface="+mn-ea"/>
                        </a:rPr>
                        <a:t>是</a:t>
                      </a:r>
                      <a:r>
                        <a:rPr lang="en-US" altLang="zh-CN" sz="1800">
                          <a:sym typeface="+mn-ea"/>
                        </a:rPr>
                        <a:t>y</a:t>
                      </a:r>
                      <a:r>
                        <a:rPr lang="zh-CN" altLang="en-US" sz="1800">
                          <a:sym typeface="+mn-ea"/>
                        </a:rPr>
                        <a:t>的成员</a:t>
                      </a:r>
                      <a:endParaRPr lang="zh-CN" alt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6" name="组合 5"/>
          <p:cNvGrpSpPr/>
          <p:nvPr/>
        </p:nvGrpSpPr>
        <p:grpSpPr>
          <a:xfrm>
            <a:off x="2620010" y="1304290"/>
            <a:ext cx="8709025" cy="615950"/>
            <a:chOff x="4126" y="2054"/>
            <a:chExt cx="13715" cy="970"/>
          </a:xfrm>
        </p:grpSpPr>
        <p:sp>
          <p:nvSpPr>
            <p:cNvPr id="36" name="文本框 35"/>
            <p:cNvSpPr txBox="1"/>
            <p:nvPr/>
          </p:nvSpPr>
          <p:spPr>
            <a:xfrm>
              <a:off x="4953" y="2444"/>
              <a:ext cx="1288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/>
                <a:t>在书写分支条件的关系表达式时，需要注意</a:t>
              </a:r>
              <a:r>
                <a:rPr lang="en-US" altLang="zh-CN"/>
                <a:t>python</a:t>
              </a:r>
              <a:r>
                <a:rPr lang="zh-CN" altLang="en-US"/>
                <a:t>运算符与数学运算符的区别。</a:t>
              </a:r>
            </a:p>
          </p:txBody>
        </p:sp>
        <p:grpSp>
          <p:nvGrpSpPr>
            <p:cNvPr id="27" name="组合 26"/>
            <p:cNvGrpSpPr/>
            <p:nvPr/>
          </p:nvGrpSpPr>
          <p:grpSpPr>
            <a:xfrm rot="1920000">
              <a:off x="4126" y="2054"/>
              <a:ext cx="900" cy="903"/>
              <a:chOff x="17704" y="7751"/>
              <a:chExt cx="1382" cy="1386"/>
            </a:xfrm>
          </p:grpSpPr>
          <p:sp>
            <p:nvSpPr>
              <p:cNvPr id="16" name="ïsľiďê"/>
              <p:cNvSpPr/>
              <p:nvPr/>
            </p:nvSpPr>
            <p:spPr bwMode="auto">
              <a:xfrm>
                <a:off x="17704" y="7751"/>
                <a:ext cx="1383" cy="1386"/>
              </a:xfrm>
              <a:prstGeom prst="ellipse">
                <a:avLst/>
              </a:prstGeom>
              <a:solidFill>
                <a:srgbClr val="F4A229"/>
              </a:solidFill>
              <a:ln w="2857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normAutofit fontScale="67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3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" name="íśľîde"/>
              <p:cNvSpPr/>
              <p:nvPr/>
            </p:nvSpPr>
            <p:spPr bwMode="auto">
              <a:xfrm>
                <a:off x="18070" y="8090"/>
                <a:ext cx="650" cy="708"/>
              </a:xfrm>
              <a:custGeom>
                <a:avLst/>
                <a:gdLst>
                  <a:gd name="connsiteX0" fmla="*/ 176272 w 556267"/>
                  <a:gd name="connsiteY0" fmla="*/ 555492 h 606087"/>
                  <a:gd name="connsiteX1" fmla="*/ 380065 w 556267"/>
                  <a:gd name="connsiteY1" fmla="*/ 555492 h 606087"/>
                  <a:gd name="connsiteX2" fmla="*/ 379295 w 556267"/>
                  <a:gd name="connsiteY2" fmla="*/ 574730 h 606087"/>
                  <a:gd name="connsiteX3" fmla="*/ 379295 w 556267"/>
                  <a:gd name="connsiteY3" fmla="*/ 606087 h 606087"/>
                  <a:gd name="connsiteX4" fmla="*/ 177043 w 556267"/>
                  <a:gd name="connsiteY4" fmla="*/ 606087 h 606087"/>
                  <a:gd name="connsiteX5" fmla="*/ 177043 w 556267"/>
                  <a:gd name="connsiteY5" fmla="*/ 580116 h 606087"/>
                  <a:gd name="connsiteX6" fmla="*/ 176272 w 556267"/>
                  <a:gd name="connsiteY6" fmla="*/ 555492 h 606087"/>
                  <a:gd name="connsiteX7" fmla="*/ 170486 w 556267"/>
                  <a:gd name="connsiteY7" fmla="*/ 504967 h 606087"/>
                  <a:gd name="connsiteX8" fmla="*/ 386134 w 556267"/>
                  <a:gd name="connsiteY8" fmla="*/ 504967 h 606087"/>
                  <a:gd name="connsiteX9" fmla="*/ 382185 w 556267"/>
                  <a:gd name="connsiteY9" fmla="*/ 530300 h 606087"/>
                  <a:gd name="connsiteX10" fmla="*/ 174050 w 556267"/>
                  <a:gd name="connsiteY10" fmla="*/ 530300 h 606087"/>
                  <a:gd name="connsiteX11" fmla="*/ 170486 w 556267"/>
                  <a:gd name="connsiteY11" fmla="*/ 504967 h 606087"/>
                  <a:gd name="connsiteX12" fmla="*/ 481527 w 556267"/>
                  <a:gd name="connsiteY12" fmla="*/ 380419 h 606087"/>
                  <a:gd name="connsiteX13" fmla="*/ 525359 w 556267"/>
                  <a:gd name="connsiteY13" fmla="*/ 405623 h 606087"/>
                  <a:gd name="connsiteX14" fmla="*/ 512643 w 556267"/>
                  <a:gd name="connsiteY14" fmla="*/ 427557 h 606087"/>
                  <a:gd name="connsiteX15" fmla="*/ 468907 w 556267"/>
                  <a:gd name="connsiteY15" fmla="*/ 402256 h 606087"/>
                  <a:gd name="connsiteX16" fmla="*/ 74740 w 556267"/>
                  <a:gd name="connsiteY16" fmla="*/ 380419 h 606087"/>
                  <a:gd name="connsiteX17" fmla="*/ 87360 w 556267"/>
                  <a:gd name="connsiteY17" fmla="*/ 402353 h 606087"/>
                  <a:gd name="connsiteX18" fmla="*/ 43528 w 556267"/>
                  <a:gd name="connsiteY18" fmla="*/ 427557 h 606087"/>
                  <a:gd name="connsiteX19" fmla="*/ 30908 w 556267"/>
                  <a:gd name="connsiteY19" fmla="*/ 405720 h 606087"/>
                  <a:gd name="connsiteX20" fmla="*/ 505742 w 556267"/>
                  <a:gd name="connsiteY20" fmla="*/ 265115 h 606087"/>
                  <a:gd name="connsiteX21" fmla="*/ 556267 w 556267"/>
                  <a:gd name="connsiteY21" fmla="*/ 265115 h 606087"/>
                  <a:gd name="connsiteX22" fmla="*/ 556267 w 556267"/>
                  <a:gd name="connsiteY22" fmla="*/ 290448 h 606087"/>
                  <a:gd name="connsiteX23" fmla="*/ 505742 w 556267"/>
                  <a:gd name="connsiteY23" fmla="*/ 290448 h 606087"/>
                  <a:gd name="connsiteX24" fmla="*/ 0 w 556267"/>
                  <a:gd name="connsiteY24" fmla="*/ 265115 h 606087"/>
                  <a:gd name="connsiteX25" fmla="*/ 50525 w 556267"/>
                  <a:gd name="connsiteY25" fmla="*/ 265115 h 606087"/>
                  <a:gd name="connsiteX26" fmla="*/ 50525 w 556267"/>
                  <a:gd name="connsiteY26" fmla="*/ 290448 h 606087"/>
                  <a:gd name="connsiteX27" fmla="*/ 0 w 556267"/>
                  <a:gd name="connsiteY27" fmla="*/ 290448 h 606087"/>
                  <a:gd name="connsiteX28" fmla="*/ 512739 w 556267"/>
                  <a:gd name="connsiteY28" fmla="*/ 128006 h 606087"/>
                  <a:gd name="connsiteX29" fmla="*/ 525359 w 556267"/>
                  <a:gd name="connsiteY29" fmla="*/ 149823 h 606087"/>
                  <a:gd name="connsiteX30" fmla="*/ 481527 w 556267"/>
                  <a:gd name="connsiteY30" fmla="*/ 175003 h 606087"/>
                  <a:gd name="connsiteX31" fmla="*/ 468907 w 556267"/>
                  <a:gd name="connsiteY31" fmla="*/ 153186 h 606087"/>
                  <a:gd name="connsiteX32" fmla="*/ 43528 w 556267"/>
                  <a:gd name="connsiteY32" fmla="*/ 127935 h 606087"/>
                  <a:gd name="connsiteX33" fmla="*/ 87360 w 556267"/>
                  <a:gd name="connsiteY33" fmla="*/ 153197 h 606087"/>
                  <a:gd name="connsiteX34" fmla="*/ 74740 w 556267"/>
                  <a:gd name="connsiteY34" fmla="*/ 175002 h 606087"/>
                  <a:gd name="connsiteX35" fmla="*/ 30908 w 556267"/>
                  <a:gd name="connsiteY35" fmla="*/ 149836 h 606087"/>
                  <a:gd name="connsiteX36" fmla="*/ 297059 w 556267"/>
                  <a:gd name="connsiteY36" fmla="*/ 76575 h 606087"/>
                  <a:gd name="connsiteX37" fmla="*/ 404602 w 556267"/>
                  <a:gd name="connsiteY37" fmla="*/ 124032 h 606087"/>
                  <a:gd name="connsiteX38" fmla="*/ 467778 w 556267"/>
                  <a:gd name="connsiteY38" fmla="*/ 265117 h 606087"/>
                  <a:gd name="connsiteX39" fmla="*/ 441583 w 556267"/>
                  <a:gd name="connsiteY39" fmla="*/ 361098 h 606087"/>
                  <a:gd name="connsiteX40" fmla="*/ 391794 w 556267"/>
                  <a:gd name="connsiteY40" fmla="*/ 479775 h 606087"/>
                  <a:gd name="connsiteX41" fmla="*/ 165285 w 556267"/>
                  <a:gd name="connsiteY41" fmla="*/ 479775 h 606087"/>
                  <a:gd name="connsiteX42" fmla="*/ 118192 w 556267"/>
                  <a:gd name="connsiteY42" fmla="*/ 366676 h 606087"/>
                  <a:gd name="connsiteX43" fmla="*/ 89879 w 556267"/>
                  <a:gd name="connsiteY43" fmla="*/ 242420 h 606087"/>
                  <a:gd name="connsiteX44" fmla="*/ 256582 w 556267"/>
                  <a:gd name="connsiteY44" fmla="*/ 76907 h 606087"/>
                  <a:gd name="connsiteX45" fmla="*/ 297059 w 556267"/>
                  <a:gd name="connsiteY45" fmla="*/ 76575 h 606087"/>
                  <a:gd name="connsiteX46" fmla="*/ 150042 w 556267"/>
                  <a:gd name="connsiteY46" fmla="*/ 30978 h 606087"/>
                  <a:gd name="connsiteX47" fmla="*/ 175284 w 556267"/>
                  <a:gd name="connsiteY47" fmla="*/ 74605 h 606087"/>
                  <a:gd name="connsiteX48" fmla="*/ 153414 w 556267"/>
                  <a:gd name="connsiteY48" fmla="*/ 87289 h 606087"/>
                  <a:gd name="connsiteX49" fmla="*/ 128076 w 556267"/>
                  <a:gd name="connsiteY49" fmla="*/ 43566 h 606087"/>
                  <a:gd name="connsiteX50" fmla="*/ 406225 w 556267"/>
                  <a:gd name="connsiteY50" fmla="*/ 30837 h 606087"/>
                  <a:gd name="connsiteX51" fmla="*/ 428191 w 556267"/>
                  <a:gd name="connsiteY51" fmla="*/ 43441 h 606087"/>
                  <a:gd name="connsiteX52" fmla="*/ 402853 w 556267"/>
                  <a:gd name="connsiteY52" fmla="*/ 87219 h 606087"/>
                  <a:gd name="connsiteX53" fmla="*/ 380983 w 556267"/>
                  <a:gd name="connsiteY53" fmla="*/ 74615 h 606087"/>
                  <a:gd name="connsiteX54" fmla="*/ 265538 w 556267"/>
                  <a:gd name="connsiteY54" fmla="*/ 0 h 606087"/>
                  <a:gd name="connsiteX55" fmla="*/ 290730 w 556267"/>
                  <a:gd name="connsiteY55" fmla="*/ 0 h 606087"/>
                  <a:gd name="connsiteX56" fmla="*/ 290730 w 556267"/>
                  <a:gd name="connsiteY56" fmla="*/ 50525 h 606087"/>
                  <a:gd name="connsiteX57" fmla="*/ 265538 w 556267"/>
                  <a:gd name="connsiteY57" fmla="*/ 50525 h 606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556267" h="606087">
                    <a:moveTo>
                      <a:pt x="176272" y="555492"/>
                    </a:moveTo>
                    <a:lnTo>
                      <a:pt x="380065" y="555492"/>
                    </a:lnTo>
                    <a:cubicBezTo>
                      <a:pt x="379680" y="561937"/>
                      <a:pt x="379295" y="568381"/>
                      <a:pt x="379295" y="574730"/>
                    </a:cubicBezTo>
                    <a:lnTo>
                      <a:pt x="379295" y="606087"/>
                    </a:lnTo>
                    <a:lnTo>
                      <a:pt x="177043" y="606087"/>
                    </a:lnTo>
                    <a:lnTo>
                      <a:pt x="177043" y="580116"/>
                    </a:lnTo>
                    <a:cubicBezTo>
                      <a:pt x="177043" y="571844"/>
                      <a:pt x="176657" y="563668"/>
                      <a:pt x="176272" y="555492"/>
                    </a:cubicBezTo>
                    <a:close/>
                    <a:moveTo>
                      <a:pt x="170486" y="504967"/>
                    </a:moveTo>
                    <a:lnTo>
                      <a:pt x="386134" y="504967"/>
                    </a:lnTo>
                    <a:cubicBezTo>
                      <a:pt x="384593" y="513443"/>
                      <a:pt x="383245" y="521824"/>
                      <a:pt x="382185" y="530300"/>
                    </a:cubicBezTo>
                    <a:lnTo>
                      <a:pt x="174050" y="530300"/>
                    </a:lnTo>
                    <a:cubicBezTo>
                      <a:pt x="173087" y="521727"/>
                      <a:pt x="171931" y="513347"/>
                      <a:pt x="170486" y="504967"/>
                    </a:cubicBezTo>
                    <a:close/>
                    <a:moveTo>
                      <a:pt x="481527" y="380419"/>
                    </a:moveTo>
                    <a:lnTo>
                      <a:pt x="525359" y="405623"/>
                    </a:lnTo>
                    <a:lnTo>
                      <a:pt x="512643" y="427557"/>
                    </a:lnTo>
                    <a:lnTo>
                      <a:pt x="468907" y="402256"/>
                    </a:lnTo>
                    <a:close/>
                    <a:moveTo>
                      <a:pt x="74740" y="380419"/>
                    </a:moveTo>
                    <a:lnTo>
                      <a:pt x="87360" y="402353"/>
                    </a:lnTo>
                    <a:lnTo>
                      <a:pt x="43528" y="427557"/>
                    </a:lnTo>
                    <a:lnTo>
                      <a:pt x="30908" y="405720"/>
                    </a:lnTo>
                    <a:close/>
                    <a:moveTo>
                      <a:pt x="505742" y="265115"/>
                    </a:moveTo>
                    <a:lnTo>
                      <a:pt x="556267" y="265115"/>
                    </a:lnTo>
                    <a:lnTo>
                      <a:pt x="556267" y="290448"/>
                    </a:lnTo>
                    <a:lnTo>
                      <a:pt x="505742" y="290448"/>
                    </a:lnTo>
                    <a:close/>
                    <a:moveTo>
                      <a:pt x="0" y="265115"/>
                    </a:moveTo>
                    <a:lnTo>
                      <a:pt x="50525" y="265115"/>
                    </a:lnTo>
                    <a:lnTo>
                      <a:pt x="50525" y="290448"/>
                    </a:lnTo>
                    <a:lnTo>
                      <a:pt x="0" y="290448"/>
                    </a:lnTo>
                    <a:close/>
                    <a:moveTo>
                      <a:pt x="512739" y="128006"/>
                    </a:moveTo>
                    <a:lnTo>
                      <a:pt x="525359" y="149823"/>
                    </a:lnTo>
                    <a:lnTo>
                      <a:pt x="481527" y="175003"/>
                    </a:lnTo>
                    <a:lnTo>
                      <a:pt x="468907" y="153186"/>
                    </a:lnTo>
                    <a:close/>
                    <a:moveTo>
                      <a:pt x="43528" y="127935"/>
                    </a:moveTo>
                    <a:lnTo>
                      <a:pt x="87360" y="153197"/>
                    </a:lnTo>
                    <a:lnTo>
                      <a:pt x="74740" y="175002"/>
                    </a:lnTo>
                    <a:lnTo>
                      <a:pt x="30908" y="149836"/>
                    </a:lnTo>
                    <a:close/>
                    <a:moveTo>
                      <a:pt x="297059" y="76575"/>
                    </a:moveTo>
                    <a:cubicBezTo>
                      <a:pt x="336834" y="80411"/>
                      <a:pt x="374049" y="96623"/>
                      <a:pt x="404602" y="124032"/>
                    </a:cubicBezTo>
                    <a:cubicBezTo>
                      <a:pt x="444761" y="159808"/>
                      <a:pt x="467778" y="211357"/>
                      <a:pt x="467778" y="265117"/>
                    </a:cubicBezTo>
                    <a:cubicBezTo>
                      <a:pt x="467778" y="298874"/>
                      <a:pt x="458726" y="332053"/>
                      <a:pt x="441583" y="361098"/>
                    </a:cubicBezTo>
                    <a:cubicBezTo>
                      <a:pt x="418567" y="400144"/>
                      <a:pt x="402002" y="439767"/>
                      <a:pt x="391794" y="479775"/>
                    </a:cubicBezTo>
                    <a:lnTo>
                      <a:pt x="165285" y="479775"/>
                    </a:lnTo>
                    <a:cubicBezTo>
                      <a:pt x="155462" y="438709"/>
                      <a:pt x="139861" y="400529"/>
                      <a:pt x="118192" y="366676"/>
                    </a:cubicBezTo>
                    <a:cubicBezTo>
                      <a:pt x="94405" y="329649"/>
                      <a:pt x="84678" y="286660"/>
                      <a:pt x="89879" y="242420"/>
                    </a:cubicBezTo>
                    <a:cubicBezTo>
                      <a:pt x="99894" y="156057"/>
                      <a:pt x="170100" y="86524"/>
                      <a:pt x="256582" y="76907"/>
                    </a:cubicBezTo>
                    <a:cubicBezTo>
                      <a:pt x="270258" y="75392"/>
                      <a:pt x="283800" y="75296"/>
                      <a:pt x="297059" y="76575"/>
                    </a:cubicBezTo>
                    <a:close/>
                    <a:moveTo>
                      <a:pt x="150042" y="30978"/>
                    </a:moveTo>
                    <a:lnTo>
                      <a:pt x="175284" y="74605"/>
                    </a:lnTo>
                    <a:lnTo>
                      <a:pt x="153414" y="87289"/>
                    </a:lnTo>
                    <a:lnTo>
                      <a:pt x="128076" y="43566"/>
                    </a:lnTo>
                    <a:close/>
                    <a:moveTo>
                      <a:pt x="406225" y="30837"/>
                    </a:moveTo>
                    <a:lnTo>
                      <a:pt x="428191" y="43441"/>
                    </a:lnTo>
                    <a:lnTo>
                      <a:pt x="402853" y="87219"/>
                    </a:lnTo>
                    <a:lnTo>
                      <a:pt x="380983" y="74615"/>
                    </a:lnTo>
                    <a:close/>
                    <a:moveTo>
                      <a:pt x="265538" y="0"/>
                    </a:moveTo>
                    <a:lnTo>
                      <a:pt x="290730" y="0"/>
                    </a:lnTo>
                    <a:lnTo>
                      <a:pt x="290730" y="50525"/>
                    </a:lnTo>
                    <a:lnTo>
                      <a:pt x="265538" y="505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77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sp>
        <p:nvSpPr>
          <p:cNvPr id="8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  <a:t>10</a:t>
            </a:fld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3512185" y="3427730"/>
            <a:ext cx="3141345" cy="1826260"/>
          </a:xfrm>
          <a:prstGeom prst="rect">
            <a:avLst/>
          </a:prstGeom>
          <a:noFill/>
          <a:ln w="50800" cmpd="sng">
            <a:solidFill>
              <a:schemeClr val="tx2"/>
            </a:solidFill>
            <a:prstDash val="sys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104775"/>
            <a:ext cx="6649720" cy="1028700"/>
          </a:xfrm>
        </p:spPr>
        <p:txBody>
          <a:bodyPr/>
          <a:lstStyle/>
          <a:p>
            <a:r>
              <a:rPr lang="en-US" altLang="zh-CN" dirty="0"/>
              <a:t>python</a:t>
            </a:r>
            <a:r>
              <a:rPr lang="zh-CN" altLang="en-US" dirty="0"/>
              <a:t>的关系表达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8179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11</a:t>
            </a:fld>
            <a:endParaRPr lang="zh-CN" altLang="en-US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grpSp>
        <p:nvGrpSpPr>
          <p:cNvPr id="7" name="组合 6"/>
          <p:cNvGrpSpPr/>
          <p:nvPr/>
        </p:nvGrpSpPr>
        <p:grpSpPr>
          <a:xfrm>
            <a:off x="1958975" y="2880995"/>
            <a:ext cx="2352040" cy="2990850"/>
            <a:chOff x="1348" y="3438"/>
            <a:chExt cx="3704" cy="4710"/>
          </a:xfrm>
        </p:grpSpPr>
        <p:sp>
          <p:nvSpPr>
            <p:cNvPr id="17" name="文本框 16"/>
            <p:cNvSpPr txBox="1"/>
            <p:nvPr/>
          </p:nvSpPr>
          <p:spPr>
            <a:xfrm>
              <a:off x="1789" y="3438"/>
              <a:ext cx="2788" cy="3488"/>
            </a:xfrm>
            <a:prstGeom prst="rect">
              <a:avLst/>
            </a:prstGeom>
            <a:noFill/>
            <a:ln w="25400">
              <a:solidFill>
                <a:srgbClr val="F4A229"/>
              </a:solidFill>
            </a:ln>
          </p:spPr>
          <p:txBody>
            <a:bodyPr wrap="none" rtlCol="0">
              <a:spAutoFit/>
            </a:bodyPr>
            <a:lstStyle/>
            <a:p>
              <a:pPr fontAlgn="auto">
                <a:lnSpc>
                  <a:spcPct val="150000"/>
                </a:lnSpc>
              </a:pPr>
              <a:r>
                <a:rPr lang="en-US" altLang="zh-CN" sz="2800"/>
                <a:t>if</a:t>
              </a:r>
              <a:r>
                <a:rPr lang="en-US" altLang="zh-CN"/>
                <a:t> &lt;</a:t>
              </a:r>
              <a:r>
                <a:rPr lang="zh-CN" altLang="en-US"/>
                <a:t>条件</a:t>
              </a:r>
              <a:r>
                <a:rPr lang="en-US" altLang="zh-CN"/>
                <a:t>&gt;</a:t>
              </a:r>
              <a:r>
                <a:rPr lang="en-US" altLang="zh-CN" sz="2800"/>
                <a:t>:</a:t>
              </a:r>
            </a:p>
            <a:p>
              <a:pPr fontAlgn="auto">
                <a:lnSpc>
                  <a:spcPct val="150000"/>
                </a:lnSpc>
              </a:pPr>
              <a:r>
                <a:rPr lang="en-US" altLang="zh-CN"/>
                <a:t>        &lt;</a:t>
              </a:r>
              <a:r>
                <a:rPr lang="zh-CN" altLang="en-US"/>
                <a:t>语句块</a:t>
              </a:r>
              <a:r>
                <a:rPr lang="en-US" altLang="zh-CN"/>
                <a:t>1&gt;</a:t>
              </a:r>
            </a:p>
            <a:p>
              <a:pPr fontAlgn="auto">
                <a:lnSpc>
                  <a:spcPct val="150000"/>
                </a:lnSpc>
              </a:pPr>
              <a:r>
                <a:rPr lang="en-US" altLang="zh-CN" sz="2800"/>
                <a:t>else:</a:t>
              </a:r>
            </a:p>
            <a:p>
              <a:pPr fontAlgn="auto">
                <a:lnSpc>
                  <a:spcPct val="150000"/>
                </a:lnSpc>
              </a:pPr>
              <a:r>
                <a:rPr lang="en-US" altLang="zh-CN"/>
                <a:t>        &lt;</a:t>
              </a:r>
              <a:r>
                <a:rPr lang="zh-CN" altLang="en-US"/>
                <a:t>语句块</a:t>
              </a:r>
              <a:r>
                <a:rPr lang="en-US" altLang="zh-CN"/>
                <a:t>2&gt;</a:t>
              </a:r>
            </a:p>
          </p:txBody>
        </p:sp>
        <p:sp>
          <p:nvSpPr>
            <p:cNvPr id="18" name="圆角矩形 17"/>
            <p:cNvSpPr/>
            <p:nvPr/>
          </p:nvSpPr>
          <p:spPr>
            <a:xfrm>
              <a:off x="1348" y="7526"/>
              <a:ext cx="3705" cy="623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if</a:t>
              </a:r>
              <a:r>
                <a:rPr lang="zh-CN" altLang="en-US"/>
                <a:t>条件语句一般格式</a:t>
              </a:r>
            </a:p>
          </p:txBody>
        </p:sp>
      </p:grpSp>
      <p:pic>
        <p:nvPicPr>
          <p:cNvPr id="35" name="图片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grpSp>
        <p:nvGrpSpPr>
          <p:cNvPr id="27" name="组合 26"/>
          <p:cNvGrpSpPr/>
          <p:nvPr/>
        </p:nvGrpSpPr>
        <p:grpSpPr>
          <a:xfrm rot="1560000">
            <a:off x="1765300" y="1472565"/>
            <a:ext cx="877570" cy="880110"/>
            <a:chOff x="17704" y="7751"/>
            <a:chExt cx="1382" cy="1386"/>
          </a:xfrm>
        </p:grpSpPr>
        <p:sp>
          <p:nvSpPr>
            <p:cNvPr id="3" name="ïsľiďê"/>
            <p:cNvSpPr/>
            <p:nvPr/>
          </p:nvSpPr>
          <p:spPr bwMode="auto">
            <a:xfrm>
              <a:off x="17704" y="7751"/>
              <a:ext cx="1383" cy="1386"/>
            </a:xfrm>
            <a:prstGeom prst="ellipse">
              <a:avLst/>
            </a:prstGeom>
            <a:solidFill>
              <a:srgbClr val="F4A229"/>
            </a:solidFill>
            <a:ln w="2857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ctr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dirty="0">
                <a:solidFill>
                  <a:srgbClr val="FFFFFF"/>
                </a:solidFill>
              </a:endParaRPr>
            </a:p>
          </p:txBody>
        </p:sp>
        <p:sp>
          <p:nvSpPr>
            <p:cNvPr id="6" name="íśľîde"/>
            <p:cNvSpPr/>
            <p:nvPr/>
          </p:nvSpPr>
          <p:spPr bwMode="auto">
            <a:xfrm>
              <a:off x="18070" y="8090"/>
              <a:ext cx="650" cy="708"/>
            </a:xfrm>
            <a:custGeom>
              <a:avLst/>
              <a:gdLst>
                <a:gd name="connsiteX0" fmla="*/ 176272 w 556267"/>
                <a:gd name="connsiteY0" fmla="*/ 555492 h 606087"/>
                <a:gd name="connsiteX1" fmla="*/ 380065 w 556267"/>
                <a:gd name="connsiteY1" fmla="*/ 555492 h 606087"/>
                <a:gd name="connsiteX2" fmla="*/ 379295 w 556267"/>
                <a:gd name="connsiteY2" fmla="*/ 574730 h 606087"/>
                <a:gd name="connsiteX3" fmla="*/ 379295 w 556267"/>
                <a:gd name="connsiteY3" fmla="*/ 606087 h 606087"/>
                <a:gd name="connsiteX4" fmla="*/ 177043 w 556267"/>
                <a:gd name="connsiteY4" fmla="*/ 606087 h 606087"/>
                <a:gd name="connsiteX5" fmla="*/ 177043 w 556267"/>
                <a:gd name="connsiteY5" fmla="*/ 580116 h 606087"/>
                <a:gd name="connsiteX6" fmla="*/ 176272 w 556267"/>
                <a:gd name="connsiteY6" fmla="*/ 555492 h 606087"/>
                <a:gd name="connsiteX7" fmla="*/ 170486 w 556267"/>
                <a:gd name="connsiteY7" fmla="*/ 504967 h 606087"/>
                <a:gd name="connsiteX8" fmla="*/ 386134 w 556267"/>
                <a:gd name="connsiteY8" fmla="*/ 504967 h 606087"/>
                <a:gd name="connsiteX9" fmla="*/ 382185 w 556267"/>
                <a:gd name="connsiteY9" fmla="*/ 530300 h 606087"/>
                <a:gd name="connsiteX10" fmla="*/ 174050 w 556267"/>
                <a:gd name="connsiteY10" fmla="*/ 530300 h 606087"/>
                <a:gd name="connsiteX11" fmla="*/ 170486 w 556267"/>
                <a:gd name="connsiteY11" fmla="*/ 504967 h 606087"/>
                <a:gd name="connsiteX12" fmla="*/ 481527 w 556267"/>
                <a:gd name="connsiteY12" fmla="*/ 380419 h 606087"/>
                <a:gd name="connsiteX13" fmla="*/ 525359 w 556267"/>
                <a:gd name="connsiteY13" fmla="*/ 405623 h 606087"/>
                <a:gd name="connsiteX14" fmla="*/ 512643 w 556267"/>
                <a:gd name="connsiteY14" fmla="*/ 427557 h 606087"/>
                <a:gd name="connsiteX15" fmla="*/ 468907 w 556267"/>
                <a:gd name="connsiteY15" fmla="*/ 402256 h 606087"/>
                <a:gd name="connsiteX16" fmla="*/ 74740 w 556267"/>
                <a:gd name="connsiteY16" fmla="*/ 380419 h 606087"/>
                <a:gd name="connsiteX17" fmla="*/ 87360 w 556267"/>
                <a:gd name="connsiteY17" fmla="*/ 402353 h 606087"/>
                <a:gd name="connsiteX18" fmla="*/ 43528 w 556267"/>
                <a:gd name="connsiteY18" fmla="*/ 427557 h 606087"/>
                <a:gd name="connsiteX19" fmla="*/ 30908 w 556267"/>
                <a:gd name="connsiteY19" fmla="*/ 405720 h 606087"/>
                <a:gd name="connsiteX20" fmla="*/ 505742 w 556267"/>
                <a:gd name="connsiteY20" fmla="*/ 265115 h 606087"/>
                <a:gd name="connsiteX21" fmla="*/ 556267 w 556267"/>
                <a:gd name="connsiteY21" fmla="*/ 265115 h 606087"/>
                <a:gd name="connsiteX22" fmla="*/ 556267 w 556267"/>
                <a:gd name="connsiteY22" fmla="*/ 290448 h 606087"/>
                <a:gd name="connsiteX23" fmla="*/ 505742 w 556267"/>
                <a:gd name="connsiteY23" fmla="*/ 290448 h 606087"/>
                <a:gd name="connsiteX24" fmla="*/ 0 w 556267"/>
                <a:gd name="connsiteY24" fmla="*/ 265115 h 606087"/>
                <a:gd name="connsiteX25" fmla="*/ 50525 w 556267"/>
                <a:gd name="connsiteY25" fmla="*/ 265115 h 606087"/>
                <a:gd name="connsiteX26" fmla="*/ 50525 w 556267"/>
                <a:gd name="connsiteY26" fmla="*/ 290448 h 606087"/>
                <a:gd name="connsiteX27" fmla="*/ 0 w 556267"/>
                <a:gd name="connsiteY27" fmla="*/ 290448 h 606087"/>
                <a:gd name="connsiteX28" fmla="*/ 512739 w 556267"/>
                <a:gd name="connsiteY28" fmla="*/ 128006 h 606087"/>
                <a:gd name="connsiteX29" fmla="*/ 525359 w 556267"/>
                <a:gd name="connsiteY29" fmla="*/ 149823 h 606087"/>
                <a:gd name="connsiteX30" fmla="*/ 481527 w 556267"/>
                <a:gd name="connsiteY30" fmla="*/ 175003 h 606087"/>
                <a:gd name="connsiteX31" fmla="*/ 468907 w 556267"/>
                <a:gd name="connsiteY31" fmla="*/ 153186 h 606087"/>
                <a:gd name="connsiteX32" fmla="*/ 43528 w 556267"/>
                <a:gd name="connsiteY32" fmla="*/ 127935 h 606087"/>
                <a:gd name="connsiteX33" fmla="*/ 87360 w 556267"/>
                <a:gd name="connsiteY33" fmla="*/ 153197 h 606087"/>
                <a:gd name="connsiteX34" fmla="*/ 74740 w 556267"/>
                <a:gd name="connsiteY34" fmla="*/ 175002 h 606087"/>
                <a:gd name="connsiteX35" fmla="*/ 30908 w 556267"/>
                <a:gd name="connsiteY35" fmla="*/ 149836 h 606087"/>
                <a:gd name="connsiteX36" fmla="*/ 297059 w 556267"/>
                <a:gd name="connsiteY36" fmla="*/ 76575 h 606087"/>
                <a:gd name="connsiteX37" fmla="*/ 404602 w 556267"/>
                <a:gd name="connsiteY37" fmla="*/ 124032 h 606087"/>
                <a:gd name="connsiteX38" fmla="*/ 467778 w 556267"/>
                <a:gd name="connsiteY38" fmla="*/ 265117 h 606087"/>
                <a:gd name="connsiteX39" fmla="*/ 441583 w 556267"/>
                <a:gd name="connsiteY39" fmla="*/ 361098 h 606087"/>
                <a:gd name="connsiteX40" fmla="*/ 391794 w 556267"/>
                <a:gd name="connsiteY40" fmla="*/ 479775 h 606087"/>
                <a:gd name="connsiteX41" fmla="*/ 165285 w 556267"/>
                <a:gd name="connsiteY41" fmla="*/ 479775 h 606087"/>
                <a:gd name="connsiteX42" fmla="*/ 118192 w 556267"/>
                <a:gd name="connsiteY42" fmla="*/ 366676 h 606087"/>
                <a:gd name="connsiteX43" fmla="*/ 89879 w 556267"/>
                <a:gd name="connsiteY43" fmla="*/ 242420 h 606087"/>
                <a:gd name="connsiteX44" fmla="*/ 256582 w 556267"/>
                <a:gd name="connsiteY44" fmla="*/ 76907 h 606087"/>
                <a:gd name="connsiteX45" fmla="*/ 297059 w 556267"/>
                <a:gd name="connsiteY45" fmla="*/ 76575 h 606087"/>
                <a:gd name="connsiteX46" fmla="*/ 150042 w 556267"/>
                <a:gd name="connsiteY46" fmla="*/ 30978 h 606087"/>
                <a:gd name="connsiteX47" fmla="*/ 175284 w 556267"/>
                <a:gd name="connsiteY47" fmla="*/ 74605 h 606087"/>
                <a:gd name="connsiteX48" fmla="*/ 153414 w 556267"/>
                <a:gd name="connsiteY48" fmla="*/ 87289 h 606087"/>
                <a:gd name="connsiteX49" fmla="*/ 128076 w 556267"/>
                <a:gd name="connsiteY49" fmla="*/ 43566 h 606087"/>
                <a:gd name="connsiteX50" fmla="*/ 406225 w 556267"/>
                <a:gd name="connsiteY50" fmla="*/ 30837 h 606087"/>
                <a:gd name="connsiteX51" fmla="*/ 428191 w 556267"/>
                <a:gd name="connsiteY51" fmla="*/ 43441 h 606087"/>
                <a:gd name="connsiteX52" fmla="*/ 402853 w 556267"/>
                <a:gd name="connsiteY52" fmla="*/ 87219 h 606087"/>
                <a:gd name="connsiteX53" fmla="*/ 380983 w 556267"/>
                <a:gd name="connsiteY53" fmla="*/ 74615 h 606087"/>
                <a:gd name="connsiteX54" fmla="*/ 265538 w 556267"/>
                <a:gd name="connsiteY54" fmla="*/ 0 h 606087"/>
                <a:gd name="connsiteX55" fmla="*/ 290730 w 556267"/>
                <a:gd name="connsiteY55" fmla="*/ 0 h 606087"/>
                <a:gd name="connsiteX56" fmla="*/ 290730 w 556267"/>
                <a:gd name="connsiteY56" fmla="*/ 50525 h 606087"/>
                <a:gd name="connsiteX57" fmla="*/ 265538 w 556267"/>
                <a:gd name="connsiteY57" fmla="*/ 50525 h 60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56267" h="606087">
                  <a:moveTo>
                    <a:pt x="176272" y="555492"/>
                  </a:moveTo>
                  <a:lnTo>
                    <a:pt x="380065" y="555492"/>
                  </a:lnTo>
                  <a:cubicBezTo>
                    <a:pt x="379680" y="561937"/>
                    <a:pt x="379295" y="568381"/>
                    <a:pt x="379295" y="574730"/>
                  </a:cubicBezTo>
                  <a:lnTo>
                    <a:pt x="379295" y="606087"/>
                  </a:lnTo>
                  <a:lnTo>
                    <a:pt x="177043" y="606087"/>
                  </a:lnTo>
                  <a:lnTo>
                    <a:pt x="177043" y="580116"/>
                  </a:lnTo>
                  <a:cubicBezTo>
                    <a:pt x="177043" y="571844"/>
                    <a:pt x="176657" y="563668"/>
                    <a:pt x="176272" y="555492"/>
                  </a:cubicBezTo>
                  <a:close/>
                  <a:moveTo>
                    <a:pt x="170486" y="504967"/>
                  </a:moveTo>
                  <a:lnTo>
                    <a:pt x="386134" y="504967"/>
                  </a:lnTo>
                  <a:cubicBezTo>
                    <a:pt x="384593" y="513443"/>
                    <a:pt x="383245" y="521824"/>
                    <a:pt x="382185" y="530300"/>
                  </a:cubicBezTo>
                  <a:lnTo>
                    <a:pt x="174050" y="530300"/>
                  </a:lnTo>
                  <a:cubicBezTo>
                    <a:pt x="173087" y="521727"/>
                    <a:pt x="171931" y="513347"/>
                    <a:pt x="170486" y="504967"/>
                  </a:cubicBezTo>
                  <a:close/>
                  <a:moveTo>
                    <a:pt x="481527" y="380419"/>
                  </a:moveTo>
                  <a:lnTo>
                    <a:pt x="525359" y="405623"/>
                  </a:lnTo>
                  <a:lnTo>
                    <a:pt x="512643" y="427557"/>
                  </a:lnTo>
                  <a:lnTo>
                    <a:pt x="468907" y="402256"/>
                  </a:lnTo>
                  <a:close/>
                  <a:moveTo>
                    <a:pt x="74740" y="380419"/>
                  </a:moveTo>
                  <a:lnTo>
                    <a:pt x="87360" y="402353"/>
                  </a:lnTo>
                  <a:lnTo>
                    <a:pt x="43528" y="427557"/>
                  </a:lnTo>
                  <a:lnTo>
                    <a:pt x="30908" y="405720"/>
                  </a:lnTo>
                  <a:close/>
                  <a:moveTo>
                    <a:pt x="505742" y="265115"/>
                  </a:moveTo>
                  <a:lnTo>
                    <a:pt x="556267" y="265115"/>
                  </a:lnTo>
                  <a:lnTo>
                    <a:pt x="556267" y="290448"/>
                  </a:lnTo>
                  <a:lnTo>
                    <a:pt x="505742" y="290448"/>
                  </a:lnTo>
                  <a:close/>
                  <a:moveTo>
                    <a:pt x="0" y="265115"/>
                  </a:moveTo>
                  <a:lnTo>
                    <a:pt x="50525" y="265115"/>
                  </a:lnTo>
                  <a:lnTo>
                    <a:pt x="50525" y="290448"/>
                  </a:lnTo>
                  <a:lnTo>
                    <a:pt x="0" y="290448"/>
                  </a:lnTo>
                  <a:close/>
                  <a:moveTo>
                    <a:pt x="512739" y="128006"/>
                  </a:moveTo>
                  <a:lnTo>
                    <a:pt x="525359" y="149823"/>
                  </a:lnTo>
                  <a:lnTo>
                    <a:pt x="481527" y="175003"/>
                  </a:lnTo>
                  <a:lnTo>
                    <a:pt x="468907" y="153186"/>
                  </a:lnTo>
                  <a:close/>
                  <a:moveTo>
                    <a:pt x="43528" y="127935"/>
                  </a:moveTo>
                  <a:lnTo>
                    <a:pt x="87360" y="153197"/>
                  </a:lnTo>
                  <a:lnTo>
                    <a:pt x="74740" y="175002"/>
                  </a:lnTo>
                  <a:lnTo>
                    <a:pt x="30908" y="149836"/>
                  </a:lnTo>
                  <a:close/>
                  <a:moveTo>
                    <a:pt x="297059" y="76575"/>
                  </a:moveTo>
                  <a:cubicBezTo>
                    <a:pt x="336834" y="80411"/>
                    <a:pt x="374049" y="96623"/>
                    <a:pt x="404602" y="124032"/>
                  </a:cubicBezTo>
                  <a:cubicBezTo>
                    <a:pt x="444761" y="159808"/>
                    <a:pt x="467778" y="211357"/>
                    <a:pt x="467778" y="265117"/>
                  </a:cubicBezTo>
                  <a:cubicBezTo>
                    <a:pt x="467778" y="298874"/>
                    <a:pt x="458726" y="332053"/>
                    <a:pt x="441583" y="361098"/>
                  </a:cubicBezTo>
                  <a:cubicBezTo>
                    <a:pt x="418567" y="400144"/>
                    <a:pt x="402002" y="439767"/>
                    <a:pt x="391794" y="479775"/>
                  </a:cubicBezTo>
                  <a:lnTo>
                    <a:pt x="165285" y="479775"/>
                  </a:lnTo>
                  <a:cubicBezTo>
                    <a:pt x="155462" y="438709"/>
                    <a:pt x="139861" y="400529"/>
                    <a:pt x="118192" y="366676"/>
                  </a:cubicBezTo>
                  <a:cubicBezTo>
                    <a:pt x="94405" y="329649"/>
                    <a:pt x="84678" y="286660"/>
                    <a:pt x="89879" y="242420"/>
                  </a:cubicBezTo>
                  <a:cubicBezTo>
                    <a:pt x="99894" y="156057"/>
                    <a:pt x="170100" y="86524"/>
                    <a:pt x="256582" y="76907"/>
                  </a:cubicBezTo>
                  <a:cubicBezTo>
                    <a:pt x="270258" y="75392"/>
                    <a:pt x="283800" y="75296"/>
                    <a:pt x="297059" y="76575"/>
                  </a:cubicBezTo>
                  <a:close/>
                  <a:moveTo>
                    <a:pt x="150042" y="30978"/>
                  </a:moveTo>
                  <a:lnTo>
                    <a:pt x="175284" y="74605"/>
                  </a:lnTo>
                  <a:lnTo>
                    <a:pt x="153414" y="87289"/>
                  </a:lnTo>
                  <a:lnTo>
                    <a:pt x="128076" y="43566"/>
                  </a:lnTo>
                  <a:close/>
                  <a:moveTo>
                    <a:pt x="406225" y="30837"/>
                  </a:moveTo>
                  <a:lnTo>
                    <a:pt x="428191" y="43441"/>
                  </a:lnTo>
                  <a:lnTo>
                    <a:pt x="402853" y="87219"/>
                  </a:lnTo>
                  <a:lnTo>
                    <a:pt x="380983" y="74615"/>
                  </a:lnTo>
                  <a:close/>
                  <a:moveTo>
                    <a:pt x="265538" y="0"/>
                  </a:moveTo>
                  <a:lnTo>
                    <a:pt x="290730" y="0"/>
                  </a:lnTo>
                  <a:lnTo>
                    <a:pt x="290730" y="50525"/>
                  </a:lnTo>
                  <a:lnTo>
                    <a:pt x="265538" y="505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22" name="文本框 21"/>
          <p:cNvSpPr txBox="1"/>
          <p:nvPr/>
        </p:nvSpPr>
        <p:spPr>
          <a:xfrm>
            <a:off x="3209290" y="1324610"/>
            <a:ext cx="7015480" cy="92202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>
                <a:sym typeface="+mn-ea"/>
              </a:rPr>
              <a:t>想一想：比较两个数</a:t>
            </a:r>
            <a:r>
              <a:rPr lang="en-US" altLang="zh-CN">
                <a:sym typeface="+mn-ea"/>
              </a:rPr>
              <a:t>a</a:t>
            </a:r>
            <a:r>
              <a:rPr lang="zh-CN" altLang="en-US">
                <a:sym typeface="+mn-ea"/>
              </a:rPr>
              <a:t>，</a:t>
            </a:r>
            <a:r>
              <a:rPr lang="en-US" altLang="zh-CN">
                <a:sym typeface="+mn-ea"/>
              </a:rPr>
              <a:t>b</a:t>
            </a:r>
            <a:r>
              <a:rPr lang="zh-CN" altLang="en-US">
                <a:sym typeface="+mn-ea"/>
              </a:rPr>
              <a:t>，输出其中较大的数，用</a:t>
            </a:r>
            <a:r>
              <a:rPr lang="en-US" altLang="zh-CN">
                <a:sym typeface="+mn-ea"/>
              </a:rPr>
              <a:t>if </a:t>
            </a:r>
            <a:r>
              <a:rPr lang="zh-CN" altLang="en-US">
                <a:sym typeface="+mn-ea"/>
              </a:rPr>
              <a:t>语句如何描述？</a:t>
            </a:r>
          </a:p>
          <a:p>
            <a:pPr algn="l" fontAlgn="auto">
              <a:lnSpc>
                <a:spcPct val="150000"/>
              </a:lnSpc>
            </a:pPr>
            <a:endParaRPr lang="en-US">
              <a:sym typeface="+mn-ea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4912360" y="2500630"/>
            <a:ext cx="3497580" cy="3344545"/>
            <a:chOff x="8420" y="3938"/>
            <a:chExt cx="5508" cy="5267"/>
          </a:xfrm>
        </p:grpSpPr>
        <p:grpSp>
          <p:nvGrpSpPr>
            <p:cNvPr id="21" name="组合 20"/>
            <p:cNvGrpSpPr/>
            <p:nvPr/>
          </p:nvGrpSpPr>
          <p:grpSpPr>
            <a:xfrm>
              <a:off x="8420" y="3938"/>
              <a:ext cx="5508" cy="4392"/>
              <a:chOff x="6818" y="3181"/>
              <a:chExt cx="5508" cy="4392"/>
            </a:xfrm>
          </p:grpSpPr>
          <p:grpSp>
            <p:nvGrpSpPr>
              <p:cNvPr id="15" name="组合 14"/>
              <p:cNvGrpSpPr/>
              <p:nvPr/>
            </p:nvGrpSpPr>
            <p:grpSpPr>
              <a:xfrm>
                <a:off x="6875" y="3182"/>
                <a:ext cx="5451" cy="4101"/>
                <a:chOff x="1301" y="3894"/>
                <a:chExt cx="5451" cy="4101"/>
              </a:xfrm>
            </p:grpSpPr>
            <p:pic>
              <p:nvPicPr>
                <p:cNvPr id="10" name="图片 9"/>
                <p:cNvPicPr>
                  <a:picLocks noChangeAspect="1"/>
                </p:cNvPicPr>
                <p:nvPr/>
              </p:nvPicPr>
              <p:blipFill>
                <a:blip r:embed="rId5"/>
                <a:srcRect b="21407"/>
                <a:stretch>
                  <a:fillRect/>
                </a:stretch>
              </p:blipFill>
              <p:spPr>
                <a:xfrm>
                  <a:off x="1301" y="3894"/>
                  <a:ext cx="5451" cy="4101"/>
                </a:xfrm>
                <a:prstGeom prst="rect">
                  <a:avLst/>
                </a:prstGeom>
                <a:effectLst>
                  <a:softEdge rad="31750"/>
                </a:effectLst>
              </p:spPr>
            </p:pic>
            <p:sp>
              <p:nvSpPr>
                <p:cNvPr id="8" name="文本框 7"/>
                <p:cNvSpPr txBox="1"/>
                <p:nvPr/>
              </p:nvSpPr>
              <p:spPr>
                <a:xfrm>
                  <a:off x="3299" y="4811"/>
                  <a:ext cx="1167" cy="580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CN">
                      <a:solidFill>
                        <a:srgbClr val="FF0000"/>
                      </a:solidFill>
                    </a:rPr>
                    <a:t>a&gt;=b</a:t>
                  </a:r>
                </a:p>
              </p:txBody>
            </p:sp>
            <p:sp>
              <p:nvSpPr>
                <p:cNvPr id="9" name="文本框 8"/>
                <p:cNvSpPr txBox="1"/>
                <p:nvPr/>
              </p:nvSpPr>
              <p:spPr>
                <a:xfrm>
                  <a:off x="1402" y="6213"/>
                  <a:ext cx="1522" cy="53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600">
                      <a:solidFill>
                        <a:srgbClr val="FF0000"/>
                      </a:solidFill>
                    </a:rPr>
                    <a:t>输出</a:t>
                  </a:r>
                  <a:r>
                    <a:rPr lang="en-US" altLang="zh-CN" sz="1600">
                      <a:solidFill>
                        <a:srgbClr val="FF0000"/>
                      </a:solidFill>
                    </a:rPr>
                    <a:t>a</a:t>
                  </a:r>
                </a:p>
              </p:txBody>
            </p:sp>
            <p:sp>
              <p:nvSpPr>
                <p:cNvPr id="11" name="文本框 10"/>
                <p:cNvSpPr txBox="1"/>
                <p:nvPr/>
              </p:nvSpPr>
              <p:spPr>
                <a:xfrm>
                  <a:off x="4973" y="6177"/>
                  <a:ext cx="1468" cy="53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600">
                      <a:solidFill>
                        <a:srgbClr val="FF0000"/>
                      </a:solidFill>
                    </a:rPr>
                    <a:t>输出</a:t>
                  </a:r>
                  <a:r>
                    <a:rPr lang="en-US" altLang="zh-CN" sz="1600">
                      <a:solidFill>
                        <a:srgbClr val="FF0000"/>
                      </a:solidFill>
                    </a:rPr>
                    <a:t>b</a:t>
                  </a:r>
                </a:p>
              </p:txBody>
            </p:sp>
            <p:sp>
              <p:nvSpPr>
                <p:cNvPr id="12" name="文本框 11"/>
                <p:cNvSpPr txBox="1"/>
                <p:nvPr/>
              </p:nvSpPr>
              <p:spPr>
                <a:xfrm>
                  <a:off x="1444" y="4526"/>
                  <a:ext cx="802" cy="58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CN" b="1">
                      <a:solidFill>
                        <a:srgbClr val="FF0000"/>
                      </a:solidFill>
                    </a:rPr>
                    <a:t>[</a:t>
                  </a:r>
                  <a:r>
                    <a:rPr lang="zh-CN" altLang="en-US" b="1">
                      <a:solidFill>
                        <a:srgbClr val="FF0000"/>
                      </a:solidFill>
                    </a:rPr>
                    <a:t>真</a:t>
                  </a:r>
                  <a:r>
                    <a:rPr lang="en-US" altLang="zh-CN" b="1">
                      <a:solidFill>
                        <a:srgbClr val="FF0000"/>
                      </a:solidFill>
                    </a:rPr>
                    <a:t>]</a:t>
                  </a:r>
                </a:p>
              </p:txBody>
            </p:sp>
            <p:sp>
              <p:nvSpPr>
                <p:cNvPr id="13" name="文本框 12"/>
                <p:cNvSpPr txBox="1"/>
                <p:nvPr/>
              </p:nvSpPr>
              <p:spPr>
                <a:xfrm>
                  <a:off x="5447" y="4526"/>
                  <a:ext cx="802" cy="58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CN" b="1">
                      <a:solidFill>
                        <a:srgbClr val="FF0000"/>
                      </a:solidFill>
                    </a:rPr>
                    <a:t>[</a:t>
                  </a:r>
                  <a:r>
                    <a:rPr lang="zh-CN" altLang="en-US" b="1">
                      <a:solidFill>
                        <a:srgbClr val="FF0000"/>
                      </a:solidFill>
                    </a:rPr>
                    <a:t>假</a:t>
                  </a:r>
                  <a:r>
                    <a:rPr lang="en-US" altLang="zh-CN" b="1">
                      <a:solidFill>
                        <a:srgbClr val="FF0000"/>
                      </a:solidFill>
                    </a:rPr>
                    <a:t>]</a:t>
                  </a:r>
                </a:p>
              </p:txBody>
            </p:sp>
          </p:grpSp>
          <p:sp>
            <p:nvSpPr>
              <p:cNvPr id="20" name="矩形 19"/>
              <p:cNvSpPr/>
              <p:nvPr/>
            </p:nvSpPr>
            <p:spPr>
              <a:xfrm>
                <a:off x="6818" y="3181"/>
                <a:ext cx="5496" cy="4392"/>
              </a:xfrm>
              <a:prstGeom prst="rect">
                <a:avLst/>
              </a:prstGeom>
              <a:noFill/>
              <a:ln w="25400" cmpd="sng">
                <a:solidFill>
                  <a:srgbClr val="F4A229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9" name="圆角矩形 18"/>
            <p:cNvSpPr/>
            <p:nvPr/>
          </p:nvSpPr>
          <p:spPr>
            <a:xfrm>
              <a:off x="9517" y="8583"/>
              <a:ext cx="3705" cy="623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判断流程图</a:t>
              </a:r>
            </a:p>
          </p:txBody>
        </p:sp>
      </p:grpSp>
      <p:grpSp>
        <p:nvGrpSpPr>
          <p:cNvPr id="16" name="组合 15"/>
          <p:cNvGrpSpPr/>
          <p:nvPr/>
        </p:nvGrpSpPr>
        <p:grpSpPr>
          <a:xfrm rot="1560000">
            <a:off x="8838565" y="3552190"/>
            <a:ext cx="2346960" cy="2040255"/>
            <a:chOff x="14620" y="6681"/>
            <a:chExt cx="3696" cy="3213"/>
          </a:xfrm>
        </p:grpSpPr>
        <p:grpSp>
          <p:nvGrpSpPr>
            <p:cNvPr id="55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1"/>
              </p:custDataLst>
            </p:nvPr>
          </p:nvGrpSpPr>
          <p:grpSpPr>
            <a:xfrm rot="20262996">
              <a:off x="16212" y="8902"/>
              <a:ext cx="2105" cy="993"/>
              <a:chOff x="3558970" y="2488798"/>
              <a:chExt cx="5067710" cy="2391582"/>
            </a:xfrm>
          </p:grpSpPr>
          <p:sp>
            <p:nvSpPr>
              <p:cNvPr id="56" name="ïs1îḋè"/>
              <p:cNvSpPr/>
              <p:nvPr/>
            </p:nvSpPr>
            <p:spPr bwMode="auto">
              <a:xfrm>
                <a:off x="3558970" y="2488798"/>
                <a:ext cx="5067710" cy="2391582"/>
              </a:xfrm>
              <a:custGeom>
                <a:avLst/>
                <a:gdLst>
                  <a:gd name="T0" fmla="*/ 715 w 720"/>
                  <a:gd name="T1" fmla="*/ 122 h 340"/>
                  <a:gd name="T2" fmla="*/ 689 w 720"/>
                  <a:gd name="T3" fmla="*/ 124 h 340"/>
                  <a:gd name="T4" fmla="*/ 666 w 720"/>
                  <a:gd name="T5" fmla="*/ 138 h 340"/>
                  <a:gd name="T6" fmla="*/ 668 w 720"/>
                  <a:gd name="T7" fmla="*/ 116 h 340"/>
                  <a:gd name="T8" fmla="*/ 647 w 720"/>
                  <a:gd name="T9" fmla="*/ 98 h 340"/>
                  <a:gd name="T10" fmla="*/ 631 w 720"/>
                  <a:gd name="T11" fmla="*/ 115 h 340"/>
                  <a:gd name="T12" fmla="*/ 632 w 720"/>
                  <a:gd name="T13" fmla="*/ 165 h 340"/>
                  <a:gd name="T14" fmla="*/ 628 w 720"/>
                  <a:gd name="T15" fmla="*/ 172 h 340"/>
                  <a:gd name="T16" fmla="*/ 594 w 720"/>
                  <a:gd name="T17" fmla="*/ 194 h 340"/>
                  <a:gd name="T18" fmla="*/ 577 w 720"/>
                  <a:gd name="T19" fmla="*/ 194 h 340"/>
                  <a:gd name="T20" fmla="*/ 576 w 720"/>
                  <a:gd name="T21" fmla="*/ 194 h 340"/>
                  <a:gd name="T22" fmla="*/ 561 w 720"/>
                  <a:gd name="T23" fmla="*/ 189 h 340"/>
                  <a:gd name="T24" fmla="*/ 552 w 720"/>
                  <a:gd name="T25" fmla="*/ 174 h 340"/>
                  <a:gd name="T26" fmla="*/ 531 w 720"/>
                  <a:gd name="T27" fmla="*/ 142 h 340"/>
                  <a:gd name="T28" fmla="*/ 468 w 720"/>
                  <a:gd name="T29" fmla="*/ 67 h 340"/>
                  <a:gd name="T30" fmla="*/ 474 w 720"/>
                  <a:gd name="T31" fmla="*/ 57 h 340"/>
                  <a:gd name="T32" fmla="*/ 470 w 720"/>
                  <a:gd name="T33" fmla="*/ 4 h 340"/>
                  <a:gd name="T34" fmla="*/ 436 w 720"/>
                  <a:gd name="T35" fmla="*/ 50 h 340"/>
                  <a:gd name="T36" fmla="*/ 330 w 720"/>
                  <a:gd name="T37" fmla="*/ 44 h 340"/>
                  <a:gd name="T38" fmla="*/ 314 w 720"/>
                  <a:gd name="T39" fmla="*/ 37 h 340"/>
                  <a:gd name="T40" fmla="*/ 290 w 720"/>
                  <a:gd name="T41" fmla="*/ 0 h 340"/>
                  <a:gd name="T42" fmla="*/ 272 w 720"/>
                  <a:gd name="T43" fmla="*/ 26 h 340"/>
                  <a:gd name="T44" fmla="*/ 281 w 720"/>
                  <a:gd name="T45" fmla="*/ 54 h 340"/>
                  <a:gd name="T46" fmla="*/ 267 w 720"/>
                  <a:gd name="T47" fmla="*/ 74 h 340"/>
                  <a:gd name="T48" fmla="*/ 224 w 720"/>
                  <a:gd name="T49" fmla="*/ 132 h 340"/>
                  <a:gd name="T50" fmla="*/ 209 w 720"/>
                  <a:gd name="T51" fmla="*/ 172 h 340"/>
                  <a:gd name="T52" fmla="*/ 194 w 720"/>
                  <a:gd name="T53" fmla="*/ 195 h 340"/>
                  <a:gd name="T54" fmla="*/ 180 w 720"/>
                  <a:gd name="T55" fmla="*/ 203 h 340"/>
                  <a:gd name="T56" fmla="*/ 176 w 720"/>
                  <a:gd name="T57" fmla="*/ 205 h 340"/>
                  <a:gd name="T58" fmla="*/ 123 w 720"/>
                  <a:gd name="T59" fmla="*/ 210 h 340"/>
                  <a:gd name="T60" fmla="*/ 105 w 720"/>
                  <a:gd name="T61" fmla="*/ 199 h 340"/>
                  <a:gd name="T62" fmla="*/ 105 w 720"/>
                  <a:gd name="T63" fmla="*/ 199 h 340"/>
                  <a:gd name="T64" fmla="*/ 61 w 720"/>
                  <a:gd name="T65" fmla="*/ 139 h 340"/>
                  <a:gd name="T66" fmla="*/ 40 w 720"/>
                  <a:gd name="T67" fmla="*/ 160 h 340"/>
                  <a:gd name="T68" fmla="*/ 66 w 720"/>
                  <a:gd name="T69" fmla="*/ 189 h 340"/>
                  <a:gd name="T70" fmla="*/ 35 w 720"/>
                  <a:gd name="T71" fmla="*/ 189 h 340"/>
                  <a:gd name="T72" fmla="*/ 22 w 720"/>
                  <a:gd name="T73" fmla="*/ 179 h 340"/>
                  <a:gd name="T74" fmla="*/ 5 w 720"/>
                  <a:gd name="T75" fmla="*/ 188 h 340"/>
                  <a:gd name="T76" fmla="*/ 4 w 720"/>
                  <a:gd name="T77" fmla="*/ 207 h 340"/>
                  <a:gd name="T78" fmla="*/ 78 w 720"/>
                  <a:gd name="T79" fmla="*/ 235 h 340"/>
                  <a:gd name="T80" fmla="*/ 90 w 720"/>
                  <a:gd name="T81" fmla="*/ 251 h 340"/>
                  <a:gd name="T82" fmla="*/ 130 w 720"/>
                  <a:gd name="T83" fmla="*/ 270 h 340"/>
                  <a:gd name="T84" fmla="*/ 177 w 720"/>
                  <a:gd name="T85" fmla="*/ 270 h 340"/>
                  <a:gd name="T86" fmla="*/ 210 w 720"/>
                  <a:gd name="T87" fmla="*/ 251 h 340"/>
                  <a:gd name="T88" fmla="*/ 224 w 720"/>
                  <a:gd name="T89" fmla="*/ 245 h 340"/>
                  <a:gd name="T90" fmla="*/ 323 w 720"/>
                  <a:gd name="T91" fmla="*/ 333 h 340"/>
                  <a:gd name="T92" fmla="*/ 351 w 720"/>
                  <a:gd name="T93" fmla="*/ 338 h 340"/>
                  <a:gd name="T94" fmla="*/ 382 w 720"/>
                  <a:gd name="T95" fmla="*/ 337 h 340"/>
                  <a:gd name="T96" fmla="*/ 460 w 720"/>
                  <a:gd name="T97" fmla="*/ 312 h 340"/>
                  <a:gd name="T98" fmla="*/ 527 w 720"/>
                  <a:gd name="T99" fmla="*/ 235 h 340"/>
                  <a:gd name="T100" fmla="*/ 558 w 720"/>
                  <a:gd name="T101" fmla="*/ 243 h 340"/>
                  <a:gd name="T102" fmla="*/ 637 w 720"/>
                  <a:gd name="T103" fmla="*/ 238 h 340"/>
                  <a:gd name="T104" fmla="*/ 678 w 720"/>
                  <a:gd name="T105" fmla="*/ 186 h 340"/>
                  <a:gd name="T106" fmla="*/ 689 w 720"/>
                  <a:gd name="T107" fmla="*/ 181 h 340"/>
                  <a:gd name="T108" fmla="*/ 716 w 720"/>
                  <a:gd name="T109" fmla="*/ 122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20" h="340">
                    <a:moveTo>
                      <a:pt x="716" y="122"/>
                    </a:moveTo>
                    <a:cubicBezTo>
                      <a:pt x="716" y="122"/>
                      <a:pt x="716" y="122"/>
                      <a:pt x="715" y="122"/>
                    </a:cubicBezTo>
                    <a:cubicBezTo>
                      <a:pt x="714" y="118"/>
                      <a:pt x="708" y="115"/>
                      <a:pt x="704" y="115"/>
                    </a:cubicBezTo>
                    <a:cubicBezTo>
                      <a:pt x="697" y="113"/>
                      <a:pt x="692" y="118"/>
                      <a:pt x="689" y="124"/>
                    </a:cubicBezTo>
                    <a:cubicBezTo>
                      <a:pt x="687" y="129"/>
                      <a:pt x="684" y="133"/>
                      <a:pt x="679" y="136"/>
                    </a:cubicBezTo>
                    <a:cubicBezTo>
                      <a:pt x="675" y="139"/>
                      <a:pt x="670" y="139"/>
                      <a:pt x="666" y="138"/>
                    </a:cubicBezTo>
                    <a:cubicBezTo>
                      <a:pt x="662" y="137"/>
                      <a:pt x="660" y="134"/>
                      <a:pt x="661" y="131"/>
                    </a:cubicBezTo>
                    <a:cubicBezTo>
                      <a:pt x="662" y="126"/>
                      <a:pt x="667" y="122"/>
                      <a:pt x="668" y="116"/>
                    </a:cubicBezTo>
                    <a:cubicBezTo>
                      <a:pt x="670" y="106"/>
                      <a:pt x="659" y="98"/>
                      <a:pt x="649" y="99"/>
                    </a:cubicBezTo>
                    <a:cubicBezTo>
                      <a:pt x="648" y="99"/>
                      <a:pt x="648" y="98"/>
                      <a:pt x="647" y="98"/>
                    </a:cubicBezTo>
                    <a:cubicBezTo>
                      <a:pt x="643" y="98"/>
                      <a:pt x="641" y="102"/>
                      <a:pt x="639" y="105"/>
                    </a:cubicBezTo>
                    <a:cubicBezTo>
                      <a:pt x="636" y="108"/>
                      <a:pt x="634" y="111"/>
                      <a:pt x="631" y="115"/>
                    </a:cubicBezTo>
                    <a:cubicBezTo>
                      <a:pt x="626" y="121"/>
                      <a:pt x="623" y="129"/>
                      <a:pt x="622" y="137"/>
                    </a:cubicBezTo>
                    <a:cubicBezTo>
                      <a:pt x="620" y="147"/>
                      <a:pt x="625" y="157"/>
                      <a:pt x="632" y="165"/>
                    </a:cubicBezTo>
                    <a:cubicBezTo>
                      <a:pt x="632" y="165"/>
                      <a:pt x="632" y="165"/>
                      <a:pt x="632" y="166"/>
                    </a:cubicBezTo>
                    <a:cubicBezTo>
                      <a:pt x="630" y="168"/>
                      <a:pt x="629" y="169"/>
                      <a:pt x="628" y="172"/>
                    </a:cubicBezTo>
                    <a:cubicBezTo>
                      <a:pt x="625" y="176"/>
                      <a:pt x="623" y="179"/>
                      <a:pt x="619" y="183"/>
                    </a:cubicBezTo>
                    <a:cubicBezTo>
                      <a:pt x="612" y="189"/>
                      <a:pt x="604" y="193"/>
                      <a:pt x="594" y="194"/>
                    </a:cubicBezTo>
                    <a:cubicBezTo>
                      <a:pt x="589" y="195"/>
                      <a:pt x="584" y="195"/>
                      <a:pt x="579" y="194"/>
                    </a:cubicBezTo>
                    <a:cubicBezTo>
                      <a:pt x="579" y="194"/>
                      <a:pt x="578" y="194"/>
                      <a:pt x="577" y="194"/>
                    </a:cubicBezTo>
                    <a:cubicBezTo>
                      <a:pt x="577" y="194"/>
                      <a:pt x="577" y="194"/>
                      <a:pt x="577" y="194"/>
                    </a:cubicBezTo>
                    <a:cubicBezTo>
                      <a:pt x="577" y="194"/>
                      <a:pt x="576" y="194"/>
                      <a:pt x="576" y="194"/>
                    </a:cubicBezTo>
                    <a:cubicBezTo>
                      <a:pt x="574" y="193"/>
                      <a:pt x="573" y="193"/>
                      <a:pt x="571" y="193"/>
                    </a:cubicBezTo>
                    <a:cubicBezTo>
                      <a:pt x="568" y="192"/>
                      <a:pt x="564" y="191"/>
                      <a:pt x="561" y="189"/>
                    </a:cubicBezTo>
                    <a:cubicBezTo>
                      <a:pt x="559" y="189"/>
                      <a:pt x="558" y="188"/>
                      <a:pt x="557" y="186"/>
                    </a:cubicBezTo>
                    <a:cubicBezTo>
                      <a:pt x="556" y="182"/>
                      <a:pt x="554" y="178"/>
                      <a:pt x="552" y="174"/>
                    </a:cubicBezTo>
                    <a:cubicBezTo>
                      <a:pt x="548" y="168"/>
                      <a:pt x="543" y="164"/>
                      <a:pt x="536" y="161"/>
                    </a:cubicBezTo>
                    <a:cubicBezTo>
                      <a:pt x="535" y="154"/>
                      <a:pt x="533" y="148"/>
                      <a:pt x="531" y="142"/>
                    </a:cubicBezTo>
                    <a:cubicBezTo>
                      <a:pt x="525" y="124"/>
                      <a:pt x="515" y="108"/>
                      <a:pt x="501" y="94"/>
                    </a:cubicBezTo>
                    <a:cubicBezTo>
                      <a:pt x="491" y="84"/>
                      <a:pt x="480" y="75"/>
                      <a:pt x="468" y="67"/>
                    </a:cubicBezTo>
                    <a:cubicBezTo>
                      <a:pt x="468" y="66"/>
                      <a:pt x="468" y="66"/>
                      <a:pt x="468" y="66"/>
                    </a:cubicBezTo>
                    <a:cubicBezTo>
                      <a:pt x="470" y="63"/>
                      <a:pt x="472" y="60"/>
                      <a:pt x="474" y="57"/>
                    </a:cubicBezTo>
                    <a:cubicBezTo>
                      <a:pt x="478" y="51"/>
                      <a:pt x="482" y="44"/>
                      <a:pt x="484" y="37"/>
                    </a:cubicBezTo>
                    <a:cubicBezTo>
                      <a:pt x="489" y="25"/>
                      <a:pt x="486" y="5"/>
                      <a:pt x="470" y="4"/>
                    </a:cubicBezTo>
                    <a:cubicBezTo>
                      <a:pt x="458" y="3"/>
                      <a:pt x="450" y="15"/>
                      <a:pt x="445" y="24"/>
                    </a:cubicBezTo>
                    <a:cubicBezTo>
                      <a:pt x="441" y="32"/>
                      <a:pt x="438" y="41"/>
                      <a:pt x="436" y="50"/>
                    </a:cubicBezTo>
                    <a:cubicBezTo>
                      <a:pt x="426" y="46"/>
                      <a:pt x="416" y="43"/>
                      <a:pt x="405" y="41"/>
                    </a:cubicBezTo>
                    <a:cubicBezTo>
                      <a:pt x="381" y="36"/>
                      <a:pt x="355" y="39"/>
                      <a:pt x="330" y="44"/>
                    </a:cubicBezTo>
                    <a:cubicBezTo>
                      <a:pt x="326" y="45"/>
                      <a:pt x="321" y="46"/>
                      <a:pt x="317" y="48"/>
                    </a:cubicBezTo>
                    <a:cubicBezTo>
                      <a:pt x="316" y="44"/>
                      <a:pt x="315" y="40"/>
                      <a:pt x="314" y="37"/>
                    </a:cubicBezTo>
                    <a:cubicBezTo>
                      <a:pt x="312" y="32"/>
                      <a:pt x="311" y="28"/>
                      <a:pt x="310" y="23"/>
                    </a:cubicBezTo>
                    <a:cubicBezTo>
                      <a:pt x="307" y="12"/>
                      <a:pt x="303" y="0"/>
                      <a:pt x="290" y="0"/>
                    </a:cubicBezTo>
                    <a:cubicBezTo>
                      <a:pt x="285" y="0"/>
                      <a:pt x="279" y="4"/>
                      <a:pt x="276" y="8"/>
                    </a:cubicBezTo>
                    <a:cubicBezTo>
                      <a:pt x="271" y="14"/>
                      <a:pt x="271" y="19"/>
                      <a:pt x="272" y="26"/>
                    </a:cubicBezTo>
                    <a:cubicBezTo>
                      <a:pt x="272" y="33"/>
                      <a:pt x="276" y="38"/>
                      <a:pt x="278" y="44"/>
                    </a:cubicBezTo>
                    <a:cubicBezTo>
                      <a:pt x="279" y="47"/>
                      <a:pt x="280" y="50"/>
                      <a:pt x="281" y="54"/>
                    </a:cubicBezTo>
                    <a:cubicBezTo>
                      <a:pt x="282" y="56"/>
                      <a:pt x="282" y="59"/>
                      <a:pt x="283" y="61"/>
                    </a:cubicBezTo>
                    <a:cubicBezTo>
                      <a:pt x="277" y="65"/>
                      <a:pt x="271" y="69"/>
                      <a:pt x="267" y="74"/>
                    </a:cubicBezTo>
                    <a:cubicBezTo>
                      <a:pt x="263" y="77"/>
                      <a:pt x="259" y="80"/>
                      <a:pt x="255" y="83"/>
                    </a:cubicBezTo>
                    <a:cubicBezTo>
                      <a:pt x="241" y="97"/>
                      <a:pt x="231" y="114"/>
                      <a:pt x="224" y="132"/>
                    </a:cubicBezTo>
                    <a:cubicBezTo>
                      <a:pt x="219" y="144"/>
                      <a:pt x="216" y="157"/>
                      <a:pt x="214" y="169"/>
                    </a:cubicBezTo>
                    <a:cubicBezTo>
                      <a:pt x="212" y="170"/>
                      <a:pt x="211" y="171"/>
                      <a:pt x="209" y="172"/>
                    </a:cubicBezTo>
                    <a:cubicBezTo>
                      <a:pt x="205" y="176"/>
                      <a:pt x="202" y="179"/>
                      <a:pt x="199" y="183"/>
                    </a:cubicBezTo>
                    <a:cubicBezTo>
                      <a:pt x="196" y="187"/>
                      <a:pt x="195" y="191"/>
                      <a:pt x="194" y="195"/>
                    </a:cubicBezTo>
                    <a:cubicBezTo>
                      <a:pt x="191" y="195"/>
                      <a:pt x="188" y="198"/>
                      <a:pt x="185" y="199"/>
                    </a:cubicBezTo>
                    <a:cubicBezTo>
                      <a:pt x="183" y="200"/>
                      <a:pt x="181" y="202"/>
                      <a:pt x="180" y="203"/>
                    </a:cubicBezTo>
                    <a:cubicBezTo>
                      <a:pt x="179" y="203"/>
                      <a:pt x="178" y="203"/>
                      <a:pt x="178" y="204"/>
                    </a:cubicBezTo>
                    <a:cubicBezTo>
                      <a:pt x="177" y="204"/>
                      <a:pt x="176" y="205"/>
                      <a:pt x="176" y="205"/>
                    </a:cubicBezTo>
                    <a:cubicBezTo>
                      <a:pt x="168" y="210"/>
                      <a:pt x="160" y="212"/>
                      <a:pt x="151" y="213"/>
                    </a:cubicBezTo>
                    <a:cubicBezTo>
                      <a:pt x="142" y="214"/>
                      <a:pt x="132" y="212"/>
                      <a:pt x="123" y="210"/>
                    </a:cubicBezTo>
                    <a:cubicBezTo>
                      <a:pt x="120" y="209"/>
                      <a:pt x="117" y="207"/>
                      <a:pt x="114" y="206"/>
                    </a:cubicBezTo>
                    <a:cubicBezTo>
                      <a:pt x="111" y="204"/>
                      <a:pt x="108" y="201"/>
                      <a:pt x="105" y="199"/>
                    </a:cubicBezTo>
                    <a:cubicBezTo>
                      <a:pt x="105" y="199"/>
                      <a:pt x="105" y="199"/>
                      <a:pt x="105" y="199"/>
                    </a:cubicBezTo>
                    <a:cubicBezTo>
                      <a:pt x="105" y="199"/>
                      <a:pt x="105" y="199"/>
                      <a:pt x="105" y="199"/>
                    </a:cubicBezTo>
                    <a:cubicBezTo>
                      <a:pt x="107" y="182"/>
                      <a:pt x="99" y="166"/>
                      <a:pt x="87" y="154"/>
                    </a:cubicBezTo>
                    <a:cubicBezTo>
                      <a:pt x="80" y="148"/>
                      <a:pt x="70" y="141"/>
                      <a:pt x="61" y="139"/>
                    </a:cubicBezTo>
                    <a:cubicBezTo>
                      <a:pt x="56" y="134"/>
                      <a:pt x="47" y="137"/>
                      <a:pt x="44" y="142"/>
                    </a:cubicBezTo>
                    <a:cubicBezTo>
                      <a:pt x="41" y="146"/>
                      <a:pt x="38" y="155"/>
                      <a:pt x="40" y="160"/>
                    </a:cubicBezTo>
                    <a:cubicBezTo>
                      <a:pt x="41" y="161"/>
                      <a:pt x="42" y="162"/>
                      <a:pt x="44" y="162"/>
                    </a:cubicBezTo>
                    <a:cubicBezTo>
                      <a:pt x="51" y="172"/>
                      <a:pt x="66" y="176"/>
                      <a:pt x="66" y="189"/>
                    </a:cubicBezTo>
                    <a:cubicBezTo>
                      <a:pt x="66" y="197"/>
                      <a:pt x="53" y="198"/>
                      <a:pt x="48" y="196"/>
                    </a:cubicBezTo>
                    <a:cubicBezTo>
                      <a:pt x="44" y="195"/>
                      <a:pt x="39" y="192"/>
                      <a:pt x="35" y="189"/>
                    </a:cubicBezTo>
                    <a:cubicBezTo>
                      <a:pt x="32" y="188"/>
                      <a:pt x="30" y="186"/>
                      <a:pt x="29" y="185"/>
                    </a:cubicBezTo>
                    <a:cubicBezTo>
                      <a:pt x="27" y="183"/>
                      <a:pt x="25" y="180"/>
                      <a:pt x="22" y="179"/>
                    </a:cubicBezTo>
                    <a:cubicBezTo>
                      <a:pt x="21" y="179"/>
                      <a:pt x="19" y="179"/>
                      <a:pt x="18" y="179"/>
                    </a:cubicBezTo>
                    <a:cubicBezTo>
                      <a:pt x="13" y="179"/>
                      <a:pt x="8" y="184"/>
                      <a:pt x="5" y="188"/>
                    </a:cubicBezTo>
                    <a:cubicBezTo>
                      <a:pt x="2" y="192"/>
                      <a:pt x="0" y="196"/>
                      <a:pt x="1" y="200"/>
                    </a:cubicBezTo>
                    <a:cubicBezTo>
                      <a:pt x="1" y="203"/>
                      <a:pt x="2" y="205"/>
                      <a:pt x="4" y="207"/>
                    </a:cubicBezTo>
                    <a:cubicBezTo>
                      <a:pt x="9" y="223"/>
                      <a:pt x="25" y="235"/>
                      <a:pt x="40" y="239"/>
                    </a:cubicBezTo>
                    <a:cubicBezTo>
                      <a:pt x="53" y="242"/>
                      <a:pt x="66" y="241"/>
                      <a:pt x="78" y="235"/>
                    </a:cubicBezTo>
                    <a:cubicBezTo>
                      <a:pt x="78" y="236"/>
                      <a:pt x="78" y="236"/>
                      <a:pt x="78" y="236"/>
                    </a:cubicBezTo>
                    <a:cubicBezTo>
                      <a:pt x="79" y="242"/>
                      <a:pt x="86" y="247"/>
                      <a:pt x="90" y="251"/>
                    </a:cubicBezTo>
                    <a:cubicBezTo>
                      <a:pt x="96" y="256"/>
                      <a:pt x="101" y="260"/>
                      <a:pt x="108" y="263"/>
                    </a:cubicBezTo>
                    <a:cubicBezTo>
                      <a:pt x="115" y="267"/>
                      <a:pt x="122" y="269"/>
                      <a:pt x="130" y="270"/>
                    </a:cubicBezTo>
                    <a:cubicBezTo>
                      <a:pt x="138" y="271"/>
                      <a:pt x="145" y="270"/>
                      <a:pt x="153" y="271"/>
                    </a:cubicBezTo>
                    <a:cubicBezTo>
                      <a:pt x="161" y="271"/>
                      <a:pt x="169" y="271"/>
                      <a:pt x="177" y="270"/>
                    </a:cubicBezTo>
                    <a:cubicBezTo>
                      <a:pt x="183" y="269"/>
                      <a:pt x="189" y="266"/>
                      <a:pt x="195" y="263"/>
                    </a:cubicBezTo>
                    <a:cubicBezTo>
                      <a:pt x="200" y="259"/>
                      <a:pt x="205" y="255"/>
                      <a:pt x="210" y="251"/>
                    </a:cubicBezTo>
                    <a:cubicBezTo>
                      <a:pt x="213" y="249"/>
                      <a:pt x="216" y="246"/>
                      <a:pt x="220" y="243"/>
                    </a:cubicBezTo>
                    <a:cubicBezTo>
                      <a:pt x="221" y="244"/>
                      <a:pt x="223" y="245"/>
                      <a:pt x="224" y="245"/>
                    </a:cubicBezTo>
                    <a:cubicBezTo>
                      <a:pt x="234" y="272"/>
                      <a:pt x="252" y="295"/>
                      <a:pt x="274" y="312"/>
                    </a:cubicBezTo>
                    <a:cubicBezTo>
                      <a:pt x="289" y="322"/>
                      <a:pt x="305" y="329"/>
                      <a:pt x="323" y="333"/>
                    </a:cubicBezTo>
                    <a:cubicBezTo>
                      <a:pt x="331" y="335"/>
                      <a:pt x="340" y="336"/>
                      <a:pt x="349" y="338"/>
                    </a:cubicBezTo>
                    <a:cubicBezTo>
                      <a:pt x="350" y="338"/>
                      <a:pt x="351" y="338"/>
                      <a:pt x="351" y="338"/>
                    </a:cubicBezTo>
                    <a:cubicBezTo>
                      <a:pt x="355" y="340"/>
                      <a:pt x="360" y="340"/>
                      <a:pt x="365" y="339"/>
                    </a:cubicBezTo>
                    <a:cubicBezTo>
                      <a:pt x="370" y="339"/>
                      <a:pt x="376" y="338"/>
                      <a:pt x="382" y="337"/>
                    </a:cubicBezTo>
                    <a:cubicBezTo>
                      <a:pt x="392" y="336"/>
                      <a:pt x="402" y="334"/>
                      <a:pt x="413" y="332"/>
                    </a:cubicBezTo>
                    <a:cubicBezTo>
                      <a:pt x="429" y="327"/>
                      <a:pt x="445" y="320"/>
                      <a:pt x="460" y="312"/>
                    </a:cubicBezTo>
                    <a:cubicBezTo>
                      <a:pt x="489" y="294"/>
                      <a:pt x="513" y="269"/>
                      <a:pt x="526" y="238"/>
                    </a:cubicBezTo>
                    <a:cubicBezTo>
                      <a:pt x="526" y="237"/>
                      <a:pt x="527" y="236"/>
                      <a:pt x="527" y="235"/>
                    </a:cubicBezTo>
                    <a:cubicBezTo>
                      <a:pt x="531" y="236"/>
                      <a:pt x="535" y="234"/>
                      <a:pt x="538" y="231"/>
                    </a:cubicBezTo>
                    <a:cubicBezTo>
                      <a:pt x="544" y="236"/>
                      <a:pt x="551" y="240"/>
                      <a:pt x="558" y="243"/>
                    </a:cubicBezTo>
                    <a:cubicBezTo>
                      <a:pt x="567" y="246"/>
                      <a:pt x="576" y="249"/>
                      <a:pt x="586" y="250"/>
                    </a:cubicBezTo>
                    <a:cubicBezTo>
                      <a:pt x="603" y="252"/>
                      <a:pt x="622" y="247"/>
                      <a:pt x="637" y="238"/>
                    </a:cubicBezTo>
                    <a:cubicBezTo>
                      <a:pt x="652" y="229"/>
                      <a:pt x="665" y="214"/>
                      <a:pt x="673" y="198"/>
                    </a:cubicBezTo>
                    <a:cubicBezTo>
                      <a:pt x="675" y="194"/>
                      <a:pt x="677" y="190"/>
                      <a:pt x="678" y="186"/>
                    </a:cubicBezTo>
                    <a:cubicBezTo>
                      <a:pt x="678" y="185"/>
                      <a:pt x="678" y="184"/>
                      <a:pt x="678" y="183"/>
                    </a:cubicBezTo>
                    <a:cubicBezTo>
                      <a:pt x="682" y="183"/>
                      <a:pt x="685" y="182"/>
                      <a:pt x="689" y="181"/>
                    </a:cubicBezTo>
                    <a:cubicBezTo>
                      <a:pt x="706" y="174"/>
                      <a:pt x="716" y="157"/>
                      <a:pt x="718" y="140"/>
                    </a:cubicBezTo>
                    <a:cubicBezTo>
                      <a:pt x="719" y="135"/>
                      <a:pt x="720" y="126"/>
                      <a:pt x="716" y="122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ïśľïďè"/>
              <p:cNvSpPr/>
              <p:nvPr/>
            </p:nvSpPr>
            <p:spPr bwMode="auto">
              <a:xfrm>
                <a:off x="5120612" y="2834324"/>
                <a:ext cx="2134129" cy="1720855"/>
              </a:xfrm>
              <a:custGeom>
                <a:avLst/>
                <a:gdLst>
                  <a:gd name="T0" fmla="*/ 277 w 303"/>
                  <a:gd name="T1" fmla="*/ 210 h 245"/>
                  <a:gd name="T2" fmla="*/ 277 w 303"/>
                  <a:gd name="T3" fmla="*/ 210 h 245"/>
                  <a:gd name="T4" fmla="*/ 249 w 303"/>
                  <a:gd name="T5" fmla="*/ 239 h 245"/>
                  <a:gd name="T6" fmla="*/ 246 w 303"/>
                  <a:gd name="T7" fmla="*/ 239 h 245"/>
                  <a:gd name="T8" fmla="*/ 231 w 303"/>
                  <a:gd name="T9" fmla="*/ 241 h 245"/>
                  <a:gd name="T10" fmla="*/ 203 w 303"/>
                  <a:gd name="T11" fmla="*/ 243 h 245"/>
                  <a:gd name="T12" fmla="*/ 176 w 303"/>
                  <a:gd name="T13" fmla="*/ 245 h 245"/>
                  <a:gd name="T14" fmla="*/ 147 w 303"/>
                  <a:gd name="T15" fmla="*/ 243 h 245"/>
                  <a:gd name="T16" fmla="*/ 90 w 303"/>
                  <a:gd name="T17" fmla="*/ 241 h 245"/>
                  <a:gd name="T18" fmla="*/ 44 w 303"/>
                  <a:gd name="T19" fmla="*/ 239 h 245"/>
                  <a:gd name="T20" fmla="*/ 14 w 303"/>
                  <a:gd name="T21" fmla="*/ 194 h 245"/>
                  <a:gd name="T22" fmla="*/ 13 w 303"/>
                  <a:gd name="T23" fmla="*/ 189 h 245"/>
                  <a:gd name="T24" fmla="*/ 12 w 303"/>
                  <a:gd name="T25" fmla="*/ 189 h 245"/>
                  <a:gd name="T26" fmla="*/ 5 w 303"/>
                  <a:gd name="T27" fmla="*/ 161 h 245"/>
                  <a:gd name="T28" fmla="*/ 18 w 303"/>
                  <a:gd name="T29" fmla="*/ 76 h 245"/>
                  <a:gd name="T30" fmla="*/ 45 w 303"/>
                  <a:gd name="T31" fmla="*/ 39 h 245"/>
                  <a:gd name="T32" fmla="*/ 78 w 303"/>
                  <a:gd name="T33" fmla="*/ 16 h 245"/>
                  <a:gd name="T34" fmla="*/ 94 w 303"/>
                  <a:gd name="T35" fmla="*/ 11 h 245"/>
                  <a:gd name="T36" fmla="*/ 148 w 303"/>
                  <a:gd name="T37" fmla="*/ 2 h 245"/>
                  <a:gd name="T38" fmla="*/ 249 w 303"/>
                  <a:gd name="T39" fmla="*/ 36 h 245"/>
                  <a:gd name="T40" fmla="*/ 291 w 303"/>
                  <a:gd name="T41" fmla="*/ 85 h 245"/>
                  <a:gd name="T42" fmla="*/ 302 w 303"/>
                  <a:gd name="T43" fmla="*/ 116 h 245"/>
                  <a:gd name="T44" fmla="*/ 302 w 303"/>
                  <a:gd name="T45" fmla="*/ 119 h 245"/>
                  <a:gd name="T46" fmla="*/ 303 w 303"/>
                  <a:gd name="T47" fmla="*/ 132 h 245"/>
                  <a:gd name="T48" fmla="*/ 299 w 303"/>
                  <a:gd name="T49" fmla="*/ 161 h 245"/>
                  <a:gd name="T50" fmla="*/ 277 w 303"/>
                  <a:gd name="T51" fmla="*/ 21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3" h="245">
                    <a:moveTo>
                      <a:pt x="277" y="210"/>
                    </a:moveTo>
                    <a:cubicBezTo>
                      <a:pt x="277" y="210"/>
                      <a:pt x="277" y="210"/>
                      <a:pt x="277" y="210"/>
                    </a:cubicBezTo>
                    <a:cubicBezTo>
                      <a:pt x="269" y="221"/>
                      <a:pt x="259" y="230"/>
                      <a:pt x="249" y="239"/>
                    </a:cubicBezTo>
                    <a:cubicBezTo>
                      <a:pt x="248" y="239"/>
                      <a:pt x="247" y="239"/>
                      <a:pt x="246" y="239"/>
                    </a:cubicBezTo>
                    <a:cubicBezTo>
                      <a:pt x="241" y="239"/>
                      <a:pt x="236" y="240"/>
                      <a:pt x="231" y="241"/>
                    </a:cubicBezTo>
                    <a:cubicBezTo>
                      <a:pt x="222" y="241"/>
                      <a:pt x="213" y="242"/>
                      <a:pt x="203" y="243"/>
                    </a:cubicBezTo>
                    <a:cubicBezTo>
                      <a:pt x="194" y="244"/>
                      <a:pt x="185" y="245"/>
                      <a:pt x="176" y="245"/>
                    </a:cubicBezTo>
                    <a:cubicBezTo>
                      <a:pt x="166" y="245"/>
                      <a:pt x="156" y="244"/>
                      <a:pt x="147" y="243"/>
                    </a:cubicBezTo>
                    <a:cubicBezTo>
                      <a:pt x="128" y="243"/>
                      <a:pt x="109" y="242"/>
                      <a:pt x="90" y="241"/>
                    </a:cubicBezTo>
                    <a:cubicBezTo>
                      <a:pt x="75" y="239"/>
                      <a:pt x="59" y="239"/>
                      <a:pt x="44" y="239"/>
                    </a:cubicBezTo>
                    <a:cubicBezTo>
                      <a:pt x="31" y="227"/>
                      <a:pt x="21" y="211"/>
                      <a:pt x="14" y="194"/>
                    </a:cubicBezTo>
                    <a:cubicBezTo>
                      <a:pt x="15" y="193"/>
                      <a:pt x="15" y="191"/>
                      <a:pt x="13" y="189"/>
                    </a:cubicBezTo>
                    <a:cubicBezTo>
                      <a:pt x="13" y="189"/>
                      <a:pt x="12" y="189"/>
                      <a:pt x="12" y="189"/>
                    </a:cubicBezTo>
                    <a:cubicBezTo>
                      <a:pt x="9" y="180"/>
                      <a:pt x="6" y="171"/>
                      <a:pt x="5" y="161"/>
                    </a:cubicBezTo>
                    <a:cubicBezTo>
                      <a:pt x="0" y="132"/>
                      <a:pt x="5" y="102"/>
                      <a:pt x="18" y="76"/>
                    </a:cubicBezTo>
                    <a:cubicBezTo>
                      <a:pt x="24" y="62"/>
                      <a:pt x="33" y="49"/>
                      <a:pt x="45" y="39"/>
                    </a:cubicBezTo>
                    <a:cubicBezTo>
                      <a:pt x="55" y="30"/>
                      <a:pt x="66" y="23"/>
                      <a:pt x="78" y="16"/>
                    </a:cubicBezTo>
                    <a:cubicBezTo>
                      <a:pt x="83" y="14"/>
                      <a:pt x="89" y="13"/>
                      <a:pt x="94" y="11"/>
                    </a:cubicBezTo>
                    <a:cubicBezTo>
                      <a:pt x="111" y="6"/>
                      <a:pt x="130" y="3"/>
                      <a:pt x="148" y="2"/>
                    </a:cubicBezTo>
                    <a:cubicBezTo>
                      <a:pt x="185" y="0"/>
                      <a:pt x="220" y="14"/>
                      <a:pt x="249" y="36"/>
                    </a:cubicBezTo>
                    <a:cubicBezTo>
                      <a:pt x="267" y="49"/>
                      <a:pt x="282" y="65"/>
                      <a:pt x="291" y="85"/>
                    </a:cubicBezTo>
                    <a:cubicBezTo>
                      <a:pt x="296" y="95"/>
                      <a:pt x="299" y="105"/>
                      <a:pt x="302" y="116"/>
                    </a:cubicBezTo>
                    <a:cubicBezTo>
                      <a:pt x="302" y="117"/>
                      <a:pt x="302" y="117"/>
                      <a:pt x="302" y="119"/>
                    </a:cubicBezTo>
                    <a:cubicBezTo>
                      <a:pt x="303" y="123"/>
                      <a:pt x="303" y="127"/>
                      <a:pt x="303" y="132"/>
                    </a:cubicBezTo>
                    <a:cubicBezTo>
                      <a:pt x="302" y="142"/>
                      <a:pt x="302" y="151"/>
                      <a:pt x="299" y="161"/>
                    </a:cubicBezTo>
                    <a:cubicBezTo>
                      <a:pt x="295" y="179"/>
                      <a:pt x="287" y="195"/>
                      <a:pt x="277" y="210"/>
                    </a:cubicBezTo>
                    <a:close/>
                  </a:path>
                </a:pathLst>
              </a:custGeom>
              <a:solidFill>
                <a:srgbClr val="FBBA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ïşliḓé"/>
              <p:cNvSpPr/>
              <p:nvPr/>
            </p:nvSpPr>
            <p:spPr bwMode="auto">
              <a:xfrm>
                <a:off x="5022373" y="3037575"/>
                <a:ext cx="514901" cy="1476954"/>
              </a:xfrm>
              <a:custGeom>
                <a:avLst/>
                <a:gdLst>
                  <a:gd name="T0" fmla="*/ 73 w 73"/>
                  <a:gd name="T1" fmla="*/ 210 h 210"/>
                  <a:gd name="T2" fmla="*/ 65 w 73"/>
                  <a:gd name="T3" fmla="*/ 210 h 210"/>
                  <a:gd name="T4" fmla="*/ 58 w 73"/>
                  <a:gd name="T5" fmla="*/ 210 h 210"/>
                  <a:gd name="T6" fmla="*/ 28 w 73"/>
                  <a:gd name="T7" fmla="*/ 165 h 210"/>
                  <a:gd name="T8" fmla="*/ 27 w 73"/>
                  <a:gd name="T9" fmla="*/ 160 h 210"/>
                  <a:gd name="T10" fmla="*/ 26 w 73"/>
                  <a:gd name="T11" fmla="*/ 160 h 210"/>
                  <a:gd name="T12" fmla="*/ 19 w 73"/>
                  <a:gd name="T13" fmla="*/ 132 h 210"/>
                  <a:gd name="T14" fmla="*/ 17 w 73"/>
                  <a:gd name="T15" fmla="*/ 110 h 210"/>
                  <a:gd name="T16" fmla="*/ 17 w 73"/>
                  <a:gd name="T17" fmla="*/ 109 h 210"/>
                  <a:gd name="T18" fmla="*/ 32 w 73"/>
                  <a:gd name="T19" fmla="*/ 47 h 210"/>
                  <a:gd name="T20" fmla="*/ 59 w 73"/>
                  <a:gd name="T21" fmla="*/ 10 h 210"/>
                  <a:gd name="T22" fmla="*/ 71 w 73"/>
                  <a:gd name="T23" fmla="*/ 0 h 210"/>
                  <a:gd name="T24" fmla="*/ 73 w 73"/>
                  <a:gd name="T2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" h="210">
                    <a:moveTo>
                      <a:pt x="73" y="210"/>
                    </a:moveTo>
                    <a:cubicBezTo>
                      <a:pt x="70" y="210"/>
                      <a:pt x="67" y="210"/>
                      <a:pt x="65" y="210"/>
                    </a:cubicBezTo>
                    <a:cubicBezTo>
                      <a:pt x="62" y="210"/>
                      <a:pt x="60" y="210"/>
                      <a:pt x="58" y="210"/>
                    </a:cubicBezTo>
                    <a:cubicBezTo>
                      <a:pt x="45" y="198"/>
                      <a:pt x="35" y="182"/>
                      <a:pt x="28" y="165"/>
                    </a:cubicBezTo>
                    <a:cubicBezTo>
                      <a:pt x="29" y="164"/>
                      <a:pt x="29" y="162"/>
                      <a:pt x="27" y="160"/>
                    </a:cubicBezTo>
                    <a:cubicBezTo>
                      <a:pt x="27" y="160"/>
                      <a:pt x="26" y="160"/>
                      <a:pt x="26" y="160"/>
                    </a:cubicBezTo>
                    <a:cubicBezTo>
                      <a:pt x="23" y="151"/>
                      <a:pt x="20" y="142"/>
                      <a:pt x="19" y="132"/>
                    </a:cubicBezTo>
                    <a:cubicBezTo>
                      <a:pt x="17" y="125"/>
                      <a:pt x="17" y="118"/>
                      <a:pt x="17" y="110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7" y="87"/>
                      <a:pt x="22" y="66"/>
                      <a:pt x="32" y="47"/>
                    </a:cubicBezTo>
                    <a:cubicBezTo>
                      <a:pt x="38" y="33"/>
                      <a:pt x="47" y="20"/>
                      <a:pt x="59" y="10"/>
                    </a:cubicBezTo>
                    <a:cubicBezTo>
                      <a:pt x="63" y="6"/>
                      <a:pt x="67" y="3"/>
                      <a:pt x="71" y="0"/>
                    </a:cubicBezTo>
                    <a:cubicBezTo>
                      <a:pt x="41" y="32"/>
                      <a:pt x="0" y="101"/>
                      <a:pt x="73" y="2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îšľîḍê"/>
              <p:cNvSpPr/>
              <p:nvPr/>
            </p:nvSpPr>
            <p:spPr bwMode="auto">
              <a:xfrm>
                <a:off x="6543364" y="2902074"/>
                <a:ext cx="1026416" cy="1626005"/>
              </a:xfrm>
              <a:custGeom>
                <a:avLst/>
                <a:gdLst>
                  <a:gd name="T0" fmla="*/ 75 w 146"/>
                  <a:gd name="T1" fmla="*/ 200 h 231"/>
                  <a:gd name="T2" fmla="*/ 75 w 146"/>
                  <a:gd name="T3" fmla="*/ 200 h 231"/>
                  <a:gd name="T4" fmla="*/ 47 w 146"/>
                  <a:gd name="T5" fmla="*/ 229 h 231"/>
                  <a:gd name="T6" fmla="*/ 44 w 146"/>
                  <a:gd name="T7" fmla="*/ 229 h 231"/>
                  <a:gd name="T8" fmla="*/ 29 w 146"/>
                  <a:gd name="T9" fmla="*/ 231 h 231"/>
                  <a:gd name="T10" fmla="*/ 23 w 146"/>
                  <a:gd name="T11" fmla="*/ 231 h 231"/>
                  <a:gd name="T12" fmla="*/ 0 w 146"/>
                  <a:gd name="T13" fmla="*/ 0 h 231"/>
                  <a:gd name="T14" fmla="*/ 47 w 146"/>
                  <a:gd name="T15" fmla="*/ 26 h 231"/>
                  <a:gd name="T16" fmla="*/ 89 w 146"/>
                  <a:gd name="T17" fmla="*/ 75 h 231"/>
                  <a:gd name="T18" fmla="*/ 100 w 146"/>
                  <a:gd name="T19" fmla="*/ 106 h 231"/>
                  <a:gd name="T20" fmla="*/ 100 w 146"/>
                  <a:gd name="T21" fmla="*/ 109 h 231"/>
                  <a:gd name="T22" fmla="*/ 101 w 146"/>
                  <a:gd name="T23" fmla="*/ 122 h 231"/>
                  <a:gd name="T24" fmla="*/ 97 w 146"/>
                  <a:gd name="T25" fmla="*/ 151 h 231"/>
                  <a:gd name="T26" fmla="*/ 75 w 146"/>
                  <a:gd name="T27" fmla="*/ 200 h 231"/>
                  <a:gd name="T28" fmla="*/ 0 w 146"/>
                  <a:gd name="T29" fmla="*/ 0 h 231"/>
                  <a:gd name="T30" fmla="*/ 0 w 146"/>
                  <a:gd name="T31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6" h="231">
                    <a:moveTo>
                      <a:pt x="75" y="200"/>
                    </a:moveTo>
                    <a:cubicBezTo>
                      <a:pt x="75" y="200"/>
                      <a:pt x="75" y="200"/>
                      <a:pt x="75" y="200"/>
                    </a:cubicBezTo>
                    <a:cubicBezTo>
                      <a:pt x="67" y="211"/>
                      <a:pt x="57" y="220"/>
                      <a:pt x="47" y="229"/>
                    </a:cubicBezTo>
                    <a:cubicBezTo>
                      <a:pt x="46" y="229"/>
                      <a:pt x="45" y="229"/>
                      <a:pt x="44" y="229"/>
                    </a:cubicBezTo>
                    <a:cubicBezTo>
                      <a:pt x="39" y="229"/>
                      <a:pt x="34" y="230"/>
                      <a:pt x="29" y="231"/>
                    </a:cubicBezTo>
                    <a:cubicBezTo>
                      <a:pt x="27" y="231"/>
                      <a:pt x="25" y="231"/>
                      <a:pt x="23" y="231"/>
                    </a:cubicBezTo>
                    <a:cubicBezTo>
                      <a:pt x="146" y="77"/>
                      <a:pt x="0" y="0"/>
                      <a:pt x="0" y="0"/>
                    </a:cubicBezTo>
                    <a:cubicBezTo>
                      <a:pt x="17" y="6"/>
                      <a:pt x="33" y="15"/>
                      <a:pt x="47" y="26"/>
                    </a:cubicBezTo>
                    <a:cubicBezTo>
                      <a:pt x="65" y="39"/>
                      <a:pt x="80" y="55"/>
                      <a:pt x="89" y="75"/>
                    </a:cubicBezTo>
                    <a:cubicBezTo>
                      <a:pt x="94" y="85"/>
                      <a:pt x="97" y="95"/>
                      <a:pt x="100" y="106"/>
                    </a:cubicBezTo>
                    <a:cubicBezTo>
                      <a:pt x="100" y="107"/>
                      <a:pt x="100" y="107"/>
                      <a:pt x="100" y="109"/>
                    </a:cubicBezTo>
                    <a:cubicBezTo>
                      <a:pt x="101" y="113"/>
                      <a:pt x="101" y="117"/>
                      <a:pt x="101" y="122"/>
                    </a:cubicBezTo>
                    <a:cubicBezTo>
                      <a:pt x="100" y="132"/>
                      <a:pt x="100" y="141"/>
                      <a:pt x="97" y="151"/>
                    </a:cubicBezTo>
                    <a:cubicBezTo>
                      <a:pt x="93" y="169"/>
                      <a:pt x="85" y="185"/>
                      <a:pt x="75" y="20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694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íṧḷídè"/>
              <p:cNvSpPr/>
              <p:nvPr/>
            </p:nvSpPr>
            <p:spPr bwMode="auto">
              <a:xfrm>
                <a:off x="5466137" y="4548404"/>
                <a:ext cx="1338066" cy="233739"/>
              </a:xfrm>
              <a:custGeom>
                <a:avLst/>
                <a:gdLst>
                  <a:gd name="T0" fmla="*/ 176 w 190"/>
                  <a:gd name="T1" fmla="*/ 10 h 33"/>
                  <a:gd name="T2" fmla="*/ 176 w 190"/>
                  <a:gd name="T3" fmla="*/ 10 h 33"/>
                  <a:gd name="T4" fmla="*/ 175 w 190"/>
                  <a:gd name="T5" fmla="*/ 8 h 33"/>
                  <a:gd name="T6" fmla="*/ 172 w 190"/>
                  <a:gd name="T7" fmla="*/ 6 h 33"/>
                  <a:gd name="T8" fmla="*/ 171 w 190"/>
                  <a:gd name="T9" fmla="*/ 6 h 33"/>
                  <a:gd name="T10" fmla="*/ 169 w 190"/>
                  <a:gd name="T11" fmla="*/ 6 h 33"/>
                  <a:gd name="T12" fmla="*/ 166 w 190"/>
                  <a:gd name="T13" fmla="*/ 7 h 33"/>
                  <a:gd name="T14" fmla="*/ 164 w 190"/>
                  <a:gd name="T15" fmla="*/ 11 h 33"/>
                  <a:gd name="T16" fmla="*/ 166 w 190"/>
                  <a:gd name="T17" fmla="*/ 14 h 33"/>
                  <a:gd name="T18" fmla="*/ 167 w 190"/>
                  <a:gd name="T19" fmla="*/ 15 h 33"/>
                  <a:gd name="T20" fmla="*/ 150 w 190"/>
                  <a:gd name="T21" fmla="*/ 22 h 33"/>
                  <a:gd name="T22" fmla="*/ 116 w 190"/>
                  <a:gd name="T23" fmla="*/ 30 h 33"/>
                  <a:gd name="T24" fmla="*/ 98 w 190"/>
                  <a:gd name="T25" fmla="*/ 32 h 33"/>
                  <a:gd name="T26" fmla="*/ 93 w 190"/>
                  <a:gd name="T27" fmla="*/ 33 h 33"/>
                  <a:gd name="T28" fmla="*/ 78 w 190"/>
                  <a:gd name="T29" fmla="*/ 31 h 33"/>
                  <a:gd name="T30" fmla="*/ 51 w 190"/>
                  <a:gd name="T31" fmla="*/ 27 h 33"/>
                  <a:gd name="T32" fmla="*/ 16 w 190"/>
                  <a:gd name="T33" fmla="*/ 12 h 33"/>
                  <a:gd name="T34" fmla="*/ 16 w 190"/>
                  <a:gd name="T35" fmla="*/ 12 h 33"/>
                  <a:gd name="T36" fmla="*/ 16 w 190"/>
                  <a:gd name="T37" fmla="*/ 3 h 33"/>
                  <a:gd name="T38" fmla="*/ 12 w 190"/>
                  <a:gd name="T39" fmla="*/ 9 h 33"/>
                  <a:gd name="T40" fmla="*/ 3 w 190"/>
                  <a:gd name="T41" fmla="*/ 2 h 33"/>
                  <a:gd name="T42" fmla="*/ 0 w 190"/>
                  <a:gd name="T43" fmla="*/ 0 h 33"/>
                  <a:gd name="T44" fmla="*/ 39 w 190"/>
                  <a:gd name="T45" fmla="*/ 2 h 33"/>
                  <a:gd name="T46" fmla="*/ 96 w 190"/>
                  <a:gd name="T47" fmla="*/ 6 h 33"/>
                  <a:gd name="T48" fmla="*/ 124 w 190"/>
                  <a:gd name="T49" fmla="*/ 8 h 33"/>
                  <a:gd name="T50" fmla="*/ 153 w 190"/>
                  <a:gd name="T51" fmla="*/ 6 h 33"/>
                  <a:gd name="T52" fmla="*/ 181 w 190"/>
                  <a:gd name="T53" fmla="*/ 3 h 33"/>
                  <a:gd name="T54" fmla="*/ 190 w 190"/>
                  <a:gd name="T55" fmla="*/ 2 h 33"/>
                  <a:gd name="T56" fmla="*/ 176 w 190"/>
                  <a:gd name="T57" fmla="*/ 1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90" h="33">
                    <a:moveTo>
                      <a:pt x="176" y="10"/>
                    </a:moveTo>
                    <a:cubicBezTo>
                      <a:pt x="176" y="10"/>
                      <a:pt x="176" y="10"/>
                      <a:pt x="176" y="10"/>
                    </a:cubicBezTo>
                    <a:cubicBezTo>
                      <a:pt x="176" y="9"/>
                      <a:pt x="175" y="8"/>
                      <a:pt x="175" y="8"/>
                    </a:cubicBezTo>
                    <a:cubicBezTo>
                      <a:pt x="174" y="7"/>
                      <a:pt x="173" y="6"/>
                      <a:pt x="172" y="6"/>
                    </a:cubicBezTo>
                    <a:cubicBezTo>
                      <a:pt x="172" y="6"/>
                      <a:pt x="171" y="6"/>
                      <a:pt x="171" y="6"/>
                    </a:cubicBezTo>
                    <a:cubicBezTo>
                      <a:pt x="170" y="6"/>
                      <a:pt x="170" y="6"/>
                      <a:pt x="169" y="6"/>
                    </a:cubicBezTo>
                    <a:cubicBezTo>
                      <a:pt x="168" y="6"/>
                      <a:pt x="166" y="6"/>
                      <a:pt x="166" y="7"/>
                    </a:cubicBezTo>
                    <a:cubicBezTo>
                      <a:pt x="165" y="8"/>
                      <a:pt x="164" y="9"/>
                      <a:pt x="164" y="11"/>
                    </a:cubicBezTo>
                    <a:cubicBezTo>
                      <a:pt x="164" y="12"/>
                      <a:pt x="165" y="13"/>
                      <a:pt x="166" y="14"/>
                    </a:cubicBezTo>
                    <a:cubicBezTo>
                      <a:pt x="166" y="15"/>
                      <a:pt x="166" y="15"/>
                      <a:pt x="167" y="15"/>
                    </a:cubicBezTo>
                    <a:cubicBezTo>
                      <a:pt x="161" y="18"/>
                      <a:pt x="156" y="20"/>
                      <a:pt x="150" y="22"/>
                    </a:cubicBezTo>
                    <a:cubicBezTo>
                      <a:pt x="139" y="26"/>
                      <a:pt x="127" y="28"/>
                      <a:pt x="116" y="30"/>
                    </a:cubicBezTo>
                    <a:cubicBezTo>
                      <a:pt x="110" y="31"/>
                      <a:pt x="104" y="32"/>
                      <a:pt x="98" y="32"/>
                    </a:cubicBezTo>
                    <a:cubicBezTo>
                      <a:pt x="96" y="33"/>
                      <a:pt x="95" y="33"/>
                      <a:pt x="93" y="33"/>
                    </a:cubicBezTo>
                    <a:cubicBezTo>
                      <a:pt x="88" y="32"/>
                      <a:pt x="83" y="32"/>
                      <a:pt x="78" y="31"/>
                    </a:cubicBezTo>
                    <a:cubicBezTo>
                      <a:pt x="69" y="30"/>
                      <a:pt x="60" y="29"/>
                      <a:pt x="51" y="27"/>
                    </a:cubicBezTo>
                    <a:cubicBezTo>
                      <a:pt x="38" y="23"/>
                      <a:pt x="27" y="19"/>
                      <a:pt x="16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22" y="12"/>
                      <a:pt x="22" y="3"/>
                      <a:pt x="16" y="3"/>
                    </a:cubicBezTo>
                    <a:cubicBezTo>
                      <a:pt x="12" y="3"/>
                      <a:pt x="11" y="7"/>
                      <a:pt x="12" y="9"/>
                    </a:cubicBezTo>
                    <a:cubicBezTo>
                      <a:pt x="9" y="7"/>
                      <a:pt x="6" y="5"/>
                      <a:pt x="3" y="2"/>
                    </a:cubicBezTo>
                    <a:cubicBezTo>
                      <a:pt x="2" y="2"/>
                      <a:pt x="1" y="1"/>
                      <a:pt x="0" y="0"/>
                    </a:cubicBezTo>
                    <a:cubicBezTo>
                      <a:pt x="13" y="1"/>
                      <a:pt x="26" y="1"/>
                      <a:pt x="39" y="2"/>
                    </a:cubicBezTo>
                    <a:cubicBezTo>
                      <a:pt x="58" y="4"/>
                      <a:pt x="77" y="5"/>
                      <a:pt x="96" y="6"/>
                    </a:cubicBezTo>
                    <a:cubicBezTo>
                      <a:pt x="105" y="7"/>
                      <a:pt x="115" y="7"/>
                      <a:pt x="124" y="8"/>
                    </a:cubicBezTo>
                    <a:cubicBezTo>
                      <a:pt x="134" y="8"/>
                      <a:pt x="143" y="7"/>
                      <a:pt x="153" y="6"/>
                    </a:cubicBezTo>
                    <a:cubicBezTo>
                      <a:pt x="162" y="5"/>
                      <a:pt x="172" y="4"/>
                      <a:pt x="181" y="3"/>
                    </a:cubicBezTo>
                    <a:cubicBezTo>
                      <a:pt x="184" y="3"/>
                      <a:pt x="187" y="2"/>
                      <a:pt x="190" y="2"/>
                    </a:cubicBezTo>
                    <a:cubicBezTo>
                      <a:pt x="185" y="5"/>
                      <a:pt x="181" y="8"/>
                      <a:pt x="176" y="10"/>
                    </a:cubicBezTo>
                    <a:close/>
                  </a:path>
                </a:pathLst>
              </a:custGeom>
              <a:solidFill>
                <a:srgbClr val="C46E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íṩliḋé"/>
              <p:cNvSpPr/>
              <p:nvPr/>
            </p:nvSpPr>
            <p:spPr bwMode="auto">
              <a:xfrm>
                <a:off x="5577924" y="4555179"/>
                <a:ext cx="1128041" cy="226964"/>
              </a:xfrm>
              <a:custGeom>
                <a:avLst/>
                <a:gdLst>
                  <a:gd name="T0" fmla="*/ 148 w 160"/>
                  <a:gd name="T1" fmla="*/ 10 h 32"/>
                  <a:gd name="T2" fmla="*/ 148 w 160"/>
                  <a:gd name="T3" fmla="*/ 10 h 32"/>
                  <a:gd name="T4" fmla="*/ 147 w 160"/>
                  <a:gd name="T5" fmla="*/ 7 h 32"/>
                  <a:gd name="T6" fmla="*/ 145 w 160"/>
                  <a:gd name="T7" fmla="*/ 6 h 32"/>
                  <a:gd name="T8" fmla="*/ 144 w 160"/>
                  <a:gd name="T9" fmla="*/ 6 h 32"/>
                  <a:gd name="T10" fmla="*/ 143 w 160"/>
                  <a:gd name="T11" fmla="*/ 6 h 32"/>
                  <a:gd name="T12" fmla="*/ 140 w 160"/>
                  <a:gd name="T13" fmla="*/ 7 h 32"/>
                  <a:gd name="T14" fmla="*/ 138 w 160"/>
                  <a:gd name="T15" fmla="*/ 10 h 32"/>
                  <a:gd name="T16" fmla="*/ 140 w 160"/>
                  <a:gd name="T17" fmla="*/ 14 h 32"/>
                  <a:gd name="T18" fmla="*/ 141 w 160"/>
                  <a:gd name="T19" fmla="*/ 15 h 32"/>
                  <a:gd name="T20" fmla="*/ 127 w 160"/>
                  <a:gd name="T21" fmla="*/ 21 h 32"/>
                  <a:gd name="T22" fmla="*/ 98 w 160"/>
                  <a:gd name="T23" fmla="*/ 29 h 32"/>
                  <a:gd name="T24" fmla="*/ 83 w 160"/>
                  <a:gd name="T25" fmla="*/ 31 h 32"/>
                  <a:gd name="T26" fmla="*/ 79 w 160"/>
                  <a:gd name="T27" fmla="*/ 32 h 32"/>
                  <a:gd name="T28" fmla="*/ 66 w 160"/>
                  <a:gd name="T29" fmla="*/ 31 h 32"/>
                  <a:gd name="T30" fmla="*/ 43 w 160"/>
                  <a:gd name="T31" fmla="*/ 26 h 32"/>
                  <a:gd name="T32" fmla="*/ 14 w 160"/>
                  <a:gd name="T33" fmla="*/ 12 h 32"/>
                  <a:gd name="T34" fmla="*/ 14 w 160"/>
                  <a:gd name="T35" fmla="*/ 12 h 32"/>
                  <a:gd name="T36" fmla="*/ 14 w 160"/>
                  <a:gd name="T37" fmla="*/ 3 h 32"/>
                  <a:gd name="T38" fmla="*/ 11 w 160"/>
                  <a:gd name="T39" fmla="*/ 9 h 32"/>
                  <a:gd name="T40" fmla="*/ 3 w 160"/>
                  <a:gd name="T41" fmla="*/ 2 h 32"/>
                  <a:gd name="T42" fmla="*/ 0 w 160"/>
                  <a:gd name="T43" fmla="*/ 0 h 32"/>
                  <a:gd name="T44" fmla="*/ 33 w 160"/>
                  <a:gd name="T45" fmla="*/ 2 h 32"/>
                  <a:gd name="T46" fmla="*/ 81 w 160"/>
                  <a:gd name="T47" fmla="*/ 6 h 32"/>
                  <a:gd name="T48" fmla="*/ 105 w 160"/>
                  <a:gd name="T49" fmla="*/ 7 h 32"/>
                  <a:gd name="T50" fmla="*/ 129 w 160"/>
                  <a:gd name="T51" fmla="*/ 6 h 32"/>
                  <a:gd name="T52" fmla="*/ 153 w 160"/>
                  <a:gd name="T53" fmla="*/ 3 h 32"/>
                  <a:gd name="T54" fmla="*/ 160 w 160"/>
                  <a:gd name="T55" fmla="*/ 2 h 32"/>
                  <a:gd name="T56" fmla="*/ 148 w 160"/>
                  <a:gd name="T57" fmla="*/ 1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60" h="32">
                    <a:moveTo>
                      <a:pt x="148" y="10"/>
                    </a:moveTo>
                    <a:cubicBezTo>
                      <a:pt x="148" y="10"/>
                      <a:pt x="148" y="10"/>
                      <a:pt x="148" y="10"/>
                    </a:cubicBezTo>
                    <a:cubicBezTo>
                      <a:pt x="148" y="9"/>
                      <a:pt x="148" y="8"/>
                      <a:pt x="147" y="7"/>
                    </a:cubicBezTo>
                    <a:cubicBezTo>
                      <a:pt x="147" y="7"/>
                      <a:pt x="146" y="6"/>
                      <a:pt x="145" y="6"/>
                    </a:cubicBezTo>
                    <a:cubicBezTo>
                      <a:pt x="145" y="6"/>
                      <a:pt x="144" y="6"/>
                      <a:pt x="144" y="6"/>
                    </a:cubicBezTo>
                    <a:cubicBezTo>
                      <a:pt x="143" y="6"/>
                      <a:pt x="143" y="6"/>
                      <a:pt x="143" y="6"/>
                    </a:cubicBezTo>
                    <a:cubicBezTo>
                      <a:pt x="142" y="5"/>
                      <a:pt x="140" y="6"/>
                      <a:pt x="140" y="7"/>
                    </a:cubicBezTo>
                    <a:cubicBezTo>
                      <a:pt x="139" y="8"/>
                      <a:pt x="138" y="9"/>
                      <a:pt x="138" y="10"/>
                    </a:cubicBezTo>
                    <a:cubicBezTo>
                      <a:pt x="138" y="12"/>
                      <a:pt x="139" y="13"/>
                      <a:pt x="140" y="14"/>
                    </a:cubicBezTo>
                    <a:cubicBezTo>
                      <a:pt x="140" y="14"/>
                      <a:pt x="140" y="14"/>
                      <a:pt x="141" y="15"/>
                    </a:cubicBezTo>
                    <a:cubicBezTo>
                      <a:pt x="136" y="17"/>
                      <a:pt x="131" y="19"/>
                      <a:pt x="127" y="21"/>
                    </a:cubicBezTo>
                    <a:cubicBezTo>
                      <a:pt x="117" y="25"/>
                      <a:pt x="108" y="27"/>
                      <a:pt x="98" y="29"/>
                    </a:cubicBezTo>
                    <a:cubicBezTo>
                      <a:pt x="93" y="30"/>
                      <a:pt x="88" y="31"/>
                      <a:pt x="83" y="31"/>
                    </a:cubicBezTo>
                    <a:cubicBezTo>
                      <a:pt x="81" y="32"/>
                      <a:pt x="80" y="32"/>
                      <a:pt x="79" y="32"/>
                    </a:cubicBezTo>
                    <a:cubicBezTo>
                      <a:pt x="75" y="31"/>
                      <a:pt x="70" y="31"/>
                      <a:pt x="66" y="31"/>
                    </a:cubicBezTo>
                    <a:cubicBezTo>
                      <a:pt x="59" y="30"/>
                      <a:pt x="51" y="28"/>
                      <a:pt x="43" y="26"/>
                    </a:cubicBezTo>
                    <a:cubicBezTo>
                      <a:pt x="33" y="23"/>
                      <a:pt x="23" y="18"/>
                      <a:pt x="14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9" y="12"/>
                      <a:pt x="19" y="3"/>
                      <a:pt x="14" y="3"/>
                    </a:cubicBezTo>
                    <a:cubicBezTo>
                      <a:pt x="11" y="3"/>
                      <a:pt x="10" y="7"/>
                      <a:pt x="11" y="9"/>
                    </a:cubicBezTo>
                    <a:cubicBezTo>
                      <a:pt x="8" y="7"/>
                      <a:pt x="5" y="5"/>
                      <a:pt x="3" y="2"/>
                    </a:cubicBezTo>
                    <a:cubicBezTo>
                      <a:pt x="2" y="1"/>
                      <a:pt x="1" y="1"/>
                      <a:pt x="0" y="0"/>
                    </a:cubicBezTo>
                    <a:cubicBezTo>
                      <a:pt x="11" y="1"/>
                      <a:pt x="22" y="1"/>
                      <a:pt x="33" y="2"/>
                    </a:cubicBezTo>
                    <a:cubicBezTo>
                      <a:pt x="49" y="4"/>
                      <a:pt x="65" y="5"/>
                      <a:pt x="81" y="6"/>
                    </a:cubicBezTo>
                    <a:cubicBezTo>
                      <a:pt x="89" y="6"/>
                      <a:pt x="97" y="7"/>
                      <a:pt x="105" y="7"/>
                    </a:cubicBezTo>
                    <a:cubicBezTo>
                      <a:pt x="113" y="8"/>
                      <a:pt x="121" y="7"/>
                      <a:pt x="129" y="6"/>
                    </a:cubicBezTo>
                    <a:cubicBezTo>
                      <a:pt x="137" y="5"/>
                      <a:pt x="145" y="4"/>
                      <a:pt x="153" y="3"/>
                    </a:cubicBezTo>
                    <a:cubicBezTo>
                      <a:pt x="155" y="3"/>
                      <a:pt x="158" y="2"/>
                      <a:pt x="160" y="2"/>
                    </a:cubicBezTo>
                    <a:cubicBezTo>
                      <a:pt x="156" y="5"/>
                      <a:pt x="152" y="8"/>
                      <a:pt x="148" y="10"/>
                    </a:cubicBezTo>
                    <a:close/>
                  </a:path>
                </a:pathLst>
              </a:custGeom>
              <a:solidFill>
                <a:srgbClr val="EB86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iṣliḍe"/>
              <p:cNvSpPr/>
              <p:nvPr/>
            </p:nvSpPr>
            <p:spPr bwMode="auto">
              <a:xfrm>
                <a:off x="5459362" y="3149364"/>
                <a:ext cx="1392266" cy="416665"/>
              </a:xfrm>
              <a:custGeom>
                <a:avLst/>
                <a:gdLst>
                  <a:gd name="T0" fmla="*/ 197 w 198"/>
                  <a:gd name="T1" fmla="*/ 31 h 59"/>
                  <a:gd name="T2" fmla="*/ 197 w 198"/>
                  <a:gd name="T3" fmla="*/ 31 h 59"/>
                  <a:gd name="T4" fmla="*/ 186 w 198"/>
                  <a:gd name="T5" fmla="*/ 49 h 59"/>
                  <a:gd name="T6" fmla="*/ 163 w 198"/>
                  <a:gd name="T7" fmla="*/ 55 h 59"/>
                  <a:gd name="T8" fmla="*/ 148 w 198"/>
                  <a:gd name="T9" fmla="*/ 55 h 59"/>
                  <a:gd name="T10" fmla="*/ 129 w 198"/>
                  <a:gd name="T11" fmla="*/ 55 h 59"/>
                  <a:gd name="T12" fmla="*/ 89 w 198"/>
                  <a:gd name="T13" fmla="*/ 57 h 59"/>
                  <a:gd name="T14" fmla="*/ 50 w 198"/>
                  <a:gd name="T15" fmla="*/ 58 h 59"/>
                  <a:gd name="T16" fmla="*/ 24 w 198"/>
                  <a:gd name="T17" fmla="*/ 59 h 59"/>
                  <a:gd name="T18" fmla="*/ 12 w 198"/>
                  <a:gd name="T19" fmla="*/ 57 h 59"/>
                  <a:gd name="T20" fmla="*/ 3 w 198"/>
                  <a:gd name="T21" fmla="*/ 53 h 59"/>
                  <a:gd name="T22" fmla="*/ 0 w 198"/>
                  <a:gd name="T23" fmla="*/ 41 h 59"/>
                  <a:gd name="T24" fmla="*/ 9 w 198"/>
                  <a:gd name="T25" fmla="*/ 14 h 59"/>
                  <a:gd name="T26" fmla="*/ 29 w 198"/>
                  <a:gd name="T27" fmla="*/ 3 h 59"/>
                  <a:gd name="T28" fmla="*/ 58 w 198"/>
                  <a:gd name="T29" fmla="*/ 3 h 59"/>
                  <a:gd name="T30" fmla="*/ 101 w 198"/>
                  <a:gd name="T31" fmla="*/ 2 h 59"/>
                  <a:gd name="T32" fmla="*/ 143 w 198"/>
                  <a:gd name="T33" fmla="*/ 5 h 59"/>
                  <a:gd name="T34" fmla="*/ 152 w 198"/>
                  <a:gd name="T35" fmla="*/ 4 h 59"/>
                  <a:gd name="T36" fmla="*/ 162 w 198"/>
                  <a:gd name="T37" fmla="*/ 4 h 59"/>
                  <a:gd name="T38" fmla="*/ 171 w 198"/>
                  <a:gd name="T39" fmla="*/ 3 h 59"/>
                  <a:gd name="T40" fmla="*/ 177 w 198"/>
                  <a:gd name="T41" fmla="*/ 3 h 59"/>
                  <a:gd name="T42" fmla="*/ 184 w 198"/>
                  <a:gd name="T43" fmla="*/ 5 h 59"/>
                  <a:gd name="T44" fmla="*/ 193 w 198"/>
                  <a:gd name="T45" fmla="*/ 11 h 59"/>
                  <a:gd name="T46" fmla="*/ 197 w 198"/>
                  <a:gd name="T47" fmla="*/ 3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8" h="59">
                    <a:moveTo>
                      <a:pt x="197" y="31"/>
                    </a:moveTo>
                    <a:cubicBezTo>
                      <a:pt x="197" y="31"/>
                      <a:pt x="197" y="31"/>
                      <a:pt x="197" y="31"/>
                    </a:cubicBezTo>
                    <a:cubicBezTo>
                      <a:pt x="196" y="38"/>
                      <a:pt x="192" y="44"/>
                      <a:pt x="186" y="49"/>
                    </a:cubicBezTo>
                    <a:cubicBezTo>
                      <a:pt x="180" y="53"/>
                      <a:pt x="171" y="54"/>
                      <a:pt x="163" y="55"/>
                    </a:cubicBezTo>
                    <a:cubicBezTo>
                      <a:pt x="159" y="53"/>
                      <a:pt x="153" y="55"/>
                      <a:pt x="148" y="55"/>
                    </a:cubicBezTo>
                    <a:cubicBezTo>
                      <a:pt x="142" y="55"/>
                      <a:pt x="135" y="55"/>
                      <a:pt x="129" y="55"/>
                    </a:cubicBezTo>
                    <a:cubicBezTo>
                      <a:pt x="116" y="55"/>
                      <a:pt x="102" y="56"/>
                      <a:pt x="89" y="57"/>
                    </a:cubicBezTo>
                    <a:cubicBezTo>
                      <a:pt x="76" y="57"/>
                      <a:pt x="63" y="58"/>
                      <a:pt x="50" y="58"/>
                    </a:cubicBezTo>
                    <a:cubicBezTo>
                      <a:pt x="41" y="58"/>
                      <a:pt x="32" y="59"/>
                      <a:pt x="24" y="59"/>
                    </a:cubicBezTo>
                    <a:cubicBezTo>
                      <a:pt x="20" y="58"/>
                      <a:pt x="16" y="58"/>
                      <a:pt x="12" y="57"/>
                    </a:cubicBezTo>
                    <a:cubicBezTo>
                      <a:pt x="9" y="56"/>
                      <a:pt x="5" y="55"/>
                      <a:pt x="3" y="53"/>
                    </a:cubicBezTo>
                    <a:cubicBezTo>
                      <a:pt x="0" y="50"/>
                      <a:pt x="0" y="44"/>
                      <a:pt x="0" y="41"/>
                    </a:cubicBezTo>
                    <a:cubicBezTo>
                      <a:pt x="0" y="30"/>
                      <a:pt x="2" y="22"/>
                      <a:pt x="9" y="14"/>
                    </a:cubicBezTo>
                    <a:cubicBezTo>
                      <a:pt x="15" y="8"/>
                      <a:pt x="22" y="6"/>
                      <a:pt x="29" y="3"/>
                    </a:cubicBezTo>
                    <a:cubicBezTo>
                      <a:pt x="39" y="4"/>
                      <a:pt x="48" y="4"/>
                      <a:pt x="58" y="3"/>
                    </a:cubicBezTo>
                    <a:cubicBezTo>
                      <a:pt x="72" y="2"/>
                      <a:pt x="86" y="0"/>
                      <a:pt x="101" y="2"/>
                    </a:cubicBezTo>
                    <a:cubicBezTo>
                      <a:pt x="115" y="4"/>
                      <a:pt x="129" y="4"/>
                      <a:pt x="143" y="5"/>
                    </a:cubicBezTo>
                    <a:cubicBezTo>
                      <a:pt x="146" y="5"/>
                      <a:pt x="149" y="4"/>
                      <a:pt x="152" y="4"/>
                    </a:cubicBezTo>
                    <a:cubicBezTo>
                      <a:pt x="155" y="4"/>
                      <a:pt x="158" y="4"/>
                      <a:pt x="162" y="4"/>
                    </a:cubicBezTo>
                    <a:cubicBezTo>
                      <a:pt x="165" y="4"/>
                      <a:pt x="168" y="3"/>
                      <a:pt x="171" y="3"/>
                    </a:cubicBezTo>
                    <a:cubicBezTo>
                      <a:pt x="173" y="3"/>
                      <a:pt x="175" y="3"/>
                      <a:pt x="177" y="3"/>
                    </a:cubicBezTo>
                    <a:cubicBezTo>
                      <a:pt x="179" y="4"/>
                      <a:pt x="182" y="5"/>
                      <a:pt x="184" y="5"/>
                    </a:cubicBezTo>
                    <a:cubicBezTo>
                      <a:pt x="187" y="7"/>
                      <a:pt x="190" y="8"/>
                      <a:pt x="193" y="11"/>
                    </a:cubicBezTo>
                    <a:cubicBezTo>
                      <a:pt x="198" y="16"/>
                      <a:pt x="198" y="24"/>
                      <a:pt x="197" y="31"/>
                    </a:cubicBezTo>
                    <a:close/>
                  </a:path>
                </a:pathLst>
              </a:custGeom>
              <a:solidFill>
                <a:srgbClr val="8A63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" name="iŝľîdê"/>
              <p:cNvSpPr/>
              <p:nvPr/>
            </p:nvSpPr>
            <p:spPr bwMode="auto">
              <a:xfrm>
                <a:off x="6191064" y="3169689"/>
                <a:ext cx="660565" cy="372626"/>
              </a:xfrm>
              <a:custGeom>
                <a:avLst/>
                <a:gdLst>
                  <a:gd name="T0" fmla="*/ 93 w 94"/>
                  <a:gd name="T1" fmla="*/ 28 h 53"/>
                  <a:gd name="T2" fmla="*/ 93 w 94"/>
                  <a:gd name="T3" fmla="*/ 28 h 53"/>
                  <a:gd name="T4" fmla="*/ 82 w 94"/>
                  <a:gd name="T5" fmla="*/ 46 h 53"/>
                  <a:gd name="T6" fmla="*/ 59 w 94"/>
                  <a:gd name="T7" fmla="*/ 52 h 53"/>
                  <a:gd name="T8" fmla="*/ 44 w 94"/>
                  <a:gd name="T9" fmla="*/ 52 h 53"/>
                  <a:gd name="T10" fmla="*/ 25 w 94"/>
                  <a:gd name="T11" fmla="*/ 52 h 53"/>
                  <a:gd name="T12" fmla="*/ 0 w 94"/>
                  <a:gd name="T13" fmla="*/ 53 h 53"/>
                  <a:gd name="T14" fmla="*/ 21 w 94"/>
                  <a:gd name="T15" fmla="*/ 45 h 53"/>
                  <a:gd name="T16" fmla="*/ 71 w 94"/>
                  <a:gd name="T17" fmla="*/ 0 h 53"/>
                  <a:gd name="T18" fmla="*/ 73 w 94"/>
                  <a:gd name="T19" fmla="*/ 0 h 53"/>
                  <a:gd name="T20" fmla="*/ 80 w 94"/>
                  <a:gd name="T21" fmla="*/ 2 h 53"/>
                  <a:gd name="T22" fmla="*/ 89 w 94"/>
                  <a:gd name="T23" fmla="*/ 8 h 53"/>
                  <a:gd name="T24" fmla="*/ 93 w 94"/>
                  <a:gd name="T25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53">
                    <a:moveTo>
                      <a:pt x="93" y="28"/>
                    </a:moveTo>
                    <a:cubicBezTo>
                      <a:pt x="93" y="28"/>
                      <a:pt x="93" y="28"/>
                      <a:pt x="93" y="28"/>
                    </a:cubicBezTo>
                    <a:cubicBezTo>
                      <a:pt x="92" y="35"/>
                      <a:pt x="88" y="41"/>
                      <a:pt x="82" y="46"/>
                    </a:cubicBezTo>
                    <a:cubicBezTo>
                      <a:pt x="76" y="50"/>
                      <a:pt x="67" y="51"/>
                      <a:pt x="59" y="52"/>
                    </a:cubicBezTo>
                    <a:cubicBezTo>
                      <a:pt x="55" y="50"/>
                      <a:pt x="49" y="52"/>
                      <a:pt x="44" y="52"/>
                    </a:cubicBezTo>
                    <a:cubicBezTo>
                      <a:pt x="38" y="52"/>
                      <a:pt x="31" y="52"/>
                      <a:pt x="25" y="52"/>
                    </a:cubicBezTo>
                    <a:cubicBezTo>
                      <a:pt x="17" y="52"/>
                      <a:pt x="9" y="52"/>
                      <a:pt x="0" y="53"/>
                    </a:cubicBezTo>
                    <a:cubicBezTo>
                      <a:pt x="2" y="51"/>
                      <a:pt x="9" y="48"/>
                      <a:pt x="21" y="45"/>
                    </a:cubicBezTo>
                    <a:cubicBezTo>
                      <a:pt x="75" y="34"/>
                      <a:pt x="75" y="12"/>
                      <a:pt x="71" y="0"/>
                    </a:cubicBezTo>
                    <a:cubicBezTo>
                      <a:pt x="72" y="0"/>
                      <a:pt x="72" y="0"/>
                      <a:pt x="73" y="0"/>
                    </a:cubicBezTo>
                    <a:cubicBezTo>
                      <a:pt x="75" y="1"/>
                      <a:pt x="78" y="2"/>
                      <a:pt x="80" y="2"/>
                    </a:cubicBezTo>
                    <a:cubicBezTo>
                      <a:pt x="83" y="4"/>
                      <a:pt x="86" y="5"/>
                      <a:pt x="89" y="8"/>
                    </a:cubicBezTo>
                    <a:cubicBezTo>
                      <a:pt x="94" y="13"/>
                      <a:pt x="94" y="21"/>
                      <a:pt x="93" y="28"/>
                    </a:cubicBezTo>
                    <a:close/>
                  </a:path>
                </a:pathLst>
              </a:custGeom>
              <a:solidFill>
                <a:srgbClr val="6B4A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iSľíďé"/>
              <p:cNvSpPr/>
              <p:nvPr/>
            </p:nvSpPr>
            <p:spPr bwMode="auto">
              <a:xfrm>
                <a:off x="8013542" y="3274700"/>
                <a:ext cx="528451" cy="423440"/>
              </a:xfrm>
              <a:custGeom>
                <a:avLst/>
                <a:gdLst>
                  <a:gd name="T0" fmla="*/ 71 w 75"/>
                  <a:gd name="T1" fmla="*/ 32 h 60"/>
                  <a:gd name="T2" fmla="*/ 71 w 75"/>
                  <a:gd name="T3" fmla="*/ 32 h 60"/>
                  <a:gd name="T4" fmla="*/ 58 w 75"/>
                  <a:gd name="T5" fmla="*/ 52 h 60"/>
                  <a:gd name="T6" fmla="*/ 23 w 75"/>
                  <a:gd name="T7" fmla="*/ 54 h 60"/>
                  <a:gd name="T8" fmla="*/ 2 w 75"/>
                  <a:gd name="T9" fmla="*/ 25 h 60"/>
                  <a:gd name="T10" fmla="*/ 10 w 75"/>
                  <a:gd name="T11" fmla="*/ 6 h 60"/>
                  <a:gd name="T12" fmla="*/ 14 w 75"/>
                  <a:gd name="T13" fmla="*/ 0 h 60"/>
                  <a:gd name="T14" fmla="*/ 16 w 75"/>
                  <a:gd name="T15" fmla="*/ 1 h 60"/>
                  <a:gd name="T16" fmla="*/ 18 w 75"/>
                  <a:gd name="T17" fmla="*/ 1 h 60"/>
                  <a:gd name="T18" fmla="*/ 20 w 75"/>
                  <a:gd name="T19" fmla="*/ 1 h 60"/>
                  <a:gd name="T20" fmla="*/ 21 w 75"/>
                  <a:gd name="T21" fmla="*/ 2 h 60"/>
                  <a:gd name="T22" fmla="*/ 21 w 75"/>
                  <a:gd name="T23" fmla="*/ 2 h 60"/>
                  <a:gd name="T24" fmla="*/ 21 w 75"/>
                  <a:gd name="T25" fmla="*/ 3 h 60"/>
                  <a:gd name="T26" fmla="*/ 18 w 75"/>
                  <a:gd name="T27" fmla="*/ 9 h 60"/>
                  <a:gd name="T28" fmla="*/ 15 w 75"/>
                  <a:gd name="T29" fmla="*/ 26 h 60"/>
                  <a:gd name="T30" fmla="*/ 29 w 75"/>
                  <a:gd name="T31" fmla="*/ 39 h 60"/>
                  <a:gd name="T32" fmla="*/ 60 w 75"/>
                  <a:gd name="T33" fmla="*/ 30 h 60"/>
                  <a:gd name="T34" fmla="*/ 70 w 75"/>
                  <a:gd name="T35" fmla="*/ 16 h 60"/>
                  <a:gd name="T36" fmla="*/ 70 w 75"/>
                  <a:gd name="T37" fmla="*/ 15 h 60"/>
                  <a:gd name="T38" fmla="*/ 71 w 75"/>
                  <a:gd name="T39" fmla="*/ 15 h 60"/>
                  <a:gd name="T40" fmla="*/ 74 w 75"/>
                  <a:gd name="T41" fmla="*/ 16 h 60"/>
                  <a:gd name="T42" fmla="*/ 75 w 75"/>
                  <a:gd name="T43" fmla="*/ 17 h 60"/>
                  <a:gd name="T44" fmla="*/ 74 w 75"/>
                  <a:gd name="T45" fmla="*/ 20 h 60"/>
                  <a:gd name="T46" fmla="*/ 71 w 75"/>
                  <a:gd name="T47" fmla="*/ 3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5" h="60">
                    <a:moveTo>
                      <a:pt x="71" y="32"/>
                    </a:moveTo>
                    <a:cubicBezTo>
                      <a:pt x="71" y="32"/>
                      <a:pt x="71" y="32"/>
                      <a:pt x="71" y="32"/>
                    </a:cubicBezTo>
                    <a:cubicBezTo>
                      <a:pt x="68" y="40"/>
                      <a:pt x="64" y="47"/>
                      <a:pt x="58" y="52"/>
                    </a:cubicBezTo>
                    <a:cubicBezTo>
                      <a:pt x="48" y="60"/>
                      <a:pt x="34" y="59"/>
                      <a:pt x="23" y="54"/>
                    </a:cubicBezTo>
                    <a:cubicBezTo>
                      <a:pt x="12" y="49"/>
                      <a:pt x="0" y="38"/>
                      <a:pt x="2" y="25"/>
                    </a:cubicBezTo>
                    <a:cubicBezTo>
                      <a:pt x="3" y="18"/>
                      <a:pt x="7" y="12"/>
                      <a:pt x="10" y="6"/>
                    </a:cubicBezTo>
                    <a:cubicBezTo>
                      <a:pt x="11" y="4"/>
                      <a:pt x="13" y="2"/>
                      <a:pt x="14" y="0"/>
                    </a:cubicBezTo>
                    <a:cubicBezTo>
                      <a:pt x="14" y="0"/>
                      <a:pt x="15" y="0"/>
                      <a:pt x="16" y="1"/>
                    </a:cubicBezTo>
                    <a:cubicBezTo>
                      <a:pt x="16" y="1"/>
                      <a:pt x="18" y="1"/>
                      <a:pt x="18" y="1"/>
                    </a:cubicBezTo>
                    <a:cubicBezTo>
                      <a:pt x="18" y="1"/>
                      <a:pt x="19" y="1"/>
                      <a:pt x="20" y="1"/>
                    </a:cubicBezTo>
                    <a:cubicBezTo>
                      <a:pt x="20" y="1"/>
                      <a:pt x="22" y="2"/>
                      <a:pt x="21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1" y="2"/>
                      <a:pt x="21" y="3"/>
                      <a:pt x="21" y="3"/>
                    </a:cubicBezTo>
                    <a:cubicBezTo>
                      <a:pt x="20" y="5"/>
                      <a:pt x="19" y="7"/>
                      <a:pt x="18" y="9"/>
                    </a:cubicBezTo>
                    <a:cubicBezTo>
                      <a:pt x="14" y="14"/>
                      <a:pt x="13" y="20"/>
                      <a:pt x="15" y="26"/>
                    </a:cubicBezTo>
                    <a:cubicBezTo>
                      <a:pt x="17" y="32"/>
                      <a:pt x="22" y="37"/>
                      <a:pt x="29" y="39"/>
                    </a:cubicBezTo>
                    <a:cubicBezTo>
                      <a:pt x="40" y="43"/>
                      <a:pt x="53" y="38"/>
                      <a:pt x="60" y="30"/>
                    </a:cubicBezTo>
                    <a:cubicBezTo>
                      <a:pt x="64" y="25"/>
                      <a:pt x="67" y="20"/>
                      <a:pt x="70" y="16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70" y="15"/>
                      <a:pt x="70" y="15"/>
                      <a:pt x="71" y="15"/>
                    </a:cubicBezTo>
                    <a:cubicBezTo>
                      <a:pt x="72" y="16"/>
                      <a:pt x="73" y="16"/>
                      <a:pt x="74" y="16"/>
                    </a:cubicBezTo>
                    <a:cubicBezTo>
                      <a:pt x="74" y="16"/>
                      <a:pt x="74" y="16"/>
                      <a:pt x="75" y="17"/>
                    </a:cubicBezTo>
                    <a:cubicBezTo>
                      <a:pt x="74" y="18"/>
                      <a:pt x="74" y="19"/>
                      <a:pt x="74" y="20"/>
                    </a:cubicBezTo>
                    <a:cubicBezTo>
                      <a:pt x="72" y="24"/>
                      <a:pt x="72" y="28"/>
                      <a:pt x="71" y="32"/>
                    </a:cubicBezTo>
                    <a:close/>
                  </a:path>
                </a:pathLst>
              </a:custGeom>
              <a:solidFill>
                <a:srgbClr val="FFC9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îśḷiḋè"/>
              <p:cNvSpPr/>
              <p:nvPr/>
            </p:nvSpPr>
            <p:spPr bwMode="auto">
              <a:xfrm>
                <a:off x="8274379" y="3383101"/>
                <a:ext cx="267614" cy="308264"/>
              </a:xfrm>
              <a:custGeom>
                <a:avLst/>
                <a:gdLst>
                  <a:gd name="T0" fmla="*/ 34 w 38"/>
                  <a:gd name="T1" fmla="*/ 17 h 44"/>
                  <a:gd name="T2" fmla="*/ 34 w 38"/>
                  <a:gd name="T3" fmla="*/ 17 h 44"/>
                  <a:gd name="T4" fmla="*/ 21 w 38"/>
                  <a:gd name="T5" fmla="*/ 37 h 44"/>
                  <a:gd name="T6" fmla="*/ 0 w 38"/>
                  <a:gd name="T7" fmla="*/ 43 h 44"/>
                  <a:gd name="T8" fmla="*/ 10 w 38"/>
                  <a:gd name="T9" fmla="*/ 23 h 44"/>
                  <a:gd name="T10" fmla="*/ 23 w 38"/>
                  <a:gd name="T11" fmla="*/ 15 h 44"/>
                  <a:gd name="T12" fmla="*/ 33 w 38"/>
                  <a:gd name="T13" fmla="*/ 1 h 44"/>
                  <a:gd name="T14" fmla="*/ 33 w 38"/>
                  <a:gd name="T15" fmla="*/ 0 h 44"/>
                  <a:gd name="T16" fmla="*/ 34 w 38"/>
                  <a:gd name="T17" fmla="*/ 0 h 44"/>
                  <a:gd name="T18" fmla="*/ 37 w 38"/>
                  <a:gd name="T19" fmla="*/ 1 h 44"/>
                  <a:gd name="T20" fmla="*/ 38 w 38"/>
                  <a:gd name="T21" fmla="*/ 2 h 44"/>
                  <a:gd name="T22" fmla="*/ 37 w 38"/>
                  <a:gd name="T23" fmla="*/ 5 h 44"/>
                  <a:gd name="T24" fmla="*/ 34 w 38"/>
                  <a:gd name="T25" fmla="*/ 1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44">
                    <a:moveTo>
                      <a:pt x="34" y="17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1" y="25"/>
                      <a:pt x="27" y="32"/>
                      <a:pt x="21" y="37"/>
                    </a:cubicBezTo>
                    <a:cubicBezTo>
                      <a:pt x="15" y="42"/>
                      <a:pt x="7" y="44"/>
                      <a:pt x="0" y="43"/>
                    </a:cubicBezTo>
                    <a:cubicBezTo>
                      <a:pt x="4" y="39"/>
                      <a:pt x="8" y="33"/>
                      <a:pt x="10" y="23"/>
                    </a:cubicBezTo>
                    <a:cubicBezTo>
                      <a:pt x="15" y="22"/>
                      <a:pt x="20" y="19"/>
                      <a:pt x="23" y="15"/>
                    </a:cubicBezTo>
                    <a:cubicBezTo>
                      <a:pt x="27" y="10"/>
                      <a:pt x="30" y="5"/>
                      <a:pt x="33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3" y="0"/>
                      <a:pt x="33" y="0"/>
                      <a:pt x="34" y="0"/>
                    </a:cubicBezTo>
                    <a:cubicBezTo>
                      <a:pt x="35" y="1"/>
                      <a:pt x="36" y="1"/>
                      <a:pt x="37" y="1"/>
                    </a:cubicBezTo>
                    <a:cubicBezTo>
                      <a:pt x="37" y="1"/>
                      <a:pt x="37" y="1"/>
                      <a:pt x="38" y="2"/>
                    </a:cubicBezTo>
                    <a:cubicBezTo>
                      <a:pt x="37" y="3"/>
                      <a:pt x="37" y="4"/>
                      <a:pt x="37" y="5"/>
                    </a:cubicBezTo>
                    <a:cubicBezTo>
                      <a:pt x="35" y="9"/>
                      <a:pt x="35" y="13"/>
                      <a:pt x="34" y="17"/>
                    </a:cubicBezTo>
                    <a:close/>
                  </a:path>
                </a:pathLst>
              </a:custGeom>
              <a:solidFill>
                <a:srgbClr val="D1A5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ïṥlïḍé"/>
              <p:cNvSpPr/>
              <p:nvPr/>
            </p:nvSpPr>
            <p:spPr bwMode="auto">
              <a:xfrm>
                <a:off x="7386853" y="3704915"/>
                <a:ext cx="846877" cy="450540"/>
              </a:xfrm>
              <a:custGeom>
                <a:avLst/>
                <a:gdLst>
                  <a:gd name="T0" fmla="*/ 114 w 120"/>
                  <a:gd name="T1" fmla="*/ 24 h 64"/>
                  <a:gd name="T2" fmla="*/ 114 w 120"/>
                  <a:gd name="T3" fmla="*/ 24 h 64"/>
                  <a:gd name="T4" fmla="*/ 104 w 120"/>
                  <a:gd name="T5" fmla="*/ 38 h 64"/>
                  <a:gd name="T6" fmla="*/ 100 w 120"/>
                  <a:gd name="T7" fmla="*/ 33 h 64"/>
                  <a:gd name="T8" fmla="*/ 93 w 120"/>
                  <a:gd name="T9" fmla="*/ 25 h 64"/>
                  <a:gd name="T10" fmla="*/ 86 w 120"/>
                  <a:gd name="T11" fmla="*/ 18 h 64"/>
                  <a:gd name="T12" fmla="*/ 93 w 120"/>
                  <a:gd name="T13" fmla="*/ 10 h 64"/>
                  <a:gd name="T14" fmla="*/ 93 w 120"/>
                  <a:gd name="T15" fmla="*/ 10 h 64"/>
                  <a:gd name="T16" fmla="*/ 98 w 120"/>
                  <a:gd name="T17" fmla="*/ 16 h 64"/>
                  <a:gd name="T18" fmla="*/ 104 w 120"/>
                  <a:gd name="T19" fmla="*/ 21 h 64"/>
                  <a:gd name="T20" fmla="*/ 112 w 120"/>
                  <a:gd name="T21" fmla="*/ 24 h 64"/>
                  <a:gd name="T22" fmla="*/ 113 w 120"/>
                  <a:gd name="T23" fmla="*/ 18 h 64"/>
                  <a:gd name="T24" fmla="*/ 107 w 120"/>
                  <a:gd name="T25" fmla="*/ 13 h 64"/>
                  <a:gd name="T26" fmla="*/ 96 w 120"/>
                  <a:gd name="T27" fmla="*/ 4 h 64"/>
                  <a:gd name="T28" fmla="*/ 98 w 120"/>
                  <a:gd name="T29" fmla="*/ 0 h 64"/>
                  <a:gd name="T30" fmla="*/ 101 w 120"/>
                  <a:gd name="T31" fmla="*/ 3 h 64"/>
                  <a:gd name="T32" fmla="*/ 120 w 120"/>
                  <a:gd name="T33" fmla="*/ 10 h 64"/>
                  <a:gd name="T34" fmla="*/ 120 w 120"/>
                  <a:gd name="T35" fmla="*/ 12 h 64"/>
                  <a:gd name="T36" fmla="*/ 114 w 120"/>
                  <a:gd name="T37" fmla="*/ 24 h 64"/>
                  <a:gd name="T38" fmla="*/ 0 w 120"/>
                  <a:gd name="T39" fmla="*/ 52 h 64"/>
                  <a:gd name="T40" fmla="*/ 0 w 120"/>
                  <a:gd name="T41" fmla="*/ 52 h 64"/>
                  <a:gd name="T42" fmla="*/ 1 w 120"/>
                  <a:gd name="T43" fmla="*/ 51 h 64"/>
                  <a:gd name="T44" fmla="*/ 13 w 120"/>
                  <a:gd name="T45" fmla="*/ 26 h 64"/>
                  <a:gd name="T46" fmla="*/ 13 w 120"/>
                  <a:gd name="T47" fmla="*/ 26 h 64"/>
                  <a:gd name="T48" fmla="*/ 20 w 120"/>
                  <a:gd name="T49" fmla="*/ 29 h 64"/>
                  <a:gd name="T50" fmla="*/ 30 w 120"/>
                  <a:gd name="T51" fmla="*/ 32 h 64"/>
                  <a:gd name="T52" fmla="*/ 26 w 120"/>
                  <a:gd name="T53" fmla="*/ 43 h 64"/>
                  <a:gd name="T54" fmla="*/ 21 w 120"/>
                  <a:gd name="T55" fmla="*/ 55 h 64"/>
                  <a:gd name="T56" fmla="*/ 19 w 120"/>
                  <a:gd name="T57" fmla="*/ 59 h 64"/>
                  <a:gd name="T58" fmla="*/ 0 w 120"/>
                  <a:gd name="T59" fmla="*/ 52 h 64"/>
                  <a:gd name="T60" fmla="*/ 28 w 120"/>
                  <a:gd name="T61" fmla="*/ 62 h 64"/>
                  <a:gd name="T62" fmla="*/ 28 w 120"/>
                  <a:gd name="T63" fmla="*/ 62 h 64"/>
                  <a:gd name="T64" fmla="*/ 26 w 120"/>
                  <a:gd name="T65" fmla="*/ 61 h 64"/>
                  <a:gd name="T66" fmla="*/ 26 w 120"/>
                  <a:gd name="T67" fmla="*/ 59 h 64"/>
                  <a:gd name="T68" fmla="*/ 31 w 120"/>
                  <a:gd name="T69" fmla="*/ 48 h 64"/>
                  <a:gd name="T70" fmla="*/ 35 w 120"/>
                  <a:gd name="T71" fmla="*/ 33 h 64"/>
                  <a:gd name="T72" fmla="*/ 47 w 120"/>
                  <a:gd name="T73" fmla="*/ 35 h 64"/>
                  <a:gd name="T74" fmla="*/ 51 w 120"/>
                  <a:gd name="T75" fmla="*/ 34 h 64"/>
                  <a:gd name="T76" fmla="*/ 50 w 120"/>
                  <a:gd name="T77" fmla="*/ 49 h 64"/>
                  <a:gd name="T78" fmla="*/ 49 w 120"/>
                  <a:gd name="T79" fmla="*/ 60 h 64"/>
                  <a:gd name="T80" fmla="*/ 49 w 120"/>
                  <a:gd name="T81" fmla="*/ 64 h 64"/>
                  <a:gd name="T82" fmla="*/ 28 w 120"/>
                  <a:gd name="T83" fmla="*/ 62 h 64"/>
                  <a:gd name="T84" fmla="*/ 55 w 120"/>
                  <a:gd name="T85" fmla="*/ 64 h 64"/>
                  <a:gd name="T86" fmla="*/ 55 w 120"/>
                  <a:gd name="T87" fmla="*/ 64 h 64"/>
                  <a:gd name="T88" fmla="*/ 55 w 120"/>
                  <a:gd name="T89" fmla="*/ 61 h 64"/>
                  <a:gd name="T90" fmla="*/ 56 w 120"/>
                  <a:gd name="T91" fmla="*/ 51 h 64"/>
                  <a:gd name="T92" fmla="*/ 56 w 120"/>
                  <a:gd name="T93" fmla="*/ 34 h 64"/>
                  <a:gd name="T94" fmla="*/ 64 w 120"/>
                  <a:gd name="T95" fmla="*/ 32 h 64"/>
                  <a:gd name="T96" fmla="*/ 67 w 120"/>
                  <a:gd name="T97" fmla="*/ 45 h 64"/>
                  <a:gd name="T98" fmla="*/ 70 w 120"/>
                  <a:gd name="T99" fmla="*/ 61 h 64"/>
                  <a:gd name="T100" fmla="*/ 62 w 120"/>
                  <a:gd name="T101" fmla="*/ 63 h 64"/>
                  <a:gd name="T102" fmla="*/ 55 w 120"/>
                  <a:gd name="T103" fmla="*/ 64 h 64"/>
                  <a:gd name="T104" fmla="*/ 75 w 120"/>
                  <a:gd name="T105" fmla="*/ 59 h 64"/>
                  <a:gd name="T106" fmla="*/ 75 w 120"/>
                  <a:gd name="T107" fmla="*/ 59 h 64"/>
                  <a:gd name="T108" fmla="*/ 73 w 120"/>
                  <a:gd name="T109" fmla="*/ 46 h 64"/>
                  <a:gd name="T110" fmla="*/ 71 w 120"/>
                  <a:gd name="T111" fmla="*/ 37 h 64"/>
                  <a:gd name="T112" fmla="*/ 68 w 120"/>
                  <a:gd name="T113" fmla="*/ 30 h 64"/>
                  <a:gd name="T114" fmla="*/ 81 w 120"/>
                  <a:gd name="T115" fmla="*/ 23 h 64"/>
                  <a:gd name="T116" fmla="*/ 82 w 120"/>
                  <a:gd name="T117" fmla="*/ 22 h 64"/>
                  <a:gd name="T118" fmla="*/ 93 w 120"/>
                  <a:gd name="T119" fmla="*/ 35 h 64"/>
                  <a:gd name="T120" fmla="*/ 98 w 120"/>
                  <a:gd name="T121" fmla="*/ 44 h 64"/>
                  <a:gd name="T122" fmla="*/ 75 w 120"/>
                  <a:gd name="T123" fmla="*/ 59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0" h="64">
                    <a:moveTo>
                      <a:pt x="114" y="24"/>
                    </a:moveTo>
                    <a:cubicBezTo>
                      <a:pt x="114" y="24"/>
                      <a:pt x="114" y="24"/>
                      <a:pt x="114" y="24"/>
                    </a:cubicBezTo>
                    <a:cubicBezTo>
                      <a:pt x="111" y="29"/>
                      <a:pt x="108" y="34"/>
                      <a:pt x="104" y="38"/>
                    </a:cubicBezTo>
                    <a:cubicBezTo>
                      <a:pt x="103" y="36"/>
                      <a:pt x="102" y="35"/>
                      <a:pt x="100" y="33"/>
                    </a:cubicBezTo>
                    <a:cubicBezTo>
                      <a:pt x="98" y="30"/>
                      <a:pt x="96" y="27"/>
                      <a:pt x="93" y="25"/>
                    </a:cubicBezTo>
                    <a:cubicBezTo>
                      <a:pt x="91" y="23"/>
                      <a:pt x="88" y="21"/>
                      <a:pt x="86" y="18"/>
                    </a:cubicBezTo>
                    <a:cubicBezTo>
                      <a:pt x="88" y="16"/>
                      <a:pt x="91" y="13"/>
                      <a:pt x="93" y="10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4" y="12"/>
                      <a:pt x="96" y="14"/>
                      <a:pt x="98" y="16"/>
                    </a:cubicBezTo>
                    <a:cubicBezTo>
                      <a:pt x="100" y="18"/>
                      <a:pt x="102" y="19"/>
                      <a:pt x="104" y="21"/>
                    </a:cubicBezTo>
                    <a:cubicBezTo>
                      <a:pt x="107" y="22"/>
                      <a:pt x="109" y="25"/>
                      <a:pt x="112" y="24"/>
                    </a:cubicBezTo>
                    <a:cubicBezTo>
                      <a:pt x="114" y="23"/>
                      <a:pt x="114" y="20"/>
                      <a:pt x="113" y="18"/>
                    </a:cubicBezTo>
                    <a:cubicBezTo>
                      <a:pt x="112" y="16"/>
                      <a:pt x="109" y="14"/>
                      <a:pt x="107" y="13"/>
                    </a:cubicBezTo>
                    <a:cubicBezTo>
                      <a:pt x="103" y="10"/>
                      <a:pt x="99" y="8"/>
                      <a:pt x="96" y="4"/>
                    </a:cubicBezTo>
                    <a:cubicBezTo>
                      <a:pt x="97" y="3"/>
                      <a:pt x="97" y="2"/>
                      <a:pt x="98" y="0"/>
                    </a:cubicBezTo>
                    <a:cubicBezTo>
                      <a:pt x="99" y="1"/>
                      <a:pt x="100" y="2"/>
                      <a:pt x="101" y="3"/>
                    </a:cubicBezTo>
                    <a:cubicBezTo>
                      <a:pt x="107" y="6"/>
                      <a:pt x="114" y="9"/>
                      <a:pt x="120" y="10"/>
                    </a:cubicBezTo>
                    <a:cubicBezTo>
                      <a:pt x="120" y="11"/>
                      <a:pt x="120" y="11"/>
                      <a:pt x="120" y="12"/>
                    </a:cubicBezTo>
                    <a:cubicBezTo>
                      <a:pt x="118" y="16"/>
                      <a:pt x="116" y="20"/>
                      <a:pt x="114" y="24"/>
                    </a:cubicBezTo>
                    <a:close/>
                    <a:moveTo>
                      <a:pt x="0" y="52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7" y="43"/>
                      <a:pt x="12" y="36"/>
                      <a:pt x="13" y="26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6" y="27"/>
                      <a:pt x="18" y="28"/>
                      <a:pt x="20" y="29"/>
                    </a:cubicBezTo>
                    <a:cubicBezTo>
                      <a:pt x="23" y="31"/>
                      <a:pt x="27" y="32"/>
                      <a:pt x="30" y="32"/>
                    </a:cubicBezTo>
                    <a:cubicBezTo>
                      <a:pt x="29" y="36"/>
                      <a:pt x="28" y="40"/>
                      <a:pt x="26" y="43"/>
                    </a:cubicBezTo>
                    <a:cubicBezTo>
                      <a:pt x="25" y="47"/>
                      <a:pt x="23" y="51"/>
                      <a:pt x="21" y="55"/>
                    </a:cubicBezTo>
                    <a:cubicBezTo>
                      <a:pt x="20" y="56"/>
                      <a:pt x="20" y="58"/>
                      <a:pt x="19" y="59"/>
                    </a:cubicBezTo>
                    <a:cubicBezTo>
                      <a:pt x="12" y="57"/>
                      <a:pt x="6" y="54"/>
                      <a:pt x="0" y="52"/>
                    </a:cubicBezTo>
                    <a:close/>
                    <a:moveTo>
                      <a:pt x="28" y="62"/>
                    </a:moveTo>
                    <a:cubicBezTo>
                      <a:pt x="28" y="62"/>
                      <a:pt x="28" y="62"/>
                      <a:pt x="28" y="62"/>
                    </a:cubicBezTo>
                    <a:cubicBezTo>
                      <a:pt x="27" y="61"/>
                      <a:pt x="26" y="61"/>
                      <a:pt x="26" y="61"/>
                    </a:cubicBezTo>
                    <a:cubicBezTo>
                      <a:pt x="26" y="61"/>
                      <a:pt x="26" y="60"/>
                      <a:pt x="26" y="59"/>
                    </a:cubicBezTo>
                    <a:cubicBezTo>
                      <a:pt x="28" y="56"/>
                      <a:pt x="30" y="52"/>
                      <a:pt x="31" y="48"/>
                    </a:cubicBezTo>
                    <a:cubicBezTo>
                      <a:pt x="33" y="44"/>
                      <a:pt x="34" y="38"/>
                      <a:pt x="35" y="33"/>
                    </a:cubicBezTo>
                    <a:cubicBezTo>
                      <a:pt x="39" y="34"/>
                      <a:pt x="43" y="35"/>
                      <a:pt x="47" y="35"/>
                    </a:cubicBezTo>
                    <a:cubicBezTo>
                      <a:pt x="48" y="35"/>
                      <a:pt x="50" y="35"/>
                      <a:pt x="51" y="34"/>
                    </a:cubicBezTo>
                    <a:cubicBezTo>
                      <a:pt x="50" y="39"/>
                      <a:pt x="50" y="44"/>
                      <a:pt x="50" y="49"/>
                    </a:cubicBezTo>
                    <a:cubicBezTo>
                      <a:pt x="49" y="53"/>
                      <a:pt x="49" y="56"/>
                      <a:pt x="49" y="60"/>
                    </a:cubicBezTo>
                    <a:cubicBezTo>
                      <a:pt x="48" y="61"/>
                      <a:pt x="48" y="63"/>
                      <a:pt x="49" y="64"/>
                    </a:cubicBezTo>
                    <a:cubicBezTo>
                      <a:pt x="42" y="64"/>
                      <a:pt x="35" y="63"/>
                      <a:pt x="28" y="62"/>
                    </a:cubicBezTo>
                    <a:close/>
                    <a:moveTo>
                      <a:pt x="55" y="64"/>
                    </a:moveTo>
                    <a:cubicBezTo>
                      <a:pt x="55" y="64"/>
                      <a:pt x="55" y="64"/>
                      <a:pt x="55" y="64"/>
                    </a:cubicBezTo>
                    <a:cubicBezTo>
                      <a:pt x="55" y="63"/>
                      <a:pt x="55" y="62"/>
                      <a:pt x="55" y="61"/>
                    </a:cubicBezTo>
                    <a:cubicBezTo>
                      <a:pt x="55" y="57"/>
                      <a:pt x="56" y="54"/>
                      <a:pt x="56" y="51"/>
                    </a:cubicBezTo>
                    <a:cubicBezTo>
                      <a:pt x="56" y="45"/>
                      <a:pt x="56" y="39"/>
                      <a:pt x="56" y="34"/>
                    </a:cubicBezTo>
                    <a:cubicBezTo>
                      <a:pt x="59" y="33"/>
                      <a:pt x="61" y="33"/>
                      <a:pt x="64" y="32"/>
                    </a:cubicBezTo>
                    <a:cubicBezTo>
                      <a:pt x="64" y="36"/>
                      <a:pt x="66" y="40"/>
                      <a:pt x="67" y="45"/>
                    </a:cubicBezTo>
                    <a:cubicBezTo>
                      <a:pt x="68" y="50"/>
                      <a:pt x="68" y="56"/>
                      <a:pt x="70" y="61"/>
                    </a:cubicBezTo>
                    <a:cubicBezTo>
                      <a:pt x="67" y="61"/>
                      <a:pt x="65" y="62"/>
                      <a:pt x="62" y="63"/>
                    </a:cubicBezTo>
                    <a:cubicBezTo>
                      <a:pt x="60" y="63"/>
                      <a:pt x="57" y="64"/>
                      <a:pt x="55" y="64"/>
                    </a:cubicBezTo>
                    <a:close/>
                    <a:moveTo>
                      <a:pt x="75" y="59"/>
                    </a:moveTo>
                    <a:cubicBezTo>
                      <a:pt x="75" y="59"/>
                      <a:pt x="75" y="59"/>
                      <a:pt x="75" y="59"/>
                    </a:cubicBezTo>
                    <a:cubicBezTo>
                      <a:pt x="75" y="54"/>
                      <a:pt x="74" y="50"/>
                      <a:pt x="73" y="46"/>
                    </a:cubicBezTo>
                    <a:cubicBezTo>
                      <a:pt x="72" y="43"/>
                      <a:pt x="72" y="40"/>
                      <a:pt x="71" y="37"/>
                    </a:cubicBezTo>
                    <a:cubicBezTo>
                      <a:pt x="70" y="35"/>
                      <a:pt x="69" y="33"/>
                      <a:pt x="68" y="30"/>
                    </a:cubicBezTo>
                    <a:cubicBezTo>
                      <a:pt x="73" y="29"/>
                      <a:pt x="77" y="26"/>
                      <a:pt x="81" y="23"/>
                    </a:cubicBezTo>
                    <a:cubicBezTo>
                      <a:pt x="81" y="23"/>
                      <a:pt x="82" y="22"/>
                      <a:pt x="82" y="22"/>
                    </a:cubicBezTo>
                    <a:cubicBezTo>
                      <a:pt x="85" y="27"/>
                      <a:pt x="90" y="31"/>
                      <a:pt x="93" y="35"/>
                    </a:cubicBezTo>
                    <a:cubicBezTo>
                      <a:pt x="95" y="38"/>
                      <a:pt x="97" y="41"/>
                      <a:pt x="98" y="44"/>
                    </a:cubicBezTo>
                    <a:cubicBezTo>
                      <a:pt x="91" y="50"/>
                      <a:pt x="83" y="55"/>
                      <a:pt x="75" y="59"/>
                    </a:cubicBezTo>
                    <a:close/>
                  </a:path>
                </a:pathLst>
              </a:custGeom>
              <a:solidFill>
                <a:srgbClr val="8A63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iŝḷíde"/>
              <p:cNvSpPr/>
              <p:nvPr/>
            </p:nvSpPr>
            <p:spPr bwMode="auto">
              <a:xfrm>
                <a:off x="7386853" y="3762502"/>
                <a:ext cx="846877" cy="392951"/>
              </a:xfrm>
              <a:custGeom>
                <a:avLst/>
                <a:gdLst>
                  <a:gd name="T0" fmla="*/ 114 w 120"/>
                  <a:gd name="T1" fmla="*/ 16 h 56"/>
                  <a:gd name="T2" fmla="*/ 114 w 120"/>
                  <a:gd name="T3" fmla="*/ 16 h 56"/>
                  <a:gd name="T4" fmla="*/ 104 w 120"/>
                  <a:gd name="T5" fmla="*/ 30 h 56"/>
                  <a:gd name="T6" fmla="*/ 100 w 120"/>
                  <a:gd name="T7" fmla="*/ 25 h 56"/>
                  <a:gd name="T8" fmla="*/ 96 w 120"/>
                  <a:gd name="T9" fmla="*/ 20 h 56"/>
                  <a:gd name="T10" fmla="*/ 104 w 120"/>
                  <a:gd name="T11" fmla="*/ 12 h 56"/>
                  <a:gd name="T12" fmla="*/ 104 w 120"/>
                  <a:gd name="T13" fmla="*/ 13 h 56"/>
                  <a:gd name="T14" fmla="*/ 112 w 120"/>
                  <a:gd name="T15" fmla="*/ 16 h 56"/>
                  <a:gd name="T16" fmla="*/ 113 w 120"/>
                  <a:gd name="T17" fmla="*/ 10 h 56"/>
                  <a:gd name="T18" fmla="*/ 109 w 120"/>
                  <a:gd name="T19" fmla="*/ 6 h 56"/>
                  <a:gd name="T20" fmla="*/ 114 w 120"/>
                  <a:gd name="T21" fmla="*/ 0 h 56"/>
                  <a:gd name="T22" fmla="*/ 120 w 120"/>
                  <a:gd name="T23" fmla="*/ 2 h 56"/>
                  <a:gd name="T24" fmla="*/ 120 w 120"/>
                  <a:gd name="T25" fmla="*/ 4 h 56"/>
                  <a:gd name="T26" fmla="*/ 114 w 120"/>
                  <a:gd name="T27" fmla="*/ 16 h 56"/>
                  <a:gd name="T28" fmla="*/ 10 w 120"/>
                  <a:gd name="T29" fmla="*/ 31 h 56"/>
                  <a:gd name="T30" fmla="*/ 25 w 120"/>
                  <a:gd name="T31" fmla="*/ 37 h 56"/>
                  <a:gd name="T32" fmla="*/ 21 w 120"/>
                  <a:gd name="T33" fmla="*/ 47 h 56"/>
                  <a:gd name="T34" fmla="*/ 19 w 120"/>
                  <a:gd name="T35" fmla="*/ 51 h 56"/>
                  <a:gd name="T36" fmla="*/ 0 w 120"/>
                  <a:gd name="T37" fmla="*/ 44 h 56"/>
                  <a:gd name="T38" fmla="*/ 0 w 120"/>
                  <a:gd name="T39" fmla="*/ 44 h 56"/>
                  <a:gd name="T40" fmla="*/ 1 w 120"/>
                  <a:gd name="T41" fmla="*/ 43 h 56"/>
                  <a:gd name="T42" fmla="*/ 10 w 120"/>
                  <a:gd name="T43" fmla="*/ 31 h 56"/>
                  <a:gd name="T44" fmla="*/ 32 w 120"/>
                  <a:gd name="T45" fmla="*/ 39 h 56"/>
                  <a:gd name="T46" fmla="*/ 50 w 120"/>
                  <a:gd name="T47" fmla="*/ 41 h 56"/>
                  <a:gd name="T48" fmla="*/ 50 w 120"/>
                  <a:gd name="T49" fmla="*/ 41 h 56"/>
                  <a:gd name="T50" fmla="*/ 49 w 120"/>
                  <a:gd name="T51" fmla="*/ 52 h 56"/>
                  <a:gd name="T52" fmla="*/ 49 w 120"/>
                  <a:gd name="T53" fmla="*/ 56 h 56"/>
                  <a:gd name="T54" fmla="*/ 28 w 120"/>
                  <a:gd name="T55" fmla="*/ 54 h 56"/>
                  <a:gd name="T56" fmla="*/ 28 w 120"/>
                  <a:gd name="T57" fmla="*/ 54 h 56"/>
                  <a:gd name="T58" fmla="*/ 26 w 120"/>
                  <a:gd name="T59" fmla="*/ 53 h 56"/>
                  <a:gd name="T60" fmla="*/ 26 w 120"/>
                  <a:gd name="T61" fmla="*/ 51 h 56"/>
                  <a:gd name="T62" fmla="*/ 31 w 120"/>
                  <a:gd name="T63" fmla="*/ 40 h 56"/>
                  <a:gd name="T64" fmla="*/ 32 w 120"/>
                  <a:gd name="T65" fmla="*/ 39 h 56"/>
                  <a:gd name="T66" fmla="*/ 56 w 120"/>
                  <a:gd name="T67" fmla="*/ 40 h 56"/>
                  <a:gd name="T68" fmla="*/ 67 w 120"/>
                  <a:gd name="T69" fmla="*/ 38 h 56"/>
                  <a:gd name="T70" fmla="*/ 70 w 120"/>
                  <a:gd name="T71" fmla="*/ 53 h 56"/>
                  <a:gd name="T72" fmla="*/ 62 w 120"/>
                  <a:gd name="T73" fmla="*/ 55 h 56"/>
                  <a:gd name="T74" fmla="*/ 55 w 120"/>
                  <a:gd name="T75" fmla="*/ 56 h 56"/>
                  <a:gd name="T76" fmla="*/ 55 w 120"/>
                  <a:gd name="T77" fmla="*/ 56 h 56"/>
                  <a:gd name="T78" fmla="*/ 55 w 120"/>
                  <a:gd name="T79" fmla="*/ 53 h 56"/>
                  <a:gd name="T80" fmla="*/ 56 w 120"/>
                  <a:gd name="T81" fmla="*/ 43 h 56"/>
                  <a:gd name="T82" fmla="*/ 56 w 120"/>
                  <a:gd name="T83" fmla="*/ 40 h 56"/>
                  <a:gd name="T84" fmla="*/ 73 w 120"/>
                  <a:gd name="T85" fmla="*/ 35 h 56"/>
                  <a:gd name="T86" fmla="*/ 91 w 120"/>
                  <a:gd name="T87" fmla="*/ 25 h 56"/>
                  <a:gd name="T88" fmla="*/ 93 w 120"/>
                  <a:gd name="T89" fmla="*/ 27 h 56"/>
                  <a:gd name="T90" fmla="*/ 98 w 120"/>
                  <a:gd name="T91" fmla="*/ 36 h 56"/>
                  <a:gd name="T92" fmla="*/ 75 w 120"/>
                  <a:gd name="T93" fmla="*/ 51 h 56"/>
                  <a:gd name="T94" fmla="*/ 75 w 120"/>
                  <a:gd name="T95" fmla="*/ 51 h 56"/>
                  <a:gd name="T96" fmla="*/ 73 w 120"/>
                  <a:gd name="T97" fmla="*/ 38 h 56"/>
                  <a:gd name="T98" fmla="*/ 73 w 120"/>
                  <a:gd name="T99" fmla="*/ 3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0" h="56">
                    <a:moveTo>
                      <a:pt x="114" y="16"/>
                    </a:moveTo>
                    <a:cubicBezTo>
                      <a:pt x="114" y="16"/>
                      <a:pt x="114" y="16"/>
                      <a:pt x="114" y="16"/>
                    </a:cubicBezTo>
                    <a:cubicBezTo>
                      <a:pt x="111" y="21"/>
                      <a:pt x="108" y="26"/>
                      <a:pt x="104" y="30"/>
                    </a:cubicBezTo>
                    <a:cubicBezTo>
                      <a:pt x="103" y="28"/>
                      <a:pt x="102" y="27"/>
                      <a:pt x="100" y="25"/>
                    </a:cubicBezTo>
                    <a:cubicBezTo>
                      <a:pt x="99" y="24"/>
                      <a:pt x="98" y="22"/>
                      <a:pt x="96" y="20"/>
                    </a:cubicBezTo>
                    <a:cubicBezTo>
                      <a:pt x="99" y="18"/>
                      <a:pt x="101" y="15"/>
                      <a:pt x="104" y="12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7" y="14"/>
                      <a:pt x="109" y="17"/>
                      <a:pt x="112" y="16"/>
                    </a:cubicBezTo>
                    <a:cubicBezTo>
                      <a:pt x="114" y="15"/>
                      <a:pt x="114" y="12"/>
                      <a:pt x="113" y="10"/>
                    </a:cubicBezTo>
                    <a:cubicBezTo>
                      <a:pt x="112" y="9"/>
                      <a:pt x="111" y="7"/>
                      <a:pt x="109" y="6"/>
                    </a:cubicBezTo>
                    <a:cubicBezTo>
                      <a:pt x="111" y="4"/>
                      <a:pt x="112" y="2"/>
                      <a:pt x="114" y="0"/>
                    </a:cubicBezTo>
                    <a:cubicBezTo>
                      <a:pt x="116" y="1"/>
                      <a:pt x="118" y="2"/>
                      <a:pt x="120" y="2"/>
                    </a:cubicBezTo>
                    <a:cubicBezTo>
                      <a:pt x="120" y="3"/>
                      <a:pt x="120" y="3"/>
                      <a:pt x="120" y="4"/>
                    </a:cubicBezTo>
                    <a:cubicBezTo>
                      <a:pt x="118" y="8"/>
                      <a:pt x="116" y="12"/>
                      <a:pt x="114" y="16"/>
                    </a:cubicBezTo>
                    <a:close/>
                    <a:moveTo>
                      <a:pt x="10" y="31"/>
                    </a:moveTo>
                    <a:cubicBezTo>
                      <a:pt x="13" y="33"/>
                      <a:pt x="19" y="35"/>
                      <a:pt x="25" y="37"/>
                    </a:cubicBezTo>
                    <a:cubicBezTo>
                      <a:pt x="24" y="40"/>
                      <a:pt x="23" y="44"/>
                      <a:pt x="21" y="47"/>
                    </a:cubicBezTo>
                    <a:cubicBezTo>
                      <a:pt x="20" y="48"/>
                      <a:pt x="20" y="50"/>
                      <a:pt x="19" y="51"/>
                    </a:cubicBezTo>
                    <a:cubicBezTo>
                      <a:pt x="12" y="49"/>
                      <a:pt x="6" y="46"/>
                      <a:pt x="0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4" y="39"/>
                      <a:pt x="7" y="35"/>
                      <a:pt x="10" y="31"/>
                    </a:cubicBezTo>
                    <a:close/>
                    <a:moveTo>
                      <a:pt x="32" y="39"/>
                    </a:moveTo>
                    <a:cubicBezTo>
                      <a:pt x="37" y="40"/>
                      <a:pt x="43" y="41"/>
                      <a:pt x="50" y="41"/>
                    </a:cubicBezTo>
                    <a:cubicBezTo>
                      <a:pt x="50" y="41"/>
                      <a:pt x="50" y="41"/>
                      <a:pt x="50" y="41"/>
                    </a:cubicBezTo>
                    <a:cubicBezTo>
                      <a:pt x="49" y="45"/>
                      <a:pt x="49" y="48"/>
                      <a:pt x="49" y="52"/>
                    </a:cubicBezTo>
                    <a:cubicBezTo>
                      <a:pt x="48" y="53"/>
                      <a:pt x="48" y="55"/>
                      <a:pt x="49" y="56"/>
                    </a:cubicBezTo>
                    <a:cubicBezTo>
                      <a:pt x="42" y="56"/>
                      <a:pt x="35" y="55"/>
                      <a:pt x="28" y="54"/>
                    </a:cubicBezTo>
                    <a:cubicBezTo>
                      <a:pt x="28" y="54"/>
                      <a:pt x="28" y="54"/>
                      <a:pt x="28" y="54"/>
                    </a:cubicBezTo>
                    <a:cubicBezTo>
                      <a:pt x="27" y="53"/>
                      <a:pt x="26" y="53"/>
                      <a:pt x="26" y="53"/>
                    </a:cubicBezTo>
                    <a:cubicBezTo>
                      <a:pt x="26" y="53"/>
                      <a:pt x="26" y="52"/>
                      <a:pt x="26" y="51"/>
                    </a:cubicBezTo>
                    <a:cubicBezTo>
                      <a:pt x="28" y="48"/>
                      <a:pt x="30" y="44"/>
                      <a:pt x="31" y="40"/>
                    </a:cubicBezTo>
                    <a:cubicBezTo>
                      <a:pt x="31" y="40"/>
                      <a:pt x="31" y="39"/>
                      <a:pt x="32" y="39"/>
                    </a:cubicBezTo>
                    <a:close/>
                    <a:moveTo>
                      <a:pt x="56" y="40"/>
                    </a:moveTo>
                    <a:cubicBezTo>
                      <a:pt x="60" y="40"/>
                      <a:pt x="63" y="39"/>
                      <a:pt x="67" y="38"/>
                    </a:cubicBezTo>
                    <a:cubicBezTo>
                      <a:pt x="68" y="42"/>
                      <a:pt x="68" y="48"/>
                      <a:pt x="70" y="53"/>
                    </a:cubicBezTo>
                    <a:cubicBezTo>
                      <a:pt x="67" y="53"/>
                      <a:pt x="65" y="54"/>
                      <a:pt x="62" y="55"/>
                    </a:cubicBezTo>
                    <a:cubicBezTo>
                      <a:pt x="60" y="55"/>
                      <a:pt x="57" y="56"/>
                      <a:pt x="55" y="56"/>
                    </a:cubicBezTo>
                    <a:cubicBezTo>
                      <a:pt x="55" y="56"/>
                      <a:pt x="55" y="56"/>
                      <a:pt x="55" y="56"/>
                    </a:cubicBezTo>
                    <a:cubicBezTo>
                      <a:pt x="55" y="55"/>
                      <a:pt x="55" y="54"/>
                      <a:pt x="55" y="53"/>
                    </a:cubicBezTo>
                    <a:cubicBezTo>
                      <a:pt x="55" y="49"/>
                      <a:pt x="56" y="46"/>
                      <a:pt x="56" y="43"/>
                    </a:cubicBezTo>
                    <a:cubicBezTo>
                      <a:pt x="56" y="42"/>
                      <a:pt x="56" y="41"/>
                      <a:pt x="56" y="40"/>
                    </a:cubicBezTo>
                    <a:close/>
                    <a:moveTo>
                      <a:pt x="73" y="35"/>
                    </a:moveTo>
                    <a:cubicBezTo>
                      <a:pt x="79" y="33"/>
                      <a:pt x="85" y="30"/>
                      <a:pt x="91" y="25"/>
                    </a:cubicBezTo>
                    <a:cubicBezTo>
                      <a:pt x="91" y="26"/>
                      <a:pt x="92" y="26"/>
                      <a:pt x="93" y="27"/>
                    </a:cubicBezTo>
                    <a:cubicBezTo>
                      <a:pt x="95" y="30"/>
                      <a:pt x="97" y="33"/>
                      <a:pt x="98" y="36"/>
                    </a:cubicBezTo>
                    <a:cubicBezTo>
                      <a:pt x="91" y="42"/>
                      <a:pt x="83" y="47"/>
                      <a:pt x="75" y="51"/>
                    </a:cubicBezTo>
                    <a:cubicBezTo>
                      <a:pt x="75" y="51"/>
                      <a:pt x="75" y="51"/>
                      <a:pt x="75" y="51"/>
                    </a:cubicBezTo>
                    <a:cubicBezTo>
                      <a:pt x="75" y="46"/>
                      <a:pt x="74" y="42"/>
                      <a:pt x="73" y="38"/>
                    </a:cubicBezTo>
                    <a:cubicBezTo>
                      <a:pt x="73" y="37"/>
                      <a:pt x="73" y="36"/>
                      <a:pt x="73" y="35"/>
                    </a:cubicBezTo>
                    <a:close/>
                  </a:path>
                </a:pathLst>
              </a:custGeom>
              <a:solidFill>
                <a:srgbClr val="6B4A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íṣľiḋé"/>
              <p:cNvSpPr/>
              <p:nvPr/>
            </p:nvSpPr>
            <p:spPr bwMode="auto">
              <a:xfrm>
                <a:off x="7308941" y="3718465"/>
                <a:ext cx="91464" cy="304876"/>
              </a:xfrm>
              <a:custGeom>
                <a:avLst/>
                <a:gdLst>
                  <a:gd name="T0" fmla="*/ 4 w 13"/>
                  <a:gd name="T1" fmla="*/ 24 h 43"/>
                  <a:gd name="T2" fmla="*/ 4 w 13"/>
                  <a:gd name="T3" fmla="*/ 24 h 43"/>
                  <a:gd name="T4" fmla="*/ 6 w 13"/>
                  <a:gd name="T5" fmla="*/ 22 h 43"/>
                  <a:gd name="T6" fmla="*/ 6 w 13"/>
                  <a:gd name="T7" fmla="*/ 0 h 43"/>
                  <a:gd name="T8" fmla="*/ 8 w 13"/>
                  <a:gd name="T9" fmla="*/ 3 h 43"/>
                  <a:gd name="T10" fmla="*/ 12 w 13"/>
                  <a:gd name="T11" fmla="*/ 22 h 43"/>
                  <a:gd name="T12" fmla="*/ 4 w 13"/>
                  <a:gd name="T13" fmla="*/ 39 h 43"/>
                  <a:gd name="T14" fmla="*/ 0 w 13"/>
                  <a:gd name="T15" fmla="*/ 43 h 43"/>
                  <a:gd name="T16" fmla="*/ 4 w 13"/>
                  <a:gd name="T17" fmla="*/ 2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43">
                    <a:moveTo>
                      <a:pt x="4" y="24"/>
                    </a:moveTo>
                    <a:cubicBezTo>
                      <a:pt x="4" y="24"/>
                      <a:pt x="4" y="24"/>
                      <a:pt x="4" y="24"/>
                    </a:cubicBezTo>
                    <a:cubicBezTo>
                      <a:pt x="5" y="24"/>
                      <a:pt x="6" y="23"/>
                      <a:pt x="6" y="22"/>
                    </a:cubicBezTo>
                    <a:cubicBezTo>
                      <a:pt x="8" y="15"/>
                      <a:pt x="7" y="8"/>
                      <a:pt x="6" y="0"/>
                    </a:cubicBezTo>
                    <a:cubicBezTo>
                      <a:pt x="7" y="1"/>
                      <a:pt x="8" y="2"/>
                      <a:pt x="8" y="3"/>
                    </a:cubicBezTo>
                    <a:cubicBezTo>
                      <a:pt x="12" y="9"/>
                      <a:pt x="13" y="16"/>
                      <a:pt x="12" y="22"/>
                    </a:cubicBezTo>
                    <a:cubicBezTo>
                      <a:pt x="12" y="29"/>
                      <a:pt x="7" y="34"/>
                      <a:pt x="4" y="39"/>
                    </a:cubicBezTo>
                    <a:cubicBezTo>
                      <a:pt x="3" y="40"/>
                      <a:pt x="1" y="42"/>
                      <a:pt x="0" y="43"/>
                    </a:cubicBezTo>
                    <a:cubicBezTo>
                      <a:pt x="2" y="37"/>
                      <a:pt x="3" y="31"/>
                      <a:pt x="4" y="24"/>
                    </a:cubicBezTo>
                    <a:close/>
                  </a:path>
                </a:pathLst>
              </a:custGeom>
              <a:solidFill>
                <a:srgbClr val="EB86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íšļïḋe"/>
              <p:cNvSpPr/>
              <p:nvPr/>
            </p:nvSpPr>
            <p:spPr bwMode="auto">
              <a:xfrm>
                <a:off x="4155171" y="3952202"/>
                <a:ext cx="873977" cy="352301"/>
              </a:xfrm>
              <a:custGeom>
                <a:avLst/>
                <a:gdLst>
                  <a:gd name="T0" fmla="*/ 119 w 124"/>
                  <a:gd name="T1" fmla="*/ 31 h 50"/>
                  <a:gd name="T2" fmla="*/ 112 w 124"/>
                  <a:gd name="T3" fmla="*/ 36 h 50"/>
                  <a:gd name="T4" fmla="*/ 101 w 124"/>
                  <a:gd name="T5" fmla="*/ 6 h 50"/>
                  <a:gd name="T6" fmla="*/ 108 w 124"/>
                  <a:gd name="T7" fmla="*/ 0 h 50"/>
                  <a:gd name="T8" fmla="*/ 122 w 124"/>
                  <a:gd name="T9" fmla="*/ 26 h 50"/>
                  <a:gd name="T10" fmla="*/ 119 w 124"/>
                  <a:gd name="T11" fmla="*/ 31 h 50"/>
                  <a:gd name="T12" fmla="*/ 0 w 124"/>
                  <a:gd name="T13" fmla="*/ 24 h 50"/>
                  <a:gd name="T14" fmla="*/ 22 w 124"/>
                  <a:gd name="T15" fmla="*/ 9 h 50"/>
                  <a:gd name="T16" fmla="*/ 15 w 124"/>
                  <a:gd name="T17" fmla="*/ 18 h 50"/>
                  <a:gd name="T18" fmla="*/ 7 w 124"/>
                  <a:gd name="T19" fmla="*/ 28 h 50"/>
                  <a:gd name="T20" fmla="*/ 13 w 124"/>
                  <a:gd name="T21" fmla="*/ 33 h 50"/>
                  <a:gd name="T22" fmla="*/ 12 w 124"/>
                  <a:gd name="T23" fmla="*/ 32 h 50"/>
                  <a:gd name="T24" fmla="*/ 26 w 124"/>
                  <a:gd name="T25" fmla="*/ 14 h 50"/>
                  <a:gd name="T26" fmla="*/ 33 w 124"/>
                  <a:gd name="T27" fmla="*/ 14 h 50"/>
                  <a:gd name="T28" fmla="*/ 35 w 124"/>
                  <a:gd name="T29" fmla="*/ 27 h 50"/>
                  <a:gd name="T30" fmla="*/ 13 w 124"/>
                  <a:gd name="T31" fmla="*/ 33 h 50"/>
                  <a:gd name="T32" fmla="*/ 30 w 124"/>
                  <a:gd name="T33" fmla="*/ 44 h 50"/>
                  <a:gd name="T34" fmla="*/ 41 w 124"/>
                  <a:gd name="T35" fmla="*/ 23 h 50"/>
                  <a:gd name="T36" fmla="*/ 57 w 124"/>
                  <a:gd name="T37" fmla="*/ 18 h 50"/>
                  <a:gd name="T38" fmla="*/ 48 w 124"/>
                  <a:gd name="T39" fmla="*/ 49 h 50"/>
                  <a:gd name="T40" fmla="*/ 51 w 124"/>
                  <a:gd name="T41" fmla="*/ 49 h 50"/>
                  <a:gd name="T42" fmla="*/ 57 w 124"/>
                  <a:gd name="T43" fmla="*/ 36 h 50"/>
                  <a:gd name="T44" fmla="*/ 59 w 124"/>
                  <a:gd name="T45" fmla="*/ 18 h 50"/>
                  <a:gd name="T46" fmla="*/ 69 w 124"/>
                  <a:gd name="T47" fmla="*/ 18 h 50"/>
                  <a:gd name="T48" fmla="*/ 69 w 124"/>
                  <a:gd name="T49" fmla="*/ 49 h 50"/>
                  <a:gd name="T50" fmla="*/ 72 w 124"/>
                  <a:gd name="T51" fmla="*/ 49 h 50"/>
                  <a:gd name="T52" fmla="*/ 73 w 124"/>
                  <a:gd name="T53" fmla="*/ 30 h 50"/>
                  <a:gd name="T54" fmla="*/ 85 w 124"/>
                  <a:gd name="T55" fmla="*/ 14 h 50"/>
                  <a:gd name="T56" fmla="*/ 88 w 124"/>
                  <a:gd name="T57" fmla="*/ 28 h 50"/>
                  <a:gd name="T58" fmla="*/ 91 w 124"/>
                  <a:gd name="T59" fmla="*/ 48 h 50"/>
                  <a:gd name="T60" fmla="*/ 72 w 124"/>
                  <a:gd name="T61" fmla="*/ 49 h 50"/>
                  <a:gd name="T62" fmla="*/ 105 w 124"/>
                  <a:gd name="T63" fmla="*/ 41 h 50"/>
                  <a:gd name="T64" fmla="*/ 94 w 124"/>
                  <a:gd name="T65" fmla="*/ 28 h 50"/>
                  <a:gd name="T66" fmla="*/ 90 w 124"/>
                  <a:gd name="T67" fmla="*/ 12 h 50"/>
                  <a:gd name="T68" fmla="*/ 96 w 124"/>
                  <a:gd name="T69" fmla="*/ 9 h 50"/>
                  <a:gd name="T70" fmla="*/ 109 w 124"/>
                  <a:gd name="T71" fmla="*/ 37 h 50"/>
                  <a:gd name="T72" fmla="*/ 105 w 124"/>
                  <a:gd name="T73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4" h="50">
                    <a:moveTo>
                      <a:pt x="119" y="31"/>
                    </a:moveTo>
                    <a:cubicBezTo>
                      <a:pt x="119" y="31"/>
                      <a:pt x="119" y="31"/>
                      <a:pt x="119" y="31"/>
                    </a:cubicBezTo>
                    <a:cubicBezTo>
                      <a:pt x="117" y="33"/>
                      <a:pt x="114" y="35"/>
                      <a:pt x="112" y="37"/>
                    </a:cubicBezTo>
                    <a:cubicBezTo>
                      <a:pt x="112" y="37"/>
                      <a:pt x="112" y="36"/>
                      <a:pt x="112" y="36"/>
                    </a:cubicBezTo>
                    <a:cubicBezTo>
                      <a:pt x="110" y="29"/>
                      <a:pt x="107" y="22"/>
                      <a:pt x="104" y="15"/>
                    </a:cubicBezTo>
                    <a:cubicBezTo>
                      <a:pt x="103" y="12"/>
                      <a:pt x="102" y="9"/>
                      <a:pt x="101" y="6"/>
                    </a:cubicBezTo>
                    <a:cubicBezTo>
                      <a:pt x="103" y="4"/>
                      <a:pt x="105" y="3"/>
                      <a:pt x="107" y="1"/>
                    </a:cubicBezTo>
                    <a:cubicBezTo>
                      <a:pt x="107" y="1"/>
                      <a:pt x="107" y="0"/>
                      <a:pt x="108" y="0"/>
                    </a:cubicBezTo>
                    <a:cubicBezTo>
                      <a:pt x="108" y="1"/>
                      <a:pt x="108" y="2"/>
                      <a:pt x="108" y="4"/>
                    </a:cubicBezTo>
                    <a:cubicBezTo>
                      <a:pt x="110" y="12"/>
                      <a:pt x="115" y="20"/>
                      <a:pt x="122" y="26"/>
                    </a:cubicBezTo>
                    <a:cubicBezTo>
                      <a:pt x="123" y="27"/>
                      <a:pt x="123" y="27"/>
                      <a:pt x="124" y="28"/>
                    </a:cubicBezTo>
                    <a:cubicBezTo>
                      <a:pt x="123" y="29"/>
                      <a:pt x="121" y="30"/>
                      <a:pt x="119" y="31"/>
                    </a:cubicBezTo>
                    <a:close/>
                    <a:moveTo>
                      <a:pt x="0" y="24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7" y="19"/>
                      <a:pt x="12" y="13"/>
                      <a:pt x="16" y="5"/>
                    </a:cubicBezTo>
                    <a:cubicBezTo>
                      <a:pt x="18" y="7"/>
                      <a:pt x="20" y="8"/>
                      <a:pt x="22" y="9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0" y="12"/>
                      <a:pt x="17" y="15"/>
                      <a:pt x="15" y="18"/>
                    </a:cubicBezTo>
                    <a:cubicBezTo>
                      <a:pt x="13" y="20"/>
                      <a:pt x="11" y="23"/>
                      <a:pt x="9" y="26"/>
                    </a:cubicBezTo>
                    <a:cubicBezTo>
                      <a:pt x="8" y="27"/>
                      <a:pt x="8" y="27"/>
                      <a:pt x="7" y="28"/>
                    </a:cubicBezTo>
                    <a:cubicBezTo>
                      <a:pt x="5" y="26"/>
                      <a:pt x="3" y="25"/>
                      <a:pt x="0" y="24"/>
                    </a:cubicBezTo>
                    <a:close/>
                    <a:moveTo>
                      <a:pt x="13" y="33"/>
                    </a:moveTo>
                    <a:cubicBezTo>
                      <a:pt x="13" y="33"/>
                      <a:pt x="13" y="33"/>
                      <a:pt x="13" y="33"/>
                    </a:cubicBezTo>
                    <a:cubicBezTo>
                      <a:pt x="13" y="32"/>
                      <a:pt x="12" y="32"/>
                      <a:pt x="12" y="32"/>
                    </a:cubicBezTo>
                    <a:cubicBezTo>
                      <a:pt x="14" y="28"/>
                      <a:pt x="17" y="25"/>
                      <a:pt x="20" y="22"/>
                    </a:cubicBezTo>
                    <a:cubicBezTo>
                      <a:pt x="22" y="19"/>
                      <a:pt x="24" y="17"/>
                      <a:pt x="26" y="14"/>
                    </a:cubicBezTo>
                    <a:cubicBezTo>
                      <a:pt x="27" y="14"/>
                      <a:pt x="28" y="13"/>
                      <a:pt x="28" y="12"/>
                    </a:cubicBezTo>
                    <a:cubicBezTo>
                      <a:pt x="30" y="13"/>
                      <a:pt x="32" y="13"/>
                      <a:pt x="33" y="14"/>
                    </a:cubicBezTo>
                    <a:cubicBezTo>
                      <a:pt x="35" y="15"/>
                      <a:pt x="38" y="15"/>
                      <a:pt x="40" y="16"/>
                    </a:cubicBezTo>
                    <a:cubicBezTo>
                      <a:pt x="38" y="19"/>
                      <a:pt x="36" y="24"/>
                      <a:pt x="35" y="27"/>
                    </a:cubicBezTo>
                    <a:cubicBezTo>
                      <a:pt x="33" y="32"/>
                      <a:pt x="31" y="38"/>
                      <a:pt x="27" y="42"/>
                    </a:cubicBezTo>
                    <a:cubicBezTo>
                      <a:pt x="22" y="39"/>
                      <a:pt x="18" y="36"/>
                      <a:pt x="13" y="33"/>
                    </a:cubicBezTo>
                    <a:close/>
                    <a:moveTo>
                      <a:pt x="30" y="44"/>
                    </a:moveTo>
                    <a:cubicBezTo>
                      <a:pt x="30" y="44"/>
                      <a:pt x="30" y="44"/>
                      <a:pt x="30" y="44"/>
                    </a:cubicBezTo>
                    <a:cubicBezTo>
                      <a:pt x="34" y="40"/>
                      <a:pt x="36" y="35"/>
                      <a:pt x="38" y="31"/>
                    </a:cubicBezTo>
                    <a:cubicBezTo>
                      <a:pt x="40" y="28"/>
                      <a:pt x="40" y="26"/>
                      <a:pt x="41" y="23"/>
                    </a:cubicBezTo>
                    <a:cubicBezTo>
                      <a:pt x="42" y="21"/>
                      <a:pt x="43" y="19"/>
                      <a:pt x="44" y="17"/>
                    </a:cubicBezTo>
                    <a:cubicBezTo>
                      <a:pt x="48" y="18"/>
                      <a:pt x="52" y="18"/>
                      <a:pt x="57" y="18"/>
                    </a:cubicBezTo>
                    <a:cubicBezTo>
                      <a:pt x="54" y="22"/>
                      <a:pt x="53" y="28"/>
                      <a:pt x="52" y="32"/>
                    </a:cubicBezTo>
                    <a:cubicBezTo>
                      <a:pt x="51" y="38"/>
                      <a:pt x="50" y="44"/>
                      <a:pt x="48" y="49"/>
                    </a:cubicBezTo>
                    <a:cubicBezTo>
                      <a:pt x="42" y="48"/>
                      <a:pt x="36" y="46"/>
                      <a:pt x="30" y="44"/>
                    </a:cubicBezTo>
                    <a:close/>
                    <a:moveTo>
                      <a:pt x="51" y="49"/>
                    </a:moveTo>
                    <a:cubicBezTo>
                      <a:pt x="51" y="49"/>
                      <a:pt x="51" y="49"/>
                      <a:pt x="51" y="49"/>
                    </a:cubicBezTo>
                    <a:cubicBezTo>
                      <a:pt x="54" y="45"/>
                      <a:pt x="55" y="41"/>
                      <a:pt x="57" y="36"/>
                    </a:cubicBezTo>
                    <a:cubicBezTo>
                      <a:pt x="58" y="31"/>
                      <a:pt x="60" y="24"/>
                      <a:pt x="60" y="19"/>
                    </a:cubicBezTo>
                    <a:cubicBezTo>
                      <a:pt x="60" y="19"/>
                      <a:pt x="60" y="19"/>
                      <a:pt x="59" y="18"/>
                    </a:cubicBezTo>
                    <a:cubicBezTo>
                      <a:pt x="61" y="18"/>
                      <a:pt x="63" y="18"/>
                      <a:pt x="65" y="18"/>
                    </a:cubicBezTo>
                    <a:cubicBezTo>
                      <a:pt x="66" y="18"/>
                      <a:pt x="68" y="18"/>
                      <a:pt x="69" y="18"/>
                    </a:cubicBezTo>
                    <a:cubicBezTo>
                      <a:pt x="68" y="22"/>
                      <a:pt x="69" y="26"/>
                      <a:pt x="68" y="30"/>
                    </a:cubicBezTo>
                    <a:cubicBezTo>
                      <a:pt x="68" y="36"/>
                      <a:pt x="68" y="43"/>
                      <a:pt x="69" y="49"/>
                    </a:cubicBezTo>
                    <a:cubicBezTo>
                      <a:pt x="63" y="49"/>
                      <a:pt x="57" y="49"/>
                      <a:pt x="51" y="49"/>
                    </a:cubicBezTo>
                    <a:close/>
                    <a:moveTo>
                      <a:pt x="72" y="49"/>
                    </a:moveTo>
                    <a:cubicBezTo>
                      <a:pt x="72" y="49"/>
                      <a:pt x="72" y="49"/>
                      <a:pt x="72" y="49"/>
                    </a:cubicBezTo>
                    <a:cubicBezTo>
                      <a:pt x="73" y="43"/>
                      <a:pt x="73" y="36"/>
                      <a:pt x="73" y="30"/>
                    </a:cubicBezTo>
                    <a:cubicBezTo>
                      <a:pt x="74" y="26"/>
                      <a:pt x="75" y="21"/>
                      <a:pt x="74" y="17"/>
                    </a:cubicBezTo>
                    <a:cubicBezTo>
                      <a:pt x="78" y="16"/>
                      <a:pt x="81" y="15"/>
                      <a:pt x="85" y="14"/>
                    </a:cubicBezTo>
                    <a:cubicBezTo>
                      <a:pt x="85" y="15"/>
                      <a:pt x="85" y="17"/>
                      <a:pt x="86" y="18"/>
                    </a:cubicBezTo>
                    <a:cubicBezTo>
                      <a:pt x="86" y="21"/>
                      <a:pt x="87" y="24"/>
                      <a:pt x="88" y="28"/>
                    </a:cubicBezTo>
                    <a:cubicBezTo>
                      <a:pt x="89" y="34"/>
                      <a:pt x="89" y="41"/>
                      <a:pt x="91" y="47"/>
                    </a:cubicBezTo>
                    <a:cubicBezTo>
                      <a:pt x="91" y="48"/>
                      <a:pt x="91" y="48"/>
                      <a:pt x="91" y="48"/>
                    </a:cubicBezTo>
                    <a:cubicBezTo>
                      <a:pt x="91" y="48"/>
                      <a:pt x="90" y="48"/>
                      <a:pt x="90" y="48"/>
                    </a:cubicBezTo>
                    <a:cubicBezTo>
                      <a:pt x="84" y="50"/>
                      <a:pt x="78" y="49"/>
                      <a:pt x="72" y="49"/>
                    </a:cubicBezTo>
                    <a:close/>
                    <a:moveTo>
                      <a:pt x="105" y="41"/>
                    </a:moveTo>
                    <a:cubicBezTo>
                      <a:pt x="105" y="41"/>
                      <a:pt x="105" y="41"/>
                      <a:pt x="105" y="41"/>
                    </a:cubicBezTo>
                    <a:cubicBezTo>
                      <a:pt x="102" y="44"/>
                      <a:pt x="98" y="46"/>
                      <a:pt x="94" y="47"/>
                    </a:cubicBezTo>
                    <a:cubicBezTo>
                      <a:pt x="95" y="41"/>
                      <a:pt x="95" y="34"/>
                      <a:pt x="94" y="28"/>
                    </a:cubicBezTo>
                    <a:cubicBezTo>
                      <a:pt x="93" y="24"/>
                      <a:pt x="93" y="21"/>
                      <a:pt x="92" y="18"/>
                    </a:cubicBezTo>
                    <a:cubicBezTo>
                      <a:pt x="91" y="16"/>
                      <a:pt x="91" y="14"/>
                      <a:pt x="90" y="12"/>
                    </a:cubicBezTo>
                    <a:cubicBezTo>
                      <a:pt x="92" y="11"/>
                      <a:pt x="93" y="10"/>
                      <a:pt x="95" y="9"/>
                    </a:cubicBezTo>
                    <a:cubicBezTo>
                      <a:pt x="95" y="9"/>
                      <a:pt x="96" y="9"/>
                      <a:pt x="96" y="9"/>
                    </a:cubicBezTo>
                    <a:cubicBezTo>
                      <a:pt x="97" y="12"/>
                      <a:pt x="98" y="15"/>
                      <a:pt x="100" y="18"/>
                    </a:cubicBezTo>
                    <a:cubicBezTo>
                      <a:pt x="102" y="25"/>
                      <a:pt x="104" y="32"/>
                      <a:pt x="109" y="37"/>
                    </a:cubicBezTo>
                    <a:cubicBezTo>
                      <a:pt x="109" y="38"/>
                      <a:pt x="110" y="38"/>
                      <a:pt x="110" y="38"/>
                    </a:cubicBezTo>
                    <a:cubicBezTo>
                      <a:pt x="109" y="39"/>
                      <a:pt x="107" y="40"/>
                      <a:pt x="105" y="41"/>
                    </a:cubicBezTo>
                    <a:close/>
                  </a:path>
                </a:pathLst>
              </a:custGeom>
              <a:solidFill>
                <a:srgbClr val="8A63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i$ļïḑê"/>
              <p:cNvSpPr/>
              <p:nvPr/>
            </p:nvSpPr>
            <p:spPr bwMode="auto">
              <a:xfrm>
                <a:off x="4155171" y="4036891"/>
                <a:ext cx="873977" cy="267614"/>
              </a:xfrm>
              <a:custGeom>
                <a:avLst/>
                <a:gdLst>
                  <a:gd name="T0" fmla="*/ 119 w 124"/>
                  <a:gd name="T1" fmla="*/ 19 h 38"/>
                  <a:gd name="T2" fmla="*/ 119 w 124"/>
                  <a:gd name="T3" fmla="*/ 19 h 38"/>
                  <a:gd name="T4" fmla="*/ 112 w 124"/>
                  <a:gd name="T5" fmla="*/ 25 h 38"/>
                  <a:gd name="T6" fmla="*/ 112 w 124"/>
                  <a:gd name="T7" fmla="*/ 24 h 38"/>
                  <a:gd name="T8" fmla="*/ 107 w 124"/>
                  <a:gd name="T9" fmla="*/ 11 h 38"/>
                  <a:gd name="T10" fmla="*/ 115 w 124"/>
                  <a:gd name="T11" fmla="*/ 6 h 38"/>
                  <a:gd name="T12" fmla="*/ 122 w 124"/>
                  <a:gd name="T13" fmla="*/ 14 h 38"/>
                  <a:gd name="T14" fmla="*/ 124 w 124"/>
                  <a:gd name="T15" fmla="*/ 16 h 38"/>
                  <a:gd name="T16" fmla="*/ 119 w 124"/>
                  <a:gd name="T17" fmla="*/ 19 h 38"/>
                  <a:gd name="T18" fmla="*/ 12 w 124"/>
                  <a:gd name="T19" fmla="*/ 0 h 38"/>
                  <a:gd name="T20" fmla="*/ 16 w 124"/>
                  <a:gd name="T21" fmla="*/ 5 h 38"/>
                  <a:gd name="T22" fmla="*/ 15 w 124"/>
                  <a:gd name="T23" fmla="*/ 6 h 38"/>
                  <a:gd name="T24" fmla="*/ 9 w 124"/>
                  <a:gd name="T25" fmla="*/ 14 h 38"/>
                  <a:gd name="T26" fmla="*/ 7 w 124"/>
                  <a:gd name="T27" fmla="*/ 16 h 38"/>
                  <a:gd name="T28" fmla="*/ 0 w 124"/>
                  <a:gd name="T29" fmla="*/ 12 h 38"/>
                  <a:gd name="T30" fmla="*/ 0 w 124"/>
                  <a:gd name="T31" fmla="*/ 12 h 38"/>
                  <a:gd name="T32" fmla="*/ 12 w 124"/>
                  <a:gd name="T33" fmla="*/ 0 h 38"/>
                  <a:gd name="T34" fmla="*/ 21 w 124"/>
                  <a:gd name="T35" fmla="*/ 9 h 38"/>
                  <a:gd name="T36" fmla="*/ 34 w 124"/>
                  <a:gd name="T37" fmla="*/ 18 h 38"/>
                  <a:gd name="T38" fmla="*/ 27 w 124"/>
                  <a:gd name="T39" fmla="*/ 30 h 38"/>
                  <a:gd name="T40" fmla="*/ 13 w 124"/>
                  <a:gd name="T41" fmla="*/ 21 h 38"/>
                  <a:gd name="T42" fmla="*/ 13 w 124"/>
                  <a:gd name="T43" fmla="*/ 21 h 38"/>
                  <a:gd name="T44" fmla="*/ 12 w 124"/>
                  <a:gd name="T45" fmla="*/ 20 h 38"/>
                  <a:gd name="T46" fmla="*/ 20 w 124"/>
                  <a:gd name="T47" fmla="*/ 10 h 38"/>
                  <a:gd name="T48" fmla="*/ 21 w 124"/>
                  <a:gd name="T49" fmla="*/ 9 h 38"/>
                  <a:gd name="T50" fmla="*/ 38 w 124"/>
                  <a:gd name="T51" fmla="*/ 20 h 38"/>
                  <a:gd name="T52" fmla="*/ 52 w 124"/>
                  <a:gd name="T53" fmla="*/ 24 h 38"/>
                  <a:gd name="T54" fmla="*/ 48 w 124"/>
                  <a:gd name="T55" fmla="*/ 37 h 38"/>
                  <a:gd name="T56" fmla="*/ 30 w 124"/>
                  <a:gd name="T57" fmla="*/ 32 h 38"/>
                  <a:gd name="T58" fmla="*/ 30 w 124"/>
                  <a:gd name="T59" fmla="*/ 32 h 38"/>
                  <a:gd name="T60" fmla="*/ 38 w 124"/>
                  <a:gd name="T61" fmla="*/ 20 h 38"/>
                  <a:gd name="T62" fmla="*/ 56 w 124"/>
                  <a:gd name="T63" fmla="*/ 25 h 38"/>
                  <a:gd name="T64" fmla="*/ 68 w 124"/>
                  <a:gd name="T65" fmla="*/ 25 h 38"/>
                  <a:gd name="T66" fmla="*/ 69 w 124"/>
                  <a:gd name="T67" fmla="*/ 37 h 38"/>
                  <a:gd name="T68" fmla="*/ 51 w 124"/>
                  <a:gd name="T69" fmla="*/ 37 h 38"/>
                  <a:gd name="T70" fmla="*/ 51 w 124"/>
                  <a:gd name="T71" fmla="*/ 37 h 38"/>
                  <a:gd name="T72" fmla="*/ 56 w 124"/>
                  <a:gd name="T73" fmla="*/ 25 h 38"/>
                  <a:gd name="T74" fmla="*/ 73 w 124"/>
                  <a:gd name="T75" fmla="*/ 24 h 38"/>
                  <a:gd name="T76" fmla="*/ 88 w 124"/>
                  <a:gd name="T77" fmla="*/ 20 h 38"/>
                  <a:gd name="T78" fmla="*/ 91 w 124"/>
                  <a:gd name="T79" fmla="*/ 35 h 38"/>
                  <a:gd name="T80" fmla="*/ 91 w 124"/>
                  <a:gd name="T81" fmla="*/ 36 h 38"/>
                  <a:gd name="T82" fmla="*/ 90 w 124"/>
                  <a:gd name="T83" fmla="*/ 36 h 38"/>
                  <a:gd name="T84" fmla="*/ 72 w 124"/>
                  <a:gd name="T85" fmla="*/ 37 h 38"/>
                  <a:gd name="T86" fmla="*/ 72 w 124"/>
                  <a:gd name="T87" fmla="*/ 37 h 38"/>
                  <a:gd name="T88" fmla="*/ 73 w 124"/>
                  <a:gd name="T89" fmla="*/ 24 h 38"/>
                  <a:gd name="T90" fmla="*/ 94 w 124"/>
                  <a:gd name="T91" fmla="*/ 18 h 38"/>
                  <a:gd name="T92" fmla="*/ 103 w 124"/>
                  <a:gd name="T93" fmla="*/ 14 h 38"/>
                  <a:gd name="T94" fmla="*/ 109 w 124"/>
                  <a:gd name="T95" fmla="*/ 25 h 38"/>
                  <a:gd name="T96" fmla="*/ 110 w 124"/>
                  <a:gd name="T97" fmla="*/ 26 h 38"/>
                  <a:gd name="T98" fmla="*/ 105 w 124"/>
                  <a:gd name="T99" fmla="*/ 29 h 38"/>
                  <a:gd name="T100" fmla="*/ 105 w 124"/>
                  <a:gd name="T101" fmla="*/ 29 h 38"/>
                  <a:gd name="T102" fmla="*/ 94 w 124"/>
                  <a:gd name="T103" fmla="*/ 35 h 38"/>
                  <a:gd name="T104" fmla="*/ 94 w 124"/>
                  <a:gd name="T105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4" h="38">
                    <a:moveTo>
                      <a:pt x="119" y="19"/>
                    </a:moveTo>
                    <a:cubicBezTo>
                      <a:pt x="119" y="19"/>
                      <a:pt x="119" y="19"/>
                      <a:pt x="119" y="19"/>
                    </a:cubicBezTo>
                    <a:cubicBezTo>
                      <a:pt x="117" y="21"/>
                      <a:pt x="114" y="23"/>
                      <a:pt x="112" y="25"/>
                    </a:cubicBezTo>
                    <a:cubicBezTo>
                      <a:pt x="112" y="25"/>
                      <a:pt x="112" y="24"/>
                      <a:pt x="112" y="24"/>
                    </a:cubicBezTo>
                    <a:cubicBezTo>
                      <a:pt x="111" y="20"/>
                      <a:pt x="109" y="16"/>
                      <a:pt x="107" y="11"/>
                    </a:cubicBezTo>
                    <a:cubicBezTo>
                      <a:pt x="110" y="10"/>
                      <a:pt x="113" y="8"/>
                      <a:pt x="115" y="6"/>
                    </a:cubicBezTo>
                    <a:cubicBezTo>
                      <a:pt x="117" y="9"/>
                      <a:pt x="119" y="12"/>
                      <a:pt x="122" y="14"/>
                    </a:cubicBezTo>
                    <a:cubicBezTo>
                      <a:pt x="123" y="15"/>
                      <a:pt x="123" y="15"/>
                      <a:pt x="124" y="16"/>
                    </a:cubicBezTo>
                    <a:cubicBezTo>
                      <a:pt x="123" y="17"/>
                      <a:pt x="121" y="18"/>
                      <a:pt x="119" y="19"/>
                    </a:cubicBezTo>
                    <a:close/>
                    <a:moveTo>
                      <a:pt x="12" y="0"/>
                    </a:moveTo>
                    <a:cubicBezTo>
                      <a:pt x="13" y="2"/>
                      <a:pt x="14" y="3"/>
                      <a:pt x="16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3" y="8"/>
                      <a:pt x="11" y="11"/>
                      <a:pt x="9" y="14"/>
                    </a:cubicBezTo>
                    <a:cubicBezTo>
                      <a:pt x="8" y="15"/>
                      <a:pt x="8" y="15"/>
                      <a:pt x="7" y="16"/>
                    </a:cubicBezTo>
                    <a:cubicBezTo>
                      <a:pt x="5" y="14"/>
                      <a:pt x="3" y="13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5" y="9"/>
                      <a:pt x="9" y="5"/>
                      <a:pt x="12" y="0"/>
                    </a:cubicBezTo>
                    <a:close/>
                    <a:moveTo>
                      <a:pt x="21" y="9"/>
                    </a:moveTo>
                    <a:cubicBezTo>
                      <a:pt x="24" y="12"/>
                      <a:pt x="29" y="15"/>
                      <a:pt x="34" y="18"/>
                    </a:cubicBezTo>
                    <a:cubicBezTo>
                      <a:pt x="32" y="22"/>
                      <a:pt x="30" y="26"/>
                      <a:pt x="27" y="30"/>
                    </a:cubicBezTo>
                    <a:cubicBezTo>
                      <a:pt x="22" y="27"/>
                      <a:pt x="18" y="24"/>
                      <a:pt x="13" y="21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20"/>
                      <a:pt x="12" y="20"/>
                      <a:pt x="12" y="20"/>
                    </a:cubicBezTo>
                    <a:cubicBezTo>
                      <a:pt x="14" y="16"/>
                      <a:pt x="17" y="13"/>
                      <a:pt x="20" y="10"/>
                    </a:cubicBezTo>
                    <a:lnTo>
                      <a:pt x="21" y="9"/>
                    </a:lnTo>
                    <a:close/>
                    <a:moveTo>
                      <a:pt x="38" y="20"/>
                    </a:moveTo>
                    <a:cubicBezTo>
                      <a:pt x="42" y="21"/>
                      <a:pt x="47" y="23"/>
                      <a:pt x="52" y="24"/>
                    </a:cubicBezTo>
                    <a:cubicBezTo>
                      <a:pt x="51" y="28"/>
                      <a:pt x="49" y="33"/>
                      <a:pt x="48" y="37"/>
                    </a:cubicBezTo>
                    <a:cubicBezTo>
                      <a:pt x="42" y="36"/>
                      <a:pt x="36" y="34"/>
                      <a:pt x="30" y="32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4" y="28"/>
                      <a:pt x="36" y="24"/>
                      <a:pt x="38" y="20"/>
                    </a:cubicBezTo>
                    <a:close/>
                    <a:moveTo>
                      <a:pt x="56" y="25"/>
                    </a:moveTo>
                    <a:cubicBezTo>
                      <a:pt x="60" y="25"/>
                      <a:pt x="64" y="25"/>
                      <a:pt x="68" y="25"/>
                    </a:cubicBezTo>
                    <a:cubicBezTo>
                      <a:pt x="68" y="29"/>
                      <a:pt x="68" y="33"/>
                      <a:pt x="69" y="37"/>
                    </a:cubicBezTo>
                    <a:cubicBezTo>
                      <a:pt x="63" y="37"/>
                      <a:pt x="57" y="37"/>
                      <a:pt x="51" y="37"/>
                    </a:cubicBezTo>
                    <a:cubicBezTo>
                      <a:pt x="51" y="37"/>
                      <a:pt x="51" y="37"/>
                      <a:pt x="51" y="37"/>
                    </a:cubicBezTo>
                    <a:cubicBezTo>
                      <a:pt x="53" y="33"/>
                      <a:pt x="55" y="29"/>
                      <a:pt x="56" y="25"/>
                    </a:cubicBezTo>
                    <a:close/>
                    <a:moveTo>
                      <a:pt x="73" y="24"/>
                    </a:moveTo>
                    <a:cubicBezTo>
                      <a:pt x="78" y="24"/>
                      <a:pt x="83" y="22"/>
                      <a:pt x="88" y="20"/>
                    </a:cubicBezTo>
                    <a:cubicBezTo>
                      <a:pt x="89" y="25"/>
                      <a:pt x="89" y="30"/>
                      <a:pt x="91" y="35"/>
                    </a:cubicBezTo>
                    <a:cubicBezTo>
                      <a:pt x="91" y="36"/>
                      <a:pt x="91" y="36"/>
                      <a:pt x="91" y="36"/>
                    </a:cubicBezTo>
                    <a:cubicBezTo>
                      <a:pt x="91" y="36"/>
                      <a:pt x="90" y="36"/>
                      <a:pt x="90" y="36"/>
                    </a:cubicBezTo>
                    <a:cubicBezTo>
                      <a:pt x="84" y="38"/>
                      <a:pt x="78" y="37"/>
                      <a:pt x="72" y="37"/>
                    </a:cubicBezTo>
                    <a:cubicBezTo>
                      <a:pt x="72" y="37"/>
                      <a:pt x="72" y="37"/>
                      <a:pt x="72" y="37"/>
                    </a:cubicBezTo>
                    <a:cubicBezTo>
                      <a:pt x="72" y="33"/>
                      <a:pt x="73" y="29"/>
                      <a:pt x="73" y="24"/>
                    </a:cubicBezTo>
                    <a:close/>
                    <a:moveTo>
                      <a:pt x="94" y="18"/>
                    </a:moveTo>
                    <a:cubicBezTo>
                      <a:pt x="97" y="17"/>
                      <a:pt x="100" y="16"/>
                      <a:pt x="103" y="14"/>
                    </a:cubicBezTo>
                    <a:cubicBezTo>
                      <a:pt x="104" y="18"/>
                      <a:pt x="106" y="22"/>
                      <a:pt x="109" y="25"/>
                    </a:cubicBezTo>
                    <a:cubicBezTo>
                      <a:pt x="109" y="26"/>
                      <a:pt x="110" y="26"/>
                      <a:pt x="110" y="26"/>
                    </a:cubicBezTo>
                    <a:cubicBezTo>
                      <a:pt x="109" y="27"/>
                      <a:pt x="107" y="28"/>
                      <a:pt x="105" y="29"/>
                    </a:cubicBezTo>
                    <a:cubicBezTo>
                      <a:pt x="105" y="29"/>
                      <a:pt x="105" y="29"/>
                      <a:pt x="105" y="29"/>
                    </a:cubicBezTo>
                    <a:cubicBezTo>
                      <a:pt x="102" y="32"/>
                      <a:pt x="98" y="34"/>
                      <a:pt x="94" y="35"/>
                    </a:cubicBezTo>
                    <a:cubicBezTo>
                      <a:pt x="95" y="30"/>
                      <a:pt x="95" y="24"/>
                      <a:pt x="94" y="18"/>
                    </a:cubicBezTo>
                    <a:close/>
                  </a:path>
                </a:pathLst>
              </a:custGeom>
              <a:solidFill>
                <a:srgbClr val="6B4A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ïşľïḍê"/>
              <p:cNvSpPr/>
              <p:nvPr/>
            </p:nvSpPr>
            <p:spPr bwMode="auto">
              <a:xfrm>
                <a:off x="3643659" y="3515215"/>
                <a:ext cx="569101" cy="569102"/>
              </a:xfrm>
              <a:custGeom>
                <a:avLst/>
                <a:gdLst>
                  <a:gd name="T0" fmla="*/ 40 w 81"/>
                  <a:gd name="T1" fmla="*/ 81 h 81"/>
                  <a:gd name="T2" fmla="*/ 40 w 81"/>
                  <a:gd name="T3" fmla="*/ 81 h 81"/>
                  <a:gd name="T4" fmla="*/ 21 w 81"/>
                  <a:gd name="T5" fmla="*/ 75 h 81"/>
                  <a:gd name="T6" fmla="*/ 3 w 81"/>
                  <a:gd name="T7" fmla="*/ 58 h 81"/>
                  <a:gd name="T8" fmla="*/ 2 w 81"/>
                  <a:gd name="T9" fmla="*/ 57 h 81"/>
                  <a:gd name="T10" fmla="*/ 1 w 81"/>
                  <a:gd name="T11" fmla="*/ 53 h 81"/>
                  <a:gd name="T12" fmla="*/ 2 w 81"/>
                  <a:gd name="T13" fmla="*/ 49 h 81"/>
                  <a:gd name="T14" fmla="*/ 5 w 81"/>
                  <a:gd name="T15" fmla="*/ 45 h 81"/>
                  <a:gd name="T16" fmla="*/ 15 w 81"/>
                  <a:gd name="T17" fmla="*/ 54 h 81"/>
                  <a:gd name="T18" fmla="*/ 33 w 81"/>
                  <a:gd name="T19" fmla="*/ 63 h 81"/>
                  <a:gd name="T20" fmla="*/ 64 w 81"/>
                  <a:gd name="T21" fmla="*/ 52 h 81"/>
                  <a:gd name="T22" fmla="*/ 57 w 81"/>
                  <a:gd name="T23" fmla="*/ 23 h 81"/>
                  <a:gd name="T24" fmla="*/ 45 w 81"/>
                  <a:gd name="T25" fmla="*/ 14 h 81"/>
                  <a:gd name="T26" fmla="*/ 39 w 81"/>
                  <a:gd name="T27" fmla="*/ 10 h 81"/>
                  <a:gd name="T28" fmla="*/ 41 w 81"/>
                  <a:gd name="T29" fmla="*/ 5 h 81"/>
                  <a:gd name="T30" fmla="*/ 43 w 81"/>
                  <a:gd name="T31" fmla="*/ 1 h 81"/>
                  <a:gd name="T32" fmla="*/ 46 w 81"/>
                  <a:gd name="T33" fmla="*/ 0 h 81"/>
                  <a:gd name="T34" fmla="*/ 61 w 81"/>
                  <a:gd name="T35" fmla="*/ 12 h 81"/>
                  <a:gd name="T36" fmla="*/ 75 w 81"/>
                  <a:gd name="T37" fmla="*/ 30 h 81"/>
                  <a:gd name="T38" fmla="*/ 73 w 81"/>
                  <a:gd name="T39" fmla="*/ 68 h 81"/>
                  <a:gd name="T40" fmla="*/ 40 w 81"/>
                  <a:gd name="T41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" h="81">
                    <a:moveTo>
                      <a:pt x="40" y="81"/>
                    </a:moveTo>
                    <a:cubicBezTo>
                      <a:pt x="40" y="81"/>
                      <a:pt x="40" y="81"/>
                      <a:pt x="40" y="81"/>
                    </a:cubicBezTo>
                    <a:cubicBezTo>
                      <a:pt x="34" y="81"/>
                      <a:pt x="27" y="79"/>
                      <a:pt x="21" y="75"/>
                    </a:cubicBezTo>
                    <a:cubicBezTo>
                      <a:pt x="14" y="71"/>
                      <a:pt x="9" y="64"/>
                      <a:pt x="3" y="58"/>
                    </a:cubicBezTo>
                    <a:cubicBezTo>
                      <a:pt x="2" y="58"/>
                      <a:pt x="2" y="57"/>
                      <a:pt x="2" y="57"/>
                    </a:cubicBezTo>
                    <a:cubicBezTo>
                      <a:pt x="2" y="56"/>
                      <a:pt x="1" y="55"/>
                      <a:pt x="1" y="53"/>
                    </a:cubicBezTo>
                    <a:cubicBezTo>
                      <a:pt x="0" y="52"/>
                      <a:pt x="1" y="51"/>
                      <a:pt x="2" y="49"/>
                    </a:cubicBezTo>
                    <a:cubicBezTo>
                      <a:pt x="3" y="48"/>
                      <a:pt x="4" y="46"/>
                      <a:pt x="5" y="45"/>
                    </a:cubicBezTo>
                    <a:cubicBezTo>
                      <a:pt x="8" y="49"/>
                      <a:pt x="12" y="52"/>
                      <a:pt x="15" y="54"/>
                    </a:cubicBezTo>
                    <a:cubicBezTo>
                      <a:pt x="21" y="58"/>
                      <a:pt x="27" y="61"/>
                      <a:pt x="33" y="63"/>
                    </a:cubicBezTo>
                    <a:cubicBezTo>
                      <a:pt x="44" y="66"/>
                      <a:pt x="59" y="62"/>
                      <a:pt x="64" y="52"/>
                    </a:cubicBezTo>
                    <a:cubicBezTo>
                      <a:pt x="70" y="42"/>
                      <a:pt x="64" y="30"/>
                      <a:pt x="57" y="23"/>
                    </a:cubicBezTo>
                    <a:cubicBezTo>
                      <a:pt x="53" y="20"/>
                      <a:pt x="49" y="17"/>
                      <a:pt x="45" y="14"/>
                    </a:cubicBezTo>
                    <a:cubicBezTo>
                      <a:pt x="43" y="13"/>
                      <a:pt x="41" y="12"/>
                      <a:pt x="39" y="10"/>
                    </a:cubicBezTo>
                    <a:cubicBezTo>
                      <a:pt x="40" y="8"/>
                      <a:pt x="40" y="6"/>
                      <a:pt x="41" y="5"/>
                    </a:cubicBezTo>
                    <a:cubicBezTo>
                      <a:pt x="41" y="3"/>
                      <a:pt x="41" y="2"/>
                      <a:pt x="43" y="1"/>
                    </a:cubicBezTo>
                    <a:cubicBezTo>
                      <a:pt x="43" y="0"/>
                      <a:pt x="45" y="0"/>
                      <a:pt x="46" y="0"/>
                    </a:cubicBezTo>
                    <a:cubicBezTo>
                      <a:pt x="51" y="4"/>
                      <a:pt x="56" y="8"/>
                      <a:pt x="61" y="12"/>
                    </a:cubicBezTo>
                    <a:cubicBezTo>
                      <a:pt x="67" y="17"/>
                      <a:pt x="72" y="23"/>
                      <a:pt x="75" y="30"/>
                    </a:cubicBezTo>
                    <a:cubicBezTo>
                      <a:pt x="81" y="42"/>
                      <a:pt x="81" y="58"/>
                      <a:pt x="73" y="68"/>
                    </a:cubicBezTo>
                    <a:cubicBezTo>
                      <a:pt x="65" y="78"/>
                      <a:pt x="52" y="81"/>
                      <a:pt x="40" y="81"/>
                    </a:cubicBezTo>
                    <a:close/>
                  </a:path>
                </a:pathLst>
              </a:custGeom>
              <a:solidFill>
                <a:srgbClr val="FFC9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ïṡlïḍè"/>
              <p:cNvSpPr/>
              <p:nvPr/>
            </p:nvSpPr>
            <p:spPr bwMode="auto">
              <a:xfrm>
                <a:off x="3643659" y="3830252"/>
                <a:ext cx="504740" cy="254064"/>
              </a:xfrm>
              <a:custGeom>
                <a:avLst/>
                <a:gdLst>
                  <a:gd name="T0" fmla="*/ 40 w 72"/>
                  <a:gd name="T1" fmla="*/ 36 h 36"/>
                  <a:gd name="T2" fmla="*/ 40 w 72"/>
                  <a:gd name="T3" fmla="*/ 36 h 36"/>
                  <a:gd name="T4" fmla="*/ 21 w 72"/>
                  <a:gd name="T5" fmla="*/ 30 h 36"/>
                  <a:gd name="T6" fmla="*/ 3 w 72"/>
                  <a:gd name="T7" fmla="*/ 13 h 36"/>
                  <a:gd name="T8" fmla="*/ 2 w 72"/>
                  <a:gd name="T9" fmla="*/ 12 h 36"/>
                  <a:gd name="T10" fmla="*/ 1 w 72"/>
                  <a:gd name="T11" fmla="*/ 8 h 36"/>
                  <a:gd name="T12" fmla="*/ 2 w 72"/>
                  <a:gd name="T13" fmla="*/ 4 h 36"/>
                  <a:gd name="T14" fmla="*/ 5 w 72"/>
                  <a:gd name="T15" fmla="*/ 0 h 36"/>
                  <a:gd name="T16" fmla="*/ 15 w 72"/>
                  <a:gd name="T17" fmla="*/ 9 h 36"/>
                  <a:gd name="T18" fmla="*/ 33 w 72"/>
                  <a:gd name="T19" fmla="*/ 18 h 36"/>
                  <a:gd name="T20" fmla="*/ 46 w 72"/>
                  <a:gd name="T21" fmla="*/ 18 h 36"/>
                  <a:gd name="T22" fmla="*/ 72 w 72"/>
                  <a:gd name="T23" fmla="*/ 24 h 36"/>
                  <a:gd name="T24" fmla="*/ 40 w 72"/>
                  <a:gd name="T2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2" h="36">
                    <a:moveTo>
                      <a:pt x="40" y="36"/>
                    </a:moveTo>
                    <a:cubicBezTo>
                      <a:pt x="40" y="36"/>
                      <a:pt x="40" y="36"/>
                      <a:pt x="40" y="36"/>
                    </a:cubicBezTo>
                    <a:cubicBezTo>
                      <a:pt x="34" y="36"/>
                      <a:pt x="27" y="34"/>
                      <a:pt x="21" y="30"/>
                    </a:cubicBezTo>
                    <a:cubicBezTo>
                      <a:pt x="14" y="26"/>
                      <a:pt x="9" y="19"/>
                      <a:pt x="3" y="13"/>
                    </a:cubicBezTo>
                    <a:cubicBezTo>
                      <a:pt x="2" y="13"/>
                      <a:pt x="2" y="12"/>
                      <a:pt x="2" y="12"/>
                    </a:cubicBezTo>
                    <a:cubicBezTo>
                      <a:pt x="2" y="11"/>
                      <a:pt x="1" y="10"/>
                      <a:pt x="1" y="8"/>
                    </a:cubicBezTo>
                    <a:cubicBezTo>
                      <a:pt x="0" y="7"/>
                      <a:pt x="1" y="6"/>
                      <a:pt x="2" y="4"/>
                    </a:cubicBezTo>
                    <a:cubicBezTo>
                      <a:pt x="3" y="3"/>
                      <a:pt x="4" y="1"/>
                      <a:pt x="5" y="0"/>
                    </a:cubicBezTo>
                    <a:cubicBezTo>
                      <a:pt x="8" y="4"/>
                      <a:pt x="12" y="7"/>
                      <a:pt x="15" y="9"/>
                    </a:cubicBezTo>
                    <a:cubicBezTo>
                      <a:pt x="21" y="13"/>
                      <a:pt x="27" y="16"/>
                      <a:pt x="33" y="18"/>
                    </a:cubicBezTo>
                    <a:cubicBezTo>
                      <a:pt x="37" y="19"/>
                      <a:pt x="42" y="19"/>
                      <a:pt x="46" y="18"/>
                    </a:cubicBezTo>
                    <a:cubicBezTo>
                      <a:pt x="53" y="21"/>
                      <a:pt x="62" y="23"/>
                      <a:pt x="72" y="24"/>
                    </a:cubicBezTo>
                    <a:cubicBezTo>
                      <a:pt x="64" y="33"/>
                      <a:pt x="52" y="36"/>
                      <a:pt x="40" y="36"/>
                    </a:cubicBezTo>
                    <a:close/>
                  </a:path>
                </a:pathLst>
              </a:custGeom>
              <a:solidFill>
                <a:srgbClr val="D1A5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iŝḻíďè"/>
              <p:cNvSpPr/>
              <p:nvPr/>
            </p:nvSpPr>
            <p:spPr bwMode="auto">
              <a:xfrm>
                <a:off x="4988498" y="3776052"/>
                <a:ext cx="105014" cy="315039"/>
              </a:xfrm>
              <a:custGeom>
                <a:avLst/>
                <a:gdLst>
                  <a:gd name="T0" fmla="*/ 5 w 15"/>
                  <a:gd name="T1" fmla="*/ 7 h 45"/>
                  <a:gd name="T2" fmla="*/ 5 w 15"/>
                  <a:gd name="T3" fmla="*/ 7 h 45"/>
                  <a:gd name="T4" fmla="*/ 10 w 15"/>
                  <a:gd name="T5" fmla="*/ 0 h 45"/>
                  <a:gd name="T6" fmla="*/ 15 w 15"/>
                  <a:gd name="T7" fmla="*/ 45 h 45"/>
                  <a:gd name="T8" fmla="*/ 14 w 15"/>
                  <a:gd name="T9" fmla="*/ 44 h 45"/>
                  <a:gd name="T10" fmla="*/ 2 w 15"/>
                  <a:gd name="T11" fmla="*/ 27 h 45"/>
                  <a:gd name="T12" fmla="*/ 5 w 15"/>
                  <a:gd name="T13" fmla="*/ 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45">
                    <a:moveTo>
                      <a:pt x="5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6" y="4"/>
                      <a:pt x="8" y="2"/>
                      <a:pt x="10" y="0"/>
                    </a:cubicBezTo>
                    <a:cubicBezTo>
                      <a:pt x="10" y="15"/>
                      <a:pt x="11" y="30"/>
                      <a:pt x="15" y="45"/>
                    </a:cubicBezTo>
                    <a:cubicBezTo>
                      <a:pt x="15" y="45"/>
                      <a:pt x="14" y="44"/>
                      <a:pt x="14" y="44"/>
                    </a:cubicBezTo>
                    <a:cubicBezTo>
                      <a:pt x="8" y="39"/>
                      <a:pt x="4" y="34"/>
                      <a:pt x="2" y="27"/>
                    </a:cubicBezTo>
                    <a:cubicBezTo>
                      <a:pt x="0" y="20"/>
                      <a:pt x="1" y="13"/>
                      <a:pt x="5" y="7"/>
                    </a:cubicBezTo>
                    <a:close/>
                  </a:path>
                </a:pathLst>
              </a:custGeom>
              <a:solidFill>
                <a:srgbClr val="EB86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iṡ1iḓè"/>
              <p:cNvSpPr/>
              <p:nvPr/>
            </p:nvSpPr>
            <p:spPr bwMode="auto">
              <a:xfrm>
                <a:off x="5530499" y="2573487"/>
                <a:ext cx="172764" cy="315039"/>
              </a:xfrm>
              <a:custGeom>
                <a:avLst/>
                <a:gdLst>
                  <a:gd name="T0" fmla="*/ 11 w 25"/>
                  <a:gd name="T1" fmla="*/ 37 h 45"/>
                  <a:gd name="T2" fmla="*/ 11 w 25"/>
                  <a:gd name="T3" fmla="*/ 37 h 45"/>
                  <a:gd name="T4" fmla="*/ 6 w 25"/>
                  <a:gd name="T5" fmla="*/ 21 h 45"/>
                  <a:gd name="T6" fmla="*/ 10 w 25"/>
                  <a:gd name="T7" fmla="*/ 1 h 45"/>
                  <a:gd name="T8" fmla="*/ 18 w 25"/>
                  <a:gd name="T9" fmla="*/ 17 h 45"/>
                  <a:gd name="T10" fmla="*/ 22 w 25"/>
                  <a:gd name="T11" fmla="*/ 30 h 45"/>
                  <a:gd name="T12" fmla="*/ 24 w 25"/>
                  <a:gd name="T13" fmla="*/ 37 h 45"/>
                  <a:gd name="T14" fmla="*/ 25 w 25"/>
                  <a:gd name="T15" fmla="*/ 40 h 45"/>
                  <a:gd name="T16" fmla="*/ 14 w 25"/>
                  <a:gd name="T17" fmla="*/ 44 h 45"/>
                  <a:gd name="T18" fmla="*/ 12 w 25"/>
                  <a:gd name="T19" fmla="*/ 45 h 45"/>
                  <a:gd name="T20" fmla="*/ 11 w 25"/>
                  <a:gd name="T21" fmla="*/ 3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45">
                    <a:moveTo>
                      <a:pt x="11" y="37"/>
                    </a:moveTo>
                    <a:cubicBezTo>
                      <a:pt x="11" y="37"/>
                      <a:pt x="11" y="37"/>
                      <a:pt x="11" y="37"/>
                    </a:cubicBezTo>
                    <a:cubicBezTo>
                      <a:pt x="10" y="32"/>
                      <a:pt x="8" y="27"/>
                      <a:pt x="6" y="21"/>
                    </a:cubicBezTo>
                    <a:cubicBezTo>
                      <a:pt x="3" y="14"/>
                      <a:pt x="0" y="3"/>
                      <a:pt x="10" y="1"/>
                    </a:cubicBezTo>
                    <a:cubicBezTo>
                      <a:pt x="15" y="0"/>
                      <a:pt x="17" y="13"/>
                      <a:pt x="18" y="17"/>
                    </a:cubicBezTo>
                    <a:cubicBezTo>
                      <a:pt x="19" y="21"/>
                      <a:pt x="20" y="25"/>
                      <a:pt x="22" y="30"/>
                    </a:cubicBezTo>
                    <a:cubicBezTo>
                      <a:pt x="23" y="32"/>
                      <a:pt x="24" y="35"/>
                      <a:pt x="24" y="37"/>
                    </a:cubicBezTo>
                    <a:cubicBezTo>
                      <a:pt x="25" y="38"/>
                      <a:pt x="25" y="39"/>
                      <a:pt x="25" y="40"/>
                    </a:cubicBezTo>
                    <a:cubicBezTo>
                      <a:pt x="21" y="41"/>
                      <a:pt x="18" y="43"/>
                      <a:pt x="14" y="44"/>
                    </a:cubicBezTo>
                    <a:cubicBezTo>
                      <a:pt x="13" y="45"/>
                      <a:pt x="13" y="45"/>
                      <a:pt x="12" y="45"/>
                    </a:cubicBezTo>
                    <a:cubicBezTo>
                      <a:pt x="12" y="43"/>
                      <a:pt x="11" y="40"/>
                      <a:pt x="11" y="37"/>
                    </a:cubicBezTo>
                    <a:close/>
                  </a:path>
                </a:pathLst>
              </a:custGeom>
              <a:solidFill>
                <a:srgbClr val="FFC9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ïṧľiḓe"/>
              <p:cNvSpPr/>
              <p:nvPr/>
            </p:nvSpPr>
            <p:spPr bwMode="auto">
              <a:xfrm>
                <a:off x="6682251" y="2600587"/>
                <a:ext cx="220189" cy="311651"/>
              </a:xfrm>
              <a:custGeom>
                <a:avLst/>
                <a:gdLst>
                  <a:gd name="T0" fmla="*/ 8 w 31"/>
                  <a:gd name="T1" fmla="*/ 20 h 44"/>
                  <a:gd name="T2" fmla="*/ 8 w 31"/>
                  <a:gd name="T3" fmla="*/ 20 h 44"/>
                  <a:gd name="T4" fmla="*/ 23 w 31"/>
                  <a:gd name="T5" fmla="*/ 1 h 44"/>
                  <a:gd name="T6" fmla="*/ 29 w 31"/>
                  <a:gd name="T7" fmla="*/ 6 h 44"/>
                  <a:gd name="T8" fmla="*/ 27 w 31"/>
                  <a:gd name="T9" fmla="*/ 21 h 44"/>
                  <a:gd name="T10" fmla="*/ 18 w 31"/>
                  <a:gd name="T11" fmla="*/ 36 h 44"/>
                  <a:gd name="T12" fmla="*/ 13 w 31"/>
                  <a:gd name="T13" fmla="*/ 44 h 44"/>
                  <a:gd name="T14" fmla="*/ 0 w 31"/>
                  <a:gd name="T15" fmla="*/ 37 h 44"/>
                  <a:gd name="T16" fmla="*/ 8 w 31"/>
                  <a:gd name="T17" fmla="*/ 2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44">
                    <a:moveTo>
                      <a:pt x="8" y="20"/>
                    </a:moveTo>
                    <a:cubicBezTo>
                      <a:pt x="8" y="20"/>
                      <a:pt x="8" y="20"/>
                      <a:pt x="8" y="20"/>
                    </a:cubicBezTo>
                    <a:cubicBezTo>
                      <a:pt x="11" y="13"/>
                      <a:pt x="16" y="4"/>
                      <a:pt x="23" y="1"/>
                    </a:cubicBezTo>
                    <a:cubicBezTo>
                      <a:pt x="27" y="0"/>
                      <a:pt x="29" y="3"/>
                      <a:pt x="29" y="6"/>
                    </a:cubicBezTo>
                    <a:cubicBezTo>
                      <a:pt x="31" y="11"/>
                      <a:pt x="29" y="16"/>
                      <a:pt x="27" y="21"/>
                    </a:cubicBezTo>
                    <a:cubicBezTo>
                      <a:pt x="24" y="26"/>
                      <a:pt x="21" y="31"/>
                      <a:pt x="18" y="36"/>
                    </a:cubicBezTo>
                    <a:cubicBezTo>
                      <a:pt x="16" y="39"/>
                      <a:pt x="14" y="41"/>
                      <a:pt x="13" y="44"/>
                    </a:cubicBezTo>
                    <a:cubicBezTo>
                      <a:pt x="9" y="42"/>
                      <a:pt x="4" y="39"/>
                      <a:pt x="0" y="37"/>
                    </a:cubicBezTo>
                    <a:cubicBezTo>
                      <a:pt x="3" y="32"/>
                      <a:pt x="6" y="26"/>
                      <a:pt x="8" y="20"/>
                    </a:cubicBezTo>
                    <a:close/>
                  </a:path>
                </a:pathLst>
              </a:custGeom>
              <a:solidFill>
                <a:srgbClr val="FFC9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ïṩlîḑe"/>
              <p:cNvSpPr/>
              <p:nvPr/>
            </p:nvSpPr>
            <p:spPr bwMode="auto">
              <a:xfrm>
                <a:off x="5621963" y="3711690"/>
                <a:ext cx="74525" cy="182926"/>
              </a:xfrm>
              <a:custGeom>
                <a:avLst/>
                <a:gdLst>
                  <a:gd name="T0" fmla="*/ 3 w 11"/>
                  <a:gd name="T1" fmla="*/ 2 h 26"/>
                  <a:gd name="T2" fmla="*/ 2 w 11"/>
                  <a:gd name="T3" fmla="*/ 23 h 26"/>
                  <a:gd name="T4" fmla="*/ 5 w 11"/>
                  <a:gd name="T5" fmla="*/ 26 h 26"/>
                  <a:gd name="T6" fmla="*/ 7 w 11"/>
                  <a:gd name="T7" fmla="*/ 26 h 26"/>
                  <a:gd name="T8" fmla="*/ 10 w 11"/>
                  <a:gd name="T9" fmla="*/ 23 h 26"/>
                  <a:gd name="T10" fmla="*/ 8 w 11"/>
                  <a:gd name="T11" fmla="*/ 3 h 26"/>
                  <a:gd name="T12" fmla="*/ 3 w 11"/>
                  <a:gd name="T13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26">
                    <a:moveTo>
                      <a:pt x="3" y="2"/>
                    </a:moveTo>
                    <a:cubicBezTo>
                      <a:pt x="0" y="9"/>
                      <a:pt x="1" y="17"/>
                      <a:pt x="2" y="23"/>
                    </a:cubicBezTo>
                    <a:cubicBezTo>
                      <a:pt x="3" y="24"/>
                      <a:pt x="4" y="26"/>
                      <a:pt x="5" y="26"/>
                    </a:cubicBezTo>
                    <a:cubicBezTo>
                      <a:pt x="6" y="26"/>
                      <a:pt x="6" y="26"/>
                      <a:pt x="7" y="26"/>
                    </a:cubicBezTo>
                    <a:cubicBezTo>
                      <a:pt x="8" y="26"/>
                      <a:pt x="10" y="24"/>
                      <a:pt x="10" y="23"/>
                    </a:cubicBezTo>
                    <a:cubicBezTo>
                      <a:pt x="11" y="17"/>
                      <a:pt x="10" y="9"/>
                      <a:pt x="8" y="3"/>
                    </a:cubicBezTo>
                    <a:cubicBezTo>
                      <a:pt x="7" y="1"/>
                      <a:pt x="4" y="0"/>
                      <a:pt x="3" y="2"/>
                    </a:cubicBezTo>
                    <a:close/>
                  </a:path>
                </a:pathLst>
              </a:custGeom>
              <a:solidFill>
                <a:srgbClr val="493220"/>
              </a:solidFill>
              <a:ln w="6350" cap="flat">
                <a:solidFill>
                  <a:srgbClr val="FBBA20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ïṥlíḋê"/>
              <p:cNvSpPr/>
              <p:nvPr/>
            </p:nvSpPr>
            <p:spPr bwMode="auto">
              <a:xfrm>
                <a:off x="5530499" y="3698140"/>
                <a:ext cx="60975" cy="196476"/>
              </a:xfrm>
              <a:custGeom>
                <a:avLst/>
                <a:gdLst>
                  <a:gd name="T0" fmla="*/ 1 w 9"/>
                  <a:gd name="T1" fmla="*/ 3 h 28"/>
                  <a:gd name="T2" fmla="*/ 0 w 9"/>
                  <a:gd name="T3" fmla="*/ 13 h 28"/>
                  <a:gd name="T4" fmla="*/ 0 w 9"/>
                  <a:gd name="T5" fmla="*/ 23 h 28"/>
                  <a:gd name="T6" fmla="*/ 8 w 9"/>
                  <a:gd name="T7" fmla="*/ 24 h 28"/>
                  <a:gd name="T8" fmla="*/ 6 w 9"/>
                  <a:gd name="T9" fmla="*/ 3 h 28"/>
                  <a:gd name="T10" fmla="*/ 1 w 9"/>
                  <a:gd name="T11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28">
                    <a:moveTo>
                      <a:pt x="1" y="3"/>
                    </a:moveTo>
                    <a:cubicBezTo>
                      <a:pt x="0" y="6"/>
                      <a:pt x="0" y="9"/>
                      <a:pt x="0" y="13"/>
                    </a:cubicBezTo>
                    <a:cubicBezTo>
                      <a:pt x="0" y="16"/>
                      <a:pt x="0" y="19"/>
                      <a:pt x="0" y="23"/>
                    </a:cubicBezTo>
                    <a:cubicBezTo>
                      <a:pt x="0" y="27"/>
                      <a:pt x="7" y="28"/>
                      <a:pt x="8" y="24"/>
                    </a:cubicBezTo>
                    <a:cubicBezTo>
                      <a:pt x="9" y="17"/>
                      <a:pt x="9" y="8"/>
                      <a:pt x="6" y="3"/>
                    </a:cubicBezTo>
                    <a:cubicBezTo>
                      <a:pt x="5" y="0"/>
                      <a:pt x="2" y="1"/>
                      <a:pt x="1" y="3"/>
                    </a:cubicBezTo>
                    <a:close/>
                  </a:path>
                </a:pathLst>
              </a:custGeom>
              <a:solidFill>
                <a:srgbClr val="493220"/>
              </a:solidFill>
              <a:ln w="6350" cap="flat">
                <a:solidFill>
                  <a:srgbClr val="FBBA20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íṥļíďé"/>
              <p:cNvSpPr/>
              <p:nvPr/>
            </p:nvSpPr>
            <p:spPr bwMode="auto">
              <a:xfrm>
                <a:off x="5394999" y="3718465"/>
                <a:ext cx="64364" cy="196476"/>
              </a:xfrm>
              <a:custGeom>
                <a:avLst/>
                <a:gdLst>
                  <a:gd name="T0" fmla="*/ 6 w 9"/>
                  <a:gd name="T1" fmla="*/ 0 h 28"/>
                  <a:gd name="T2" fmla="*/ 4 w 9"/>
                  <a:gd name="T3" fmla="*/ 0 h 28"/>
                  <a:gd name="T4" fmla="*/ 1 w 9"/>
                  <a:gd name="T5" fmla="*/ 10 h 28"/>
                  <a:gd name="T6" fmla="*/ 1 w 9"/>
                  <a:gd name="T7" fmla="*/ 24 h 28"/>
                  <a:gd name="T8" fmla="*/ 9 w 9"/>
                  <a:gd name="T9" fmla="*/ 24 h 28"/>
                  <a:gd name="T10" fmla="*/ 9 w 9"/>
                  <a:gd name="T11" fmla="*/ 11 h 28"/>
                  <a:gd name="T12" fmla="*/ 6 w 9"/>
                  <a:gd name="T1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28">
                    <a:moveTo>
                      <a:pt x="6" y="0"/>
                    </a:moveTo>
                    <a:cubicBezTo>
                      <a:pt x="5" y="0"/>
                      <a:pt x="4" y="0"/>
                      <a:pt x="4" y="0"/>
                    </a:cubicBezTo>
                    <a:cubicBezTo>
                      <a:pt x="1" y="2"/>
                      <a:pt x="1" y="6"/>
                      <a:pt x="1" y="10"/>
                    </a:cubicBezTo>
                    <a:cubicBezTo>
                      <a:pt x="1" y="15"/>
                      <a:pt x="0" y="19"/>
                      <a:pt x="1" y="24"/>
                    </a:cubicBezTo>
                    <a:cubicBezTo>
                      <a:pt x="2" y="28"/>
                      <a:pt x="8" y="28"/>
                      <a:pt x="9" y="24"/>
                    </a:cubicBezTo>
                    <a:cubicBezTo>
                      <a:pt x="9" y="20"/>
                      <a:pt x="9" y="15"/>
                      <a:pt x="9" y="11"/>
                    </a:cubicBezTo>
                    <a:cubicBezTo>
                      <a:pt x="9" y="8"/>
                      <a:pt x="9" y="3"/>
                      <a:pt x="6" y="0"/>
                    </a:cubicBezTo>
                    <a:close/>
                  </a:path>
                </a:pathLst>
              </a:custGeom>
              <a:solidFill>
                <a:srgbClr val="493220"/>
              </a:solidFill>
              <a:ln w="6350" cap="flat">
                <a:solidFill>
                  <a:srgbClr val="FBBA20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iŝliḑe"/>
              <p:cNvSpPr/>
              <p:nvPr/>
            </p:nvSpPr>
            <p:spPr bwMode="auto">
              <a:xfrm>
                <a:off x="6492551" y="3840416"/>
                <a:ext cx="359076" cy="555552"/>
              </a:xfrm>
              <a:custGeom>
                <a:avLst/>
                <a:gdLst>
                  <a:gd name="T0" fmla="*/ 37 w 51"/>
                  <a:gd name="T1" fmla="*/ 77 h 79"/>
                  <a:gd name="T2" fmla="*/ 37 w 51"/>
                  <a:gd name="T3" fmla="*/ 77 h 79"/>
                  <a:gd name="T4" fmla="*/ 17 w 51"/>
                  <a:gd name="T5" fmla="*/ 79 h 79"/>
                  <a:gd name="T6" fmla="*/ 4 w 51"/>
                  <a:gd name="T7" fmla="*/ 75 h 79"/>
                  <a:gd name="T8" fmla="*/ 1 w 51"/>
                  <a:gd name="T9" fmla="*/ 66 h 79"/>
                  <a:gd name="T10" fmla="*/ 2 w 51"/>
                  <a:gd name="T11" fmla="*/ 40 h 79"/>
                  <a:gd name="T12" fmla="*/ 3 w 51"/>
                  <a:gd name="T13" fmla="*/ 0 h 79"/>
                  <a:gd name="T14" fmla="*/ 7 w 51"/>
                  <a:gd name="T15" fmla="*/ 0 h 79"/>
                  <a:gd name="T16" fmla="*/ 14 w 51"/>
                  <a:gd name="T17" fmla="*/ 0 h 79"/>
                  <a:gd name="T18" fmla="*/ 28 w 51"/>
                  <a:gd name="T19" fmla="*/ 1 h 79"/>
                  <a:gd name="T20" fmla="*/ 42 w 51"/>
                  <a:gd name="T21" fmla="*/ 2 h 79"/>
                  <a:gd name="T22" fmla="*/ 47 w 51"/>
                  <a:gd name="T23" fmla="*/ 2 h 79"/>
                  <a:gd name="T24" fmla="*/ 50 w 51"/>
                  <a:gd name="T25" fmla="*/ 2 h 79"/>
                  <a:gd name="T26" fmla="*/ 50 w 51"/>
                  <a:gd name="T27" fmla="*/ 2 h 79"/>
                  <a:gd name="T28" fmla="*/ 50 w 51"/>
                  <a:gd name="T29" fmla="*/ 19 h 79"/>
                  <a:gd name="T30" fmla="*/ 50 w 51"/>
                  <a:gd name="T31" fmla="*/ 42 h 79"/>
                  <a:gd name="T32" fmla="*/ 50 w 51"/>
                  <a:gd name="T33" fmla="*/ 63 h 79"/>
                  <a:gd name="T34" fmla="*/ 50 w 51"/>
                  <a:gd name="T35" fmla="*/ 75 h 79"/>
                  <a:gd name="T36" fmla="*/ 37 w 51"/>
                  <a:gd name="T37" fmla="*/ 77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" h="79">
                    <a:moveTo>
                      <a:pt x="37" y="77"/>
                    </a:moveTo>
                    <a:cubicBezTo>
                      <a:pt x="37" y="77"/>
                      <a:pt x="37" y="77"/>
                      <a:pt x="37" y="77"/>
                    </a:cubicBezTo>
                    <a:cubicBezTo>
                      <a:pt x="30" y="78"/>
                      <a:pt x="24" y="79"/>
                      <a:pt x="17" y="79"/>
                    </a:cubicBezTo>
                    <a:cubicBezTo>
                      <a:pt x="13" y="79"/>
                      <a:pt x="7" y="78"/>
                      <a:pt x="4" y="75"/>
                    </a:cubicBezTo>
                    <a:cubicBezTo>
                      <a:pt x="1" y="73"/>
                      <a:pt x="1" y="69"/>
                      <a:pt x="1" y="66"/>
                    </a:cubicBezTo>
                    <a:cubicBezTo>
                      <a:pt x="0" y="57"/>
                      <a:pt x="2" y="48"/>
                      <a:pt x="2" y="40"/>
                    </a:cubicBezTo>
                    <a:cubicBezTo>
                      <a:pt x="2" y="26"/>
                      <a:pt x="2" y="13"/>
                      <a:pt x="3" y="0"/>
                    </a:cubicBezTo>
                    <a:cubicBezTo>
                      <a:pt x="4" y="0"/>
                      <a:pt x="5" y="0"/>
                      <a:pt x="7" y="0"/>
                    </a:cubicBezTo>
                    <a:cubicBezTo>
                      <a:pt x="9" y="0"/>
                      <a:pt x="12" y="0"/>
                      <a:pt x="14" y="0"/>
                    </a:cubicBezTo>
                    <a:cubicBezTo>
                      <a:pt x="19" y="0"/>
                      <a:pt x="24" y="1"/>
                      <a:pt x="28" y="1"/>
                    </a:cubicBezTo>
                    <a:cubicBezTo>
                      <a:pt x="33" y="1"/>
                      <a:pt x="38" y="2"/>
                      <a:pt x="42" y="2"/>
                    </a:cubicBezTo>
                    <a:cubicBezTo>
                      <a:pt x="44" y="2"/>
                      <a:pt x="46" y="2"/>
                      <a:pt x="47" y="2"/>
                    </a:cubicBezTo>
                    <a:cubicBezTo>
                      <a:pt x="48" y="2"/>
                      <a:pt x="49" y="2"/>
                      <a:pt x="50" y="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49" y="7"/>
                      <a:pt x="50" y="13"/>
                      <a:pt x="50" y="19"/>
                    </a:cubicBezTo>
                    <a:cubicBezTo>
                      <a:pt x="50" y="27"/>
                      <a:pt x="50" y="34"/>
                      <a:pt x="50" y="42"/>
                    </a:cubicBezTo>
                    <a:cubicBezTo>
                      <a:pt x="50" y="49"/>
                      <a:pt x="51" y="56"/>
                      <a:pt x="50" y="63"/>
                    </a:cubicBezTo>
                    <a:cubicBezTo>
                      <a:pt x="50" y="67"/>
                      <a:pt x="49" y="71"/>
                      <a:pt x="50" y="75"/>
                    </a:cubicBezTo>
                    <a:cubicBezTo>
                      <a:pt x="45" y="75"/>
                      <a:pt x="41" y="76"/>
                      <a:pt x="37" y="77"/>
                    </a:cubicBezTo>
                    <a:close/>
                  </a:path>
                </a:pathLst>
              </a:custGeom>
              <a:solidFill>
                <a:srgbClr val="8A63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ïṧlidé"/>
              <p:cNvSpPr/>
              <p:nvPr/>
            </p:nvSpPr>
            <p:spPr bwMode="auto">
              <a:xfrm>
                <a:off x="6536589" y="3847191"/>
                <a:ext cx="315039" cy="548777"/>
              </a:xfrm>
              <a:custGeom>
                <a:avLst/>
                <a:gdLst>
                  <a:gd name="T0" fmla="*/ 31 w 45"/>
                  <a:gd name="T1" fmla="*/ 76 h 78"/>
                  <a:gd name="T2" fmla="*/ 31 w 45"/>
                  <a:gd name="T3" fmla="*/ 76 h 78"/>
                  <a:gd name="T4" fmla="*/ 11 w 45"/>
                  <a:gd name="T5" fmla="*/ 78 h 78"/>
                  <a:gd name="T6" fmla="*/ 0 w 45"/>
                  <a:gd name="T7" fmla="*/ 75 h 78"/>
                  <a:gd name="T8" fmla="*/ 25 w 45"/>
                  <a:gd name="T9" fmla="*/ 0 h 78"/>
                  <a:gd name="T10" fmla="*/ 25 w 45"/>
                  <a:gd name="T11" fmla="*/ 0 h 78"/>
                  <a:gd name="T12" fmla="*/ 36 w 45"/>
                  <a:gd name="T13" fmla="*/ 1 h 78"/>
                  <a:gd name="T14" fmla="*/ 41 w 45"/>
                  <a:gd name="T15" fmla="*/ 1 h 78"/>
                  <a:gd name="T16" fmla="*/ 44 w 45"/>
                  <a:gd name="T17" fmla="*/ 1 h 78"/>
                  <a:gd name="T18" fmla="*/ 44 w 45"/>
                  <a:gd name="T19" fmla="*/ 1 h 78"/>
                  <a:gd name="T20" fmla="*/ 44 w 45"/>
                  <a:gd name="T21" fmla="*/ 18 h 78"/>
                  <a:gd name="T22" fmla="*/ 44 w 45"/>
                  <a:gd name="T23" fmla="*/ 41 h 78"/>
                  <a:gd name="T24" fmla="*/ 44 w 45"/>
                  <a:gd name="T25" fmla="*/ 62 h 78"/>
                  <a:gd name="T26" fmla="*/ 44 w 45"/>
                  <a:gd name="T27" fmla="*/ 74 h 78"/>
                  <a:gd name="T28" fmla="*/ 31 w 45"/>
                  <a:gd name="T29" fmla="*/ 7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5" h="78">
                    <a:moveTo>
                      <a:pt x="31" y="76"/>
                    </a:moveTo>
                    <a:cubicBezTo>
                      <a:pt x="31" y="76"/>
                      <a:pt x="31" y="76"/>
                      <a:pt x="31" y="76"/>
                    </a:cubicBezTo>
                    <a:cubicBezTo>
                      <a:pt x="24" y="77"/>
                      <a:pt x="18" y="78"/>
                      <a:pt x="11" y="78"/>
                    </a:cubicBezTo>
                    <a:cubicBezTo>
                      <a:pt x="7" y="78"/>
                      <a:pt x="3" y="77"/>
                      <a:pt x="0" y="75"/>
                    </a:cubicBezTo>
                    <a:cubicBezTo>
                      <a:pt x="44" y="58"/>
                      <a:pt x="2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9" y="1"/>
                      <a:pt x="33" y="1"/>
                      <a:pt x="36" y="1"/>
                    </a:cubicBezTo>
                    <a:cubicBezTo>
                      <a:pt x="38" y="1"/>
                      <a:pt x="40" y="1"/>
                      <a:pt x="41" y="1"/>
                    </a:cubicBezTo>
                    <a:cubicBezTo>
                      <a:pt x="42" y="1"/>
                      <a:pt x="43" y="1"/>
                      <a:pt x="44" y="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3" y="6"/>
                      <a:pt x="44" y="12"/>
                      <a:pt x="44" y="18"/>
                    </a:cubicBezTo>
                    <a:cubicBezTo>
                      <a:pt x="44" y="26"/>
                      <a:pt x="44" y="33"/>
                      <a:pt x="44" y="41"/>
                    </a:cubicBezTo>
                    <a:cubicBezTo>
                      <a:pt x="44" y="48"/>
                      <a:pt x="45" y="55"/>
                      <a:pt x="44" y="62"/>
                    </a:cubicBezTo>
                    <a:cubicBezTo>
                      <a:pt x="44" y="66"/>
                      <a:pt x="43" y="70"/>
                      <a:pt x="44" y="74"/>
                    </a:cubicBezTo>
                    <a:cubicBezTo>
                      <a:pt x="39" y="74"/>
                      <a:pt x="35" y="75"/>
                      <a:pt x="31" y="76"/>
                    </a:cubicBezTo>
                    <a:close/>
                  </a:path>
                </a:pathLst>
              </a:custGeom>
              <a:solidFill>
                <a:srgbClr val="6B4A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îšļiďê"/>
              <p:cNvSpPr/>
              <p:nvPr/>
            </p:nvSpPr>
            <p:spPr bwMode="auto">
              <a:xfrm>
                <a:off x="5401774" y="3101938"/>
                <a:ext cx="1520992" cy="525065"/>
              </a:xfrm>
              <a:custGeom>
                <a:avLst/>
                <a:gdLst>
                  <a:gd name="T0" fmla="*/ 197 w 216"/>
                  <a:gd name="T1" fmla="*/ 4 h 75"/>
                  <a:gd name="T2" fmla="*/ 183 w 216"/>
                  <a:gd name="T3" fmla="*/ 3 h 75"/>
                  <a:gd name="T4" fmla="*/ 175 w 216"/>
                  <a:gd name="T5" fmla="*/ 3 h 75"/>
                  <a:gd name="T6" fmla="*/ 165 w 216"/>
                  <a:gd name="T7" fmla="*/ 3 h 75"/>
                  <a:gd name="T8" fmla="*/ 155 w 216"/>
                  <a:gd name="T9" fmla="*/ 3 h 75"/>
                  <a:gd name="T10" fmla="*/ 133 w 216"/>
                  <a:gd name="T11" fmla="*/ 2 h 75"/>
                  <a:gd name="T12" fmla="*/ 111 w 216"/>
                  <a:gd name="T13" fmla="*/ 1 h 75"/>
                  <a:gd name="T14" fmla="*/ 90 w 216"/>
                  <a:gd name="T15" fmla="*/ 0 h 75"/>
                  <a:gd name="T16" fmla="*/ 68 w 216"/>
                  <a:gd name="T17" fmla="*/ 2 h 75"/>
                  <a:gd name="T18" fmla="*/ 40 w 216"/>
                  <a:gd name="T19" fmla="*/ 5 h 75"/>
                  <a:gd name="T20" fmla="*/ 35 w 216"/>
                  <a:gd name="T21" fmla="*/ 5 h 75"/>
                  <a:gd name="T22" fmla="*/ 27 w 216"/>
                  <a:gd name="T23" fmla="*/ 6 h 75"/>
                  <a:gd name="T24" fmla="*/ 12 w 216"/>
                  <a:gd name="T25" fmla="*/ 14 h 75"/>
                  <a:gd name="T26" fmla="*/ 0 w 216"/>
                  <a:gd name="T27" fmla="*/ 47 h 75"/>
                  <a:gd name="T28" fmla="*/ 3 w 216"/>
                  <a:gd name="T29" fmla="*/ 63 h 75"/>
                  <a:gd name="T30" fmla="*/ 14 w 216"/>
                  <a:gd name="T31" fmla="*/ 71 h 75"/>
                  <a:gd name="T32" fmla="*/ 41 w 216"/>
                  <a:gd name="T33" fmla="*/ 72 h 75"/>
                  <a:gd name="T34" fmla="*/ 42 w 216"/>
                  <a:gd name="T35" fmla="*/ 71 h 75"/>
                  <a:gd name="T36" fmla="*/ 56 w 216"/>
                  <a:gd name="T37" fmla="*/ 72 h 75"/>
                  <a:gd name="T38" fmla="*/ 96 w 216"/>
                  <a:gd name="T39" fmla="*/ 71 h 75"/>
                  <a:gd name="T40" fmla="*/ 136 w 216"/>
                  <a:gd name="T41" fmla="*/ 70 h 75"/>
                  <a:gd name="T42" fmla="*/ 155 w 216"/>
                  <a:gd name="T43" fmla="*/ 70 h 75"/>
                  <a:gd name="T44" fmla="*/ 165 w 216"/>
                  <a:gd name="T45" fmla="*/ 70 h 75"/>
                  <a:gd name="T46" fmla="*/ 171 w 216"/>
                  <a:gd name="T47" fmla="*/ 68 h 75"/>
                  <a:gd name="T48" fmla="*/ 200 w 216"/>
                  <a:gd name="T49" fmla="*/ 62 h 75"/>
                  <a:gd name="T50" fmla="*/ 214 w 216"/>
                  <a:gd name="T51" fmla="*/ 39 h 75"/>
                  <a:gd name="T52" fmla="*/ 209 w 216"/>
                  <a:gd name="T53" fmla="*/ 13 h 75"/>
                  <a:gd name="T54" fmla="*/ 197 w 216"/>
                  <a:gd name="T55" fmla="*/ 4 h 75"/>
                  <a:gd name="T56" fmla="*/ 205 w 216"/>
                  <a:gd name="T57" fmla="*/ 38 h 75"/>
                  <a:gd name="T58" fmla="*/ 205 w 216"/>
                  <a:gd name="T59" fmla="*/ 38 h 75"/>
                  <a:gd name="T60" fmla="*/ 194 w 216"/>
                  <a:gd name="T61" fmla="*/ 56 h 75"/>
                  <a:gd name="T62" fmla="*/ 171 w 216"/>
                  <a:gd name="T63" fmla="*/ 62 h 75"/>
                  <a:gd name="T64" fmla="*/ 156 w 216"/>
                  <a:gd name="T65" fmla="*/ 62 h 75"/>
                  <a:gd name="T66" fmla="*/ 137 w 216"/>
                  <a:gd name="T67" fmla="*/ 62 h 75"/>
                  <a:gd name="T68" fmla="*/ 97 w 216"/>
                  <a:gd name="T69" fmla="*/ 64 h 75"/>
                  <a:gd name="T70" fmla="*/ 58 w 216"/>
                  <a:gd name="T71" fmla="*/ 65 h 75"/>
                  <a:gd name="T72" fmla="*/ 32 w 216"/>
                  <a:gd name="T73" fmla="*/ 66 h 75"/>
                  <a:gd name="T74" fmla="*/ 20 w 216"/>
                  <a:gd name="T75" fmla="*/ 64 h 75"/>
                  <a:gd name="T76" fmla="*/ 11 w 216"/>
                  <a:gd name="T77" fmla="*/ 60 h 75"/>
                  <a:gd name="T78" fmla="*/ 8 w 216"/>
                  <a:gd name="T79" fmla="*/ 48 h 75"/>
                  <a:gd name="T80" fmla="*/ 17 w 216"/>
                  <a:gd name="T81" fmla="*/ 21 h 75"/>
                  <a:gd name="T82" fmla="*/ 37 w 216"/>
                  <a:gd name="T83" fmla="*/ 10 h 75"/>
                  <a:gd name="T84" fmla="*/ 66 w 216"/>
                  <a:gd name="T85" fmla="*/ 10 h 75"/>
                  <a:gd name="T86" fmla="*/ 109 w 216"/>
                  <a:gd name="T87" fmla="*/ 9 h 75"/>
                  <a:gd name="T88" fmla="*/ 151 w 216"/>
                  <a:gd name="T89" fmla="*/ 12 h 75"/>
                  <a:gd name="T90" fmla="*/ 160 w 216"/>
                  <a:gd name="T91" fmla="*/ 11 h 75"/>
                  <a:gd name="T92" fmla="*/ 170 w 216"/>
                  <a:gd name="T93" fmla="*/ 11 h 75"/>
                  <a:gd name="T94" fmla="*/ 179 w 216"/>
                  <a:gd name="T95" fmla="*/ 10 h 75"/>
                  <a:gd name="T96" fmla="*/ 185 w 216"/>
                  <a:gd name="T97" fmla="*/ 10 h 75"/>
                  <a:gd name="T98" fmla="*/ 192 w 216"/>
                  <a:gd name="T99" fmla="*/ 12 h 75"/>
                  <a:gd name="T100" fmla="*/ 201 w 216"/>
                  <a:gd name="T101" fmla="*/ 18 h 75"/>
                  <a:gd name="T102" fmla="*/ 205 w 216"/>
                  <a:gd name="T103" fmla="*/ 38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" h="75">
                    <a:moveTo>
                      <a:pt x="197" y="4"/>
                    </a:moveTo>
                    <a:cubicBezTo>
                      <a:pt x="193" y="2"/>
                      <a:pt x="187" y="1"/>
                      <a:pt x="183" y="3"/>
                    </a:cubicBezTo>
                    <a:cubicBezTo>
                      <a:pt x="180" y="2"/>
                      <a:pt x="177" y="3"/>
                      <a:pt x="175" y="3"/>
                    </a:cubicBezTo>
                    <a:cubicBezTo>
                      <a:pt x="171" y="3"/>
                      <a:pt x="168" y="3"/>
                      <a:pt x="165" y="3"/>
                    </a:cubicBezTo>
                    <a:cubicBezTo>
                      <a:pt x="162" y="2"/>
                      <a:pt x="158" y="3"/>
                      <a:pt x="155" y="3"/>
                    </a:cubicBezTo>
                    <a:cubicBezTo>
                      <a:pt x="148" y="4"/>
                      <a:pt x="140" y="3"/>
                      <a:pt x="133" y="2"/>
                    </a:cubicBezTo>
                    <a:cubicBezTo>
                      <a:pt x="126" y="2"/>
                      <a:pt x="119" y="2"/>
                      <a:pt x="111" y="1"/>
                    </a:cubicBezTo>
                    <a:cubicBezTo>
                      <a:pt x="104" y="0"/>
                      <a:pt x="98" y="0"/>
                      <a:pt x="90" y="0"/>
                    </a:cubicBezTo>
                    <a:cubicBezTo>
                      <a:pt x="83" y="0"/>
                      <a:pt x="76" y="1"/>
                      <a:pt x="68" y="2"/>
                    </a:cubicBezTo>
                    <a:cubicBezTo>
                      <a:pt x="59" y="3"/>
                      <a:pt x="50" y="4"/>
                      <a:pt x="40" y="5"/>
                    </a:cubicBezTo>
                    <a:cubicBezTo>
                      <a:pt x="39" y="5"/>
                      <a:pt x="37" y="4"/>
                      <a:pt x="35" y="5"/>
                    </a:cubicBezTo>
                    <a:cubicBezTo>
                      <a:pt x="32" y="5"/>
                      <a:pt x="30" y="5"/>
                      <a:pt x="27" y="6"/>
                    </a:cubicBezTo>
                    <a:cubicBezTo>
                      <a:pt x="21" y="7"/>
                      <a:pt x="16" y="10"/>
                      <a:pt x="12" y="14"/>
                    </a:cubicBezTo>
                    <a:cubicBezTo>
                      <a:pt x="2" y="23"/>
                      <a:pt x="0" y="34"/>
                      <a:pt x="0" y="47"/>
                    </a:cubicBezTo>
                    <a:cubicBezTo>
                      <a:pt x="0" y="52"/>
                      <a:pt x="0" y="58"/>
                      <a:pt x="3" y="63"/>
                    </a:cubicBezTo>
                    <a:cubicBezTo>
                      <a:pt x="6" y="67"/>
                      <a:pt x="10" y="69"/>
                      <a:pt x="14" y="71"/>
                    </a:cubicBezTo>
                    <a:cubicBezTo>
                      <a:pt x="22" y="74"/>
                      <a:pt x="33" y="75"/>
                      <a:pt x="41" y="72"/>
                    </a:cubicBezTo>
                    <a:cubicBezTo>
                      <a:pt x="42" y="72"/>
                      <a:pt x="42" y="72"/>
                      <a:pt x="42" y="71"/>
                    </a:cubicBezTo>
                    <a:cubicBezTo>
                      <a:pt x="47" y="71"/>
                      <a:pt x="52" y="72"/>
                      <a:pt x="56" y="72"/>
                    </a:cubicBezTo>
                    <a:cubicBezTo>
                      <a:pt x="70" y="72"/>
                      <a:pt x="83" y="71"/>
                      <a:pt x="96" y="71"/>
                    </a:cubicBezTo>
                    <a:cubicBezTo>
                      <a:pt x="109" y="71"/>
                      <a:pt x="122" y="70"/>
                      <a:pt x="136" y="70"/>
                    </a:cubicBezTo>
                    <a:cubicBezTo>
                      <a:pt x="142" y="70"/>
                      <a:pt x="149" y="70"/>
                      <a:pt x="155" y="70"/>
                    </a:cubicBezTo>
                    <a:cubicBezTo>
                      <a:pt x="158" y="70"/>
                      <a:pt x="162" y="70"/>
                      <a:pt x="165" y="70"/>
                    </a:cubicBezTo>
                    <a:cubicBezTo>
                      <a:pt x="167" y="69"/>
                      <a:pt x="170" y="69"/>
                      <a:pt x="171" y="68"/>
                    </a:cubicBezTo>
                    <a:cubicBezTo>
                      <a:pt x="181" y="69"/>
                      <a:pt x="192" y="68"/>
                      <a:pt x="200" y="62"/>
                    </a:cubicBezTo>
                    <a:cubicBezTo>
                      <a:pt x="207" y="57"/>
                      <a:pt x="212" y="48"/>
                      <a:pt x="214" y="39"/>
                    </a:cubicBezTo>
                    <a:cubicBezTo>
                      <a:pt x="216" y="30"/>
                      <a:pt x="215" y="21"/>
                      <a:pt x="209" y="13"/>
                    </a:cubicBezTo>
                    <a:cubicBezTo>
                      <a:pt x="206" y="8"/>
                      <a:pt x="202" y="6"/>
                      <a:pt x="197" y="4"/>
                    </a:cubicBezTo>
                    <a:close/>
                    <a:moveTo>
                      <a:pt x="205" y="38"/>
                    </a:moveTo>
                    <a:cubicBezTo>
                      <a:pt x="205" y="38"/>
                      <a:pt x="205" y="38"/>
                      <a:pt x="205" y="38"/>
                    </a:cubicBezTo>
                    <a:cubicBezTo>
                      <a:pt x="204" y="45"/>
                      <a:pt x="200" y="51"/>
                      <a:pt x="194" y="56"/>
                    </a:cubicBezTo>
                    <a:cubicBezTo>
                      <a:pt x="188" y="60"/>
                      <a:pt x="179" y="61"/>
                      <a:pt x="171" y="62"/>
                    </a:cubicBezTo>
                    <a:cubicBezTo>
                      <a:pt x="167" y="60"/>
                      <a:pt x="161" y="62"/>
                      <a:pt x="156" y="62"/>
                    </a:cubicBezTo>
                    <a:cubicBezTo>
                      <a:pt x="150" y="62"/>
                      <a:pt x="143" y="62"/>
                      <a:pt x="137" y="62"/>
                    </a:cubicBezTo>
                    <a:cubicBezTo>
                      <a:pt x="124" y="62"/>
                      <a:pt x="110" y="63"/>
                      <a:pt x="97" y="64"/>
                    </a:cubicBezTo>
                    <a:cubicBezTo>
                      <a:pt x="84" y="64"/>
                      <a:pt x="71" y="65"/>
                      <a:pt x="58" y="65"/>
                    </a:cubicBezTo>
                    <a:cubicBezTo>
                      <a:pt x="49" y="65"/>
                      <a:pt x="40" y="66"/>
                      <a:pt x="32" y="66"/>
                    </a:cubicBezTo>
                    <a:cubicBezTo>
                      <a:pt x="28" y="65"/>
                      <a:pt x="24" y="65"/>
                      <a:pt x="20" y="64"/>
                    </a:cubicBezTo>
                    <a:cubicBezTo>
                      <a:pt x="17" y="63"/>
                      <a:pt x="13" y="62"/>
                      <a:pt x="11" y="60"/>
                    </a:cubicBezTo>
                    <a:cubicBezTo>
                      <a:pt x="8" y="57"/>
                      <a:pt x="8" y="51"/>
                      <a:pt x="8" y="48"/>
                    </a:cubicBezTo>
                    <a:cubicBezTo>
                      <a:pt x="8" y="37"/>
                      <a:pt x="10" y="29"/>
                      <a:pt x="17" y="21"/>
                    </a:cubicBezTo>
                    <a:cubicBezTo>
                      <a:pt x="23" y="15"/>
                      <a:pt x="30" y="13"/>
                      <a:pt x="37" y="10"/>
                    </a:cubicBezTo>
                    <a:cubicBezTo>
                      <a:pt x="47" y="11"/>
                      <a:pt x="56" y="11"/>
                      <a:pt x="66" y="10"/>
                    </a:cubicBezTo>
                    <a:cubicBezTo>
                      <a:pt x="80" y="9"/>
                      <a:pt x="94" y="7"/>
                      <a:pt x="109" y="9"/>
                    </a:cubicBezTo>
                    <a:cubicBezTo>
                      <a:pt x="123" y="11"/>
                      <a:pt x="137" y="11"/>
                      <a:pt x="151" y="12"/>
                    </a:cubicBezTo>
                    <a:cubicBezTo>
                      <a:pt x="154" y="12"/>
                      <a:pt x="157" y="11"/>
                      <a:pt x="160" y="11"/>
                    </a:cubicBezTo>
                    <a:cubicBezTo>
                      <a:pt x="163" y="11"/>
                      <a:pt x="166" y="11"/>
                      <a:pt x="170" y="11"/>
                    </a:cubicBezTo>
                    <a:cubicBezTo>
                      <a:pt x="173" y="11"/>
                      <a:pt x="176" y="10"/>
                      <a:pt x="179" y="10"/>
                    </a:cubicBezTo>
                    <a:cubicBezTo>
                      <a:pt x="181" y="10"/>
                      <a:pt x="183" y="10"/>
                      <a:pt x="185" y="10"/>
                    </a:cubicBezTo>
                    <a:cubicBezTo>
                      <a:pt x="187" y="11"/>
                      <a:pt x="190" y="12"/>
                      <a:pt x="192" y="12"/>
                    </a:cubicBezTo>
                    <a:cubicBezTo>
                      <a:pt x="195" y="14"/>
                      <a:pt x="198" y="15"/>
                      <a:pt x="201" y="18"/>
                    </a:cubicBezTo>
                    <a:cubicBezTo>
                      <a:pt x="206" y="23"/>
                      <a:pt x="206" y="31"/>
                      <a:pt x="205" y="38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iṡlïḍè"/>
              <p:cNvSpPr/>
              <p:nvPr/>
            </p:nvSpPr>
            <p:spPr bwMode="auto">
              <a:xfrm>
                <a:off x="5754074" y="3234050"/>
                <a:ext cx="226964" cy="203251"/>
              </a:xfrm>
              <a:custGeom>
                <a:avLst/>
                <a:gdLst>
                  <a:gd name="T0" fmla="*/ 18 w 32"/>
                  <a:gd name="T1" fmla="*/ 1 h 29"/>
                  <a:gd name="T2" fmla="*/ 5 w 32"/>
                  <a:gd name="T3" fmla="*/ 6 h 29"/>
                  <a:gd name="T4" fmla="*/ 4 w 32"/>
                  <a:gd name="T5" fmla="*/ 7 h 29"/>
                  <a:gd name="T6" fmla="*/ 4 w 32"/>
                  <a:gd name="T7" fmla="*/ 8 h 29"/>
                  <a:gd name="T8" fmla="*/ 7 w 32"/>
                  <a:gd name="T9" fmla="*/ 22 h 29"/>
                  <a:gd name="T10" fmla="*/ 29 w 32"/>
                  <a:gd name="T11" fmla="*/ 10 h 29"/>
                  <a:gd name="T12" fmla="*/ 18 w 32"/>
                  <a:gd name="T1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29">
                    <a:moveTo>
                      <a:pt x="18" y="1"/>
                    </a:moveTo>
                    <a:cubicBezTo>
                      <a:pt x="13" y="0"/>
                      <a:pt x="7" y="1"/>
                      <a:pt x="5" y="6"/>
                    </a:cubicBezTo>
                    <a:cubicBezTo>
                      <a:pt x="4" y="6"/>
                      <a:pt x="4" y="7"/>
                      <a:pt x="4" y="7"/>
                    </a:cubicBezTo>
                    <a:cubicBezTo>
                      <a:pt x="4" y="7"/>
                      <a:pt x="4" y="8"/>
                      <a:pt x="4" y="8"/>
                    </a:cubicBezTo>
                    <a:cubicBezTo>
                      <a:pt x="0" y="13"/>
                      <a:pt x="3" y="19"/>
                      <a:pt x="7" y="22"/>
                    </a:cubicBezTo>
                    <a:cubicBezTo>
                      <a:pt x="16" y="29"/>
                      <a:pt x="32" y="22"/>
                      <a:pt x="29" y="10"/>
                    </a:cubicBezTo>
                    <a:cubicBezTo>
                      <a:pt x="28" y="5"/>
                      <a:pt x="23" y="2"/>
                      <a:pt x="18" y="1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iṣliḓe"/>
              <p:cNvSpPr/>
              <p:nvPr/>
            </p:nvSpPr>
            <p:spPr bwMode="auto">
              <a:xfrm>
                <a:off x="6353664" y="3206950"/>
                <a:ext cx="216800" cy="189701"/>
              </a:xfrm>
              <a:custGeom>
                <a:avLst/>
                <a:gdLst>
                  <a:gd name="T0" fmla="*/ 26 w 31"/>
                  <a:gd name="T1" fmla="*/ 5 h 27"/>
                  <a:gd name="T2" fmla="*/ 9 w 31"/>
                  <a:gd name="T3" fmla="*/ 2 h 27"/>
                  <a:gd name="T4" fmla="*/ 6 w 31"/>
                  <a:gd name="T5" fmla="*/ 5 h 27"/>
                  <a:gd name="T6" fmla="*/ 0 w 31"/>
                  <a:gd name="T7" fmla="*/ 15 h 27"/>
                  <a:gd name="T8" fmla="*/ 13 w 31"/>
                  <a:gd name="T9" fmla="*/ 27 h 27"/>
                  <a:gd name="T10" fmla="*/ 27 w 31"/>
                  <a:gd name="T11" fmla="*/ 22 h 27"/>
                  <a:gd name="T12" fmla="*/ 26 w 31"/>
                  <a:gd name="T13" fmla="*/ 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7">
                    <a:moveTo>
                      <a:pt x="26" y="5"/>
                    </a:moveTo>
                    <a:cubicBezTo>
                      <a:pt x="22" y="1"/>
                      <a:pt x="15" y="0"/>
                      <a:pt x="9" y="2"/>
                    </a:cubicBezTo>
                    <a:cubicBezTo>
                      <a:pt x="8" y="3"/>
                      <a:pt x="7" y="4"/>
                      <a:pt x="6" y="5"/>
                    </a:cubicBezTo>
                    <a:cubicBezTo>
                      <a:pt x="2" y="7"/>
                      <a:pt x="0" y="11"/>
                      <a:pt x="0" y="15"/>
                    </a:cubicBezTo>
                    <a:cubicBezTo>
                      <a:pt x="0" y="22"/>
                      <a:pt x="7" y="26"/>
                      <a:pt x="13" y="27"/>
                    </a:cubicBezTo>
                    <a:cubicBezTo>
                      <a:pt x="18" y="27"/>
                      <a:pt x="24" y="26"/>
                      <a:pt x="27" y="22"/>
                    </a:cubicBezTo>
                    <a:cubicBezTo>
                      <a:pt x="31" y="17"/>
                      <a:pt x="31" y="9"/>
                      <a:pt x="26" y="5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ïṥḻïde"/>
              <p:cNvSpPr/>
              <p:nvPr/>
            </p:nvSpPr>
            <p:spPr bwMode="auto">
              <a:xfrm>
                <a:off x="5747299" y="4592443"/>
                <a:ext cx="64364" cy="67750"/>
              </a:xfrm>
              <a:custGeom>
                <a:avLst/>
                <a:gdLst>
                  <a:gd name="T0" fmla="*/ 8 w 9"/>
                  <a:gd name="T1" fmla="*/ 2 h 10"/>
                  <a:gd name="T2" fmla="*/ 4 w 9"/>
                  <a:gd name="T3" fmla="*/ 0 h 10"/>
                  <a:gd name="T4" fmla="*/ 2 w 9"/>
                  <a:gd name="T5" fmla="*/ 1 h 10"/>
                  <a:gd name="T6" fmla="*/ 1 w 9"/>
                  <a:gd name="T7" fmla="*/ 2 h 10"/>
                  <a:gd name="T8" fmla="*/ 0 w 9"/>
                  <a:gd name="T9" fmla="*/ 4 h 10"/>
                  <a:gd name="T10" fmla="*/ 1 w 9"/>
                  <a:gd name="T11" fmla="*/ 7 h 10"/>
                  <a:gd name="T12" fmla="*/ 8 w 9"/>
                  <a:gd name="T13" fmla="*/ 7 h 10"/>
                  <a:gd name="T14" fmla="*/ 9 w 9"/>
                  <a:gd name="T15" fmla="*/ 4 h 10"/>
                  <a:gd name="T16" fmla="*/ 8 w 9"/>
                  <a:gd name="T17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0">
                    <a:moveTo>
                      <a:pt x="8" y="2"/>
                    </a:moveTo>
                    <a:cubicBezTo>
                      <a:pt x="7" y="1"/>
                      <a:pt x="6" y="0"/>
                      <a:pt x="4" y="0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2" y="10"/>
                      <a:pt x="7" y="10"/>
                      <a:pt x="8" y="7"/>
                    </a:cubicBezTo>
                    <a:cubicBezTo>
                      <a:pt x="9" y="6"/>
                      <a:pt x="9" y="5"/>
                      <a:pt x="9" y="4"/>
                    </a:cubicBezTo>
                    <a:cubicBezTo>
                      <a:pt x="8" y="3"/>
                      <a:pt x="8" y="2"/>
                      <a:pt x="8" y="2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ïṧḻiḓé"/>
              <p:cNvSpPr/>
              <p:nvPr/>
            </p:nvSpPr>
            <p:spPr bwMode="auto">
              <a:xfrm>
                <a:off x="6014913" y="4605993"/>
                <a:ext cx="71139" cy="71139"/>
              </a:xfrm>
              <a:custGeom>
                <a:avLst/>
                <a:gdLst>
                  <a:gd name="T0" fmla="*/ 9 w 10"/>
                  <a:gd name="T1" fmla="*/ 3 h 10"/>
                  <a:gd name="T2" fmla="*/ 5 w 10"/>
                  <a:gd name="T3" fmla="*/ 0 h 10"/>
                  <a:gd name="T4" fmla="*/ 1 w 10"/>
                  <a:gd name="T5" fmla="*/ 3 h 10"/>
                  <a:gd name="T6" fmla="*/ 1 w 10"/>
                  <a:gd name="T7" fmla="*/ 3 h 10"/>
                  <a:gd name="T8" fmla="*/ 0 w 10"/>
                  <a:gd name="T9" fmla="*/ 5 h 10"/>
                  <a:gd name="T10" fmla="*/ 1 w 10"/>
                  <a:gd name="T11" fmla="*/ 8 h 10"/>
                  <a:gd name="T12" fmla="*/ 5 w 10"/>
                  <a:gd name="T13" fmla="*/ 10 h 10"/>
                  <a:gd name="T14" fmla="*/ 9 w 10"/>
                  <a:gd name="T15" fmla="*/ 8 h 10"/>
                  <a:gd name="T16" fmla="*/ 10 w 10"/>
                  <a:gd name="T17" fmla="*/ 5 h 10"/>
                  <a:gd name="T18" fmla="*/ 9 w 10"/>
                  <a:gd name="T19" fmla="*/ 3 h 10"/>
                  <a:gd name="T20" fmla="*/ 9 w 10"/>
                  <a:gd name="T21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0">
                    <a:moveTo>
                      <a:pt x="9" y="3"/>
                    </a:moveTo>
                    <a:cubicBezTo>
                      <a:pt x="8" y="1"/>
                      <a:pt x="7" y="0"/>
                      <a:pt x="5" y="0"/>
                    </a:cubicBezTo>
                    <a:cubicBezTo>
                      <a:pt x="3" y="0"/>
                      <a:pt x="2" y="1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5"/>
                    </a:cubicBezTo>
                    <a:cubicBezTo>
                      <a:pt x="0" y="6"/>
                      <a:pt x="0" y="7"/>
                      <a:pt x="1" y="8"/>
                    </a:cubicBezTo>
                    <a:cubicBezTo>
                      <a:pt x="2" y="9"/>
                      <a:pt x="3" y="10"/>
                      <a:pt x="5" y="10"/>
                    </a:cubicBezTo>
                    <a:cubicBezTo>
                      <a:pt x="7" y="10"/>
                      <a:pt x="8" y="9"/>
                      <a:pt x="9" y="8"/>
                    </a:cubicBezTo>
                    <a:cubicBezTo>
                      <a:pt x="10" y="7"/>
                      <a:pt x="10" y="6"/>
                      <a:pt x="10" y="5"/>
                    </a:cubicBezTo>
                    <a:cubicBezTo>
                      <a:pt x="10" y="5"/>
                      <a:pt x="10" y="4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ïṧľîďè"/>
              <p:cNvSpPr/>
              <p:nvPr/>
            </p:nvSpPr>
            <p:spPr bwMode="auto">
              <a:xfrm>
                <a:off x="6204614" y="4619543"/>
                <a:ext cx="64364" cy="64364"/>
              </a:xfrm>
              <a:custGeom>
                <a:avLst/>
                <a:gdLst>
                  <a:gd name="T0" fmla="*/ 5 w 9"/>
                  <a:gd name="T1" fmla="*/ 0 h 9"/>
                  <a:gd name="T2" fmla="*/ 3 w 9"/>
                  <a:gd name="T3" fmla="*/ 0 h 9"/>
                  <a:gd name="T4" fmla="*/ 1 w 9"/>
                  <a:gd name="T5" fmla="*/ 1 h 9"/>
                  <a:gd name="T6" fmla="*/ 0 w 9"/>
                  <a:gd name="T7" fmla="*/ 5 h 9"/>
                  <a:gd name="T8" fmla="*/ 0 w 9"/>
                  <a:gd name="T9" fmla="*/ 6 h 9"/>
                  <a:gd name="T10" fmla="*/ 1 w 9"/>
                  <a:gd name="T11" fmla="*/ 8 h 9"/>
                  <a:gd name="T12" fmla="*/ 4 w 9"/>
                  <a:gd name="T13" fmla="*/ 9 h 9"/>
                  <a:gd name="T14" fmla="*/ 6 w 9"/>
                  <a:gd name="T15" fmla="*/ 9 h 9"/>
                  <a:gd name="T16" fmla="*/ 8 w 9"/>
                  <a:gd name="T17" fmla="*/ 6 h 9"/>
                  <a:gd name="T18" fmla="*/ 8 w 9"/>
                  <a:gd name="T19" fmla="*/ 2 h 9"/>
                  <a:gd name="T20" fmla="*/ 5 w 9"/>
                  <a:gd name="T2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9">
                    <a:moveTo>
                      <a:pt x="5" y="0"/>
                    </a:move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2" y="1"/>
                      <a:pt x="1" y="1"/>
                    </a:cubicBezTo>
                    <a:cubicBezTo>
                      <a:pt x="0" y="2"/>
                      <a:pt x="0" y="3"/>
                      <a:pt x="0" y="5"/>
                    </a:cubicBezTo>
                    <a:cubicBezTo>
                      <a:pt x="0" y="5"/>
                      <a:pt x="0" y="5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cubicBezTo>
                      <a:pt x="2" y="9"/>
                      <a:pt x="3" y="9"/>
                      <a:pt x="4" y="9"/>
                    </a:cubicBezTo>
                    <a:cubicBezTo>
                      <a:pt x="5" y="9"/>
                      <a:pt x="6" y="9"/>
                      <a:pt x="6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5"/>
                      <a:pt x="9" y="3"/>
                      <a:pt x="8" y="2"/>
                    </a:cubicBezTo>
                    <a:cubicBezTo>
                      <a:pt x="7" y="1"/>
                      <a:pt x="6" y="0"/>
                      <a:pt x="5" y="0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í$ļîdé"/>
              <p:cNvSpPr/>
              <p:nvPr/>
            </p:nvSpPr>
            <p:spPr bwMode="auto">
              <a:xfrm>
                <a:off x="6472226" y="4670354"/>
                <a:ext cx="3389" cy="3389"/>
              </a:xfrm>
              <a:prstGeom prst="rect">
                <a:avLst/>
              </a:pr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í$lïdê"/>
              <p:cNvSpPr/>
              <p:nvPr/>
            </p:nvSpPr>
            <p:spPr bwMode="auto">
              <a:xfrm>
                <a:off x="6421414" y="4605993"/>
                <a:ext cx="84689" cy="71139"/>
              </a:xfrm>
              <a:custGeom>
                <a:avLst/>
                <a:gdLst>
                  <a:gd name="T0" fmla="*/ 8 w 12"/>
                  <a:gd name="T1" fmla="*/ 0 h 10"/>
                  <a:gd name="T2" fmla="*/ 2 w 12"/>
                  <a:gd name="T3" fmla="*/ 3 h 10"/>
                  <a:gd name="T4" fmla="*/ 2 w 12"/>
                  <a:gd name="T5" fmla="*/ 8 h 10"/>
                  <a:gd name="T6" fmla="*/ 7 w 12"/>
                  <a:gd name="T7" fmla="*/ 8 h 10"/>
                  <a:gd name="T8" fmla="*/ 7 w 12"/>
                  <a:gd name="T9" fmla="*/ 8 h 10"/>
                  <a:gd name="T10" fmla="*/ 7 w 12"/>
                  <a:gd name="T11" fmla="*/ 9 h 10"/>
                  <a:gd name="T12" fmla="*/ 7 w 12"/>
                  <a:gd name="T13" fmla="*/ 8 h 10"/>
                  <a:gd name="T14" fmla="*/ 7 w 12"/>
                  <a:gd name="T15" fmla="*/ 8 h 10"/>
                  <a:gd name="T16" fmla="*/ 9 w 12"/>
                  <a:gd name="T17" fmla="*/ 8 h 10"/>
                  <a:gd name="T18" fmla="*/ 8 w 12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0">
                    <a:moveTo>
                      <a:pt x="8" y="0"/>
                    </a:moveTo>
                    <a:cubicBezTo>
                      <a:pt x="6" y="0"/>
                      <a:pt x="3" y="1"/>
                      <a:pt x="2" y="3"/>
                    </a:cubicBezTo>
                    <a:cubicBezTo>
                      <a:pt x="0" y="4"/>
                      <a:pt x="0" y="7"/>
                      <a:pt x="2" y="8"/>
                    </a:cubicBezTo>
                    <a:cubicBezTo>
                      <a:pt x="3" y="10"/>
                      <a:pt x="6" y="10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7" y="8"/>
                      <a:pt x="7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8" y="8"/>
                      <a:pt x="9" y="8"/>
                      <a:pt x="9" y="8"/>
                    </a:cubicBezTo>
                    <a:cubicBezTo>
                      <a:pt x="12" y="6"/>
                      <a:pt x="12" y="1"/>
                      <a:pt x="8" y="0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ïş1iḋé"/>
              <p:cNvSpPr/>
              <p:nvPr/>
            </p:nvSpPr>
            <p:spPr bwMode="auto">
              <a:xfrm>
                <a:off x="6438351" y="3782827"/>
                <a:ext cx="477640" cy="667341"/>
              </a:xfrm>
              <a:custGeom>
                <a:avLst/>
                <a:gdLst>
                  <a:gd name="T0" fmla="*/ 66 w 68"/>
                  <a:gd name="T1" fmla="*/ 27 h 95"/>
                  <a:gd name="T2" fmla="*/ 65 w 68"/>
                  <a:gd name="T3" fmla="*/ 9 h 95"/>
                  <a:gd name="T4" fmla="*/ 64 w 68"/>
                  <a:gd name="T5" fmla="*/ 4 h 95"/>
                  <a:gd name="T6" fmla="*/ 54 w 68"/>
                  <a:gd name="T7" fmla="*/ 2 h 95"/>
                  <a:gd name="T8" fmla="*/ 39 w 68"/>
                  <a:gd name="T9" fmla="*/ 1 h 95"/>
                  <a:gd name="T10" fmla="*/ 21 w 68"/>
                  <a:gd name="T11" fmla="*/ 1 h 95"/>
                  <a:gd name="T12" fmla="*/ 8 w 68"/>
                  <a:gd name="T13" fmla="*/ 4 h 95"/>
                  <a:gd name="T14" fmla="*/ 6 w 68"/>
                  <a:gd name="T15" fmla="*/ 5 h 95"/>
                  <a:gd name="T16" fmla="*/ 3 w 68"/>
                  <a:gd name="T17" fmla="*/ 50 h 95"/>
                  <a:gd name="T18" fmla="*/ 1 w 68"/>
                  <a:gd name="T19" fmla="*/ 78 h 95"/>
                  <a:gd name="T20" fmla="*/ 7 w 68"/>
                  <a:gd name="T21" fmla="*/ 89 h 95"/>
                  <a:gd name="T22" fmla="*/ 23 w 68"/>
                  <a:gd name="T23" fmla="*/ 94 h 95"/>
                  <a:gd name="T24" fmla="*/ 44 w 68"/>
                  <a:gd name="T25" fmla="*/ 93 h 95"/>
                  <a:gd name="T26" fmla="*/ 60 w 68"/>
                  <a:gd name="T27" fmla="*/ 89 h 95"/>
                  <a:gd name="T28" fmla="*/ 61 w 68"/>
                  <a:gd name="T29" fmla="*/ 90 h 95"/>
                  <a:gd name="T30" fmla="*/ 65 w 68"/>
                  <a:gd name="T31" fmla="*/ 89 h 95"/>
                  <a:gd name="T32" fmla="*/ 66 w 68"/>
                  <a:gd name="T33" fmla="*/ 80 h 95"/>
                  <a:gd name="T34" fmla="*/ 67 w 68"/>
                  <a:gd name="T35" fmla="*/ 70 h 95"/>
                  <a:gd name="T36" fmla="*/ 67 w 68"/>
                  <a:gd name="T37" fmla="*/ 49 h 95"/>
                  <a:gd name="T38" fmla="*/ 66 w 68"/>
                  <a:gd name="T39" fmla="*/ 27 h 95"/>
                  <a:gd name="T40" fmla="*/ 45 w 68"/>
                  <a:gd name="T41" fmla="*/ 85 h 95"/>
                  <a:gd name="T42" fmla="*/ 45 w 68"/>
                  <a:gd name="T43" fmla="*/ 85 h 95"/>
                  <a:gd name="T44" fmla="*/ 25 w 68"/>
                  <a:gd name="T45" fmla="*/ 87 h 95"/>
                  <a:gd name="T46" fmla="*/ 12 w 68"/>
                  <a:gd name="T47" fmla="*/ 83 h 95"/>
                  <a:gd name="T48" fmla="*/ 9 w 68"/>
                  <a:gd name="T49" fmla="*/ 74 h 95"/>
                  <a:gd name="T50" fmla="*/ 10 w 68"/>
                  <a:gd name="T51" fmla="*/ 48 h 95"/>
                  <a:gd name="T52" fmla="*/ 11 w 68"/>
                  <a:gd name="T53" fmla="*/ 8 h 95"/>
                  <a:gd name="T54" fmla="*/ 15 w 68"/>
                  <a:gd name="T55" fmla="*/ 8 h 95"/>
                  <a:gd name="T56" fmla="*/ 22 w 68"/>
                  <a:gd name="T57" fmla="*/ 8 h 95"/>
                  <a:gd name="T58" fmla="*/ 36 w 68"/>
                  <a:gd name="T59" fmla="*/ 9 h 95"/>
                  <a:gd name="T60" fmla="*/ 50 w 68"/>
                  <a:gd name="T61" fmla="*/ 10 h 95"/>
                  <a:gd name="T62" fmla="*/ 55 w 68"/>
                  <a:gd name="T63" fmla="*/ 10 h 95"/>
                  <a:gd name="T64" fmla="*/ 58 w 68"/>
                  <a:gd name="T65" fmla="*/ 10 h 95"/>
                  <a:gd name="T66" fmla="*/ 58 w 68"/>
                  <a:gd name="T67" fmla="*/ 10 h 95"/>
                  <a:gd name="T68" fmla="*/ 58 w 68"/>
                  <a:gd name="T69" fmla="*/ 27 h 95"/>
                  <a:gd name="T70" fmla="*/ 58 w 68"/>
                  <a:gd name="T71" fmla="*/ 50 h 95"/>
                  <a:gd name="T72" fmla="*/ 58 w 68"/>
                  <a:gd name="T73" fmla="*/ 71 h 95"/>
                  <a:gd name="T74" fmla="*/ 58 w 68"/>
                  <a:gd name="T75" fmla="*/ 83 h 95"/>
                  <a:gd name="T76" fmla="*/ 45 w 68"/>
                  <a:gd name="T77" fmla="*/ 8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8" h="95">
                    <a:moveTo>
                      <a:pt x="66" y="27"/>
                    </a:moveTo>
                    <a:cubicBezTo>
                      <a:pt x="66" y="21"/>
                      <a:pt x="66" y="15"/>
                      <a:pt x="65" y="9"/>
                    </a:cubicBezTo>
                    <a:cubicBezTo>
                      <a:pt x="66" y="7"/>
                      <a:pt x="66" y="5"/>
                      <a:pt x="64" y="4"/>
                    </a:cubicBezTo>
                    <a:cubicBezTo>
                      <a:pt x="62" y="1"/>
                      <a:pt x="58" y="1"/>
                      <a:pt x="54" y="2"/>
                    </a:cubicBezTo>
                    <a:cubicBezTo>
                      <a:pt x="49" y="2"/>
                      <a:pt x="44" y="2"/>
                      <a:pt x="39" y="1"/>
                    </a:cubicBezTo>
                    <a:cubicBezTo>
                      <a:pt x="33" y="1"/>
                      <a:pt x="27" y="0"/>
                      <a:pt x="21" y="1"/>
                    </a:cubicBezTo>
                    <a:cubicBezTo>
                      <a:pt x="16" y="1"/>
                      <a:pt x="12" y="1"/>
                      <a:pt x="8" y="4"/>
                    </a:cubicBezTo>
                    <a:cubicBezTo>
                      <a:pt x="7" y="4"/>
                      <a:pt x="6" y="4"/>
                      <a:pt x="6" y="5"/>
                    </a:cubicBezTo>
                    <a:cubicBezTo>
                      <a:pt x="1" y="20"/>
                      <a:pt x="3" y="35"/>
                      <a:pt x="3" y="50"/>
                    </a:cubicBezTo>
                    <a:cubicBezTo>
                      <a:pt x="3" y="60"/>
                      <a:pt x="0" y="69"/>
                      <a:pt x="1" y="78"/>
                    </a:cubicBezTo>
                    <a:cubicBezTo>
                      <a:pt x="2" y="83"/>
                      <a:pt x="4" y="87"/>
                      <a:pt x="7" y="89"/>
                    </a:cubicBezTo>
                    <a:cubicBezTo>
                      <a:pt x="11" y="93"/>
                      <a:pt x="17" y="94"/>
                      <a:pt x="23" y="94"/>
                    </a:cubicBezTo>
                    <a:cubicBezTo>
                      <a:pt x="30" y="95"/>
                      <a:pt x="37" y="94"/>
                      <a:pt x="44" y="93"/>
                    </a:cubicBezTo>
                    <a:cubicBezTo>
                      <a:pt x="50" y="92"/>
                      <a:pt x="55" y="91"/>
                      <a:pt x="60" y="89"/>
                    </a:cubicBezTo>
                    <a:cubicBezTo>
                      <a:pt x="61" y="89"/>
                      <a:pt x="61" y="90"/>
                      <a:pt x="61" y="90"/>
                    </a:cubicBezTo>
                    <a:cubicBezTo>
                      <a:pt x="63" y="91"/>
                      <a:pt x="65" y="90"/>
                      <a:pt x="65" y="89"/>
                    </a:cubicBezTo>
                    <a:cubicBezTo>
                      <a:pt x="67" y="86"/>
                      <a:pt x="66" y="84"/>
                      <a:pt x="66" y="80"/>
                    </a:cubicBezTo>
                    <a:cubicBezTo>
                      <a:pt x="66" y="77"/>
                      <a:pt x="67" y="73"/>
                      <a:pt x="67" y="70"/>
                    </a:cubicBezTo>
                    <a:cubicBezTo>
                      <a:pt x="68" y="63"/>
                      <a:pt x="67" y="56"/>
                      <a:pt x="67" y="49"/>
                    </a:cubicBezTo>
                    <a:cubicBezTo>
                      <a:pt x="67" y="42"/>
                      <a:pt x="67" y="34"/>
                      <a:pt x="66" y="27"/>
                    </a:cubicBezTo>
                    <a:close/>
                    <a:moveTo>
                      <a:pt x="45" y="85"/>
                    </a:moveTo>
                    <a:cubicBezTo>
                      <a:pt x="45" y="85"/>
                      <a:pt x="45" y="85"/>
                      <a:pt x="45" y="85"/>
                    </a:cubicBezTo>
                    <a:cubicBezTo>
                      <a:pt x="38" y="86"/>
                      <a:pt x="32" y="87"/>
                      <a:pt x="25" y="87"/>
                    </a:cubicBezTo>
                    <a:cubicBezTo>
                      <a:pt x="21" y="87"/>
                      <a:pt x="15" y="86"/>
                      <a:pt x="12" y="83"/>
                    </a:cubicBezTo>
                    <a:cubicBezTo>
                      <a:pt x="9" y="81"/>
                      <a:pt x="9" y="77"/>
                      <a:pt x="9" y="74"/>
                    </a:cubicBezTo>
                    <a:cubicBezTo>
                      <a:pt x="8" y="65"/>
                      <a:pt x="10" y="56"/>
                      <a:pt x="10" y="48"/>
                    </a:cubicBezTo>
                    <a:cubicBezTo>
                      <a:pt x="10" y="34"/>
                      <a:pt x="10" y="21"/>
                      <a:pt x="11" y="8"/>
                    </a:cubicBezTo>
                    <a:cubicBezTo>
                      <a:pt x="12" y="8"/>
                      <a:pt x="13" y="8"/>
                      <a:pt x="15" y="8"/>
                    </a:cubicBezTo>
                    <a:cubicBezTo>
                      <a:pt x="17" y="8"/>
                      <a:pt x="20" y="8"/>
                      <a:pt x="22" y="8"/>
                    </a:cubicBezTo>
                    <a:cubicBezTo>
                      <a:pt x="27" y="8"/>
                      <a:pt x="32" y="9"/>
                      <a:pt x="36" y="9"/>
                    </a:cubicBezTo>
                    <a:cubicBezTo>
                      <a:pt x="41" y="9"/>
                      <a:pt x="46" y="10"/>
                      <a:pt x="50" y="10"/>
                    </a:cubicBezTo>
                    <a:cubicBezTo>
                      <a:pt x="52" y="10"/>
                      <a:pt x="54" y="10"/>
                      <a:pt x="55" y="10"/>
                    </a:cubicBezTo>
                    <a:cubicBezTo>
                      <a:pt x="56" y="10"/>
                      <a:pt x="57" y="10"/>
                      <a:pt x="58" y="10"/>
                    </a:cubicBezTo>
                    <a:cubicBezTo>
                      <a:pt x="58" y="10"/>
                      <a:pt x="58" y="10"/>
                      <a:pt x="58" y="10"/>
                    </a:cubicBezTo>
                    <a:cubicBezTo>
                      <a:pt x="57" y="15"/>
                      <a:pt x="58" y="21"/>
                      <a:pt x="58" y="27"/>
                    </a:cubicBezTo>
                    <a:cubicBezTo>
                      <a:pt x="58" y="35"/>
                      <a:pt x="58" y="42"/>
                      <a:pt x="58" y="50"/>
                    </a:cubicBezTo>
                    <a:cubicBezTo>
                      <a:pt x="58" y="57"/>
                      <a:pt x="59" y="64"/>
                      <a:pt x="58" y="71"/>
                    </a:cubicBezTo>
                    <a:cubicBezTo>
                      <a:pt x="58" y="75"/>
                      <a:pt x="57" y="79"/>
                      <a:pt x="58" y="83"/>
                    </a:cubicBezTo>
                    <a:cubicBezTo>
                      <a:pt x="53" y="83"/>
                      <a:pt x="49" y="84"/>
                      <a:pt x="45" y="85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îŝḷíde"/>
              <p:cNvSpPr/>
              <p:nvPr/>
            </p:nvSpPr>
            <p:spPr bwMode="auto">
              <a:xfrm>
                <a:off x="6760165" y="3931877"/>
                <a:ext cx="71139" cy="74525"/>
              </a:xfrm>
              <a:custGeom>
                <a:avLst/>
                <a:gdLst>
                  <a:gd name="T0" fmla="*/ 9 w 10"/>
                  <a:gd name="T1" fmla="*/ 2 h 11"/>
                  <a:gd name="T2" fmla="*/ 7 w 10"/>
                  <a:gd name="T3" fmla="*/ 0 h 11"/>
                  <a:gd name="T4" fmla="*/ 4 w 10"/>
                  <a:gd name="T5" fmla="*/ 0 h 11"/>
                  <a:gd name="T6" fmla="*/ 2 w 10"/>
                  <a:gd name="T7" fmla="*/ 1 h 11"/>
                  <a:gd name="T8" fmla="*/ 0 w 10"/>
                  <a:gd name="T9" fmla="*/ 4 h 11"/>
                  <a:gd name="T10" fmla="*/ 1 w 10"/>
                  <a:gd name="T11" fmla="*/ 9 h 11"/>
                  <a:gd name="T12" fmla="*/ 5 w 10"/>
                  <a:gd name="T13" fmla="*/ 11 h 11"/>
                  <a:gd name="T14" fmla="*/ 8 w 10"/>
                  <a:gd name="T15" fmla="*/ 10 h 11"/>
                  <a:gd name="T16" fmla="*/ 10 w 10"/>
                  <a:gd name="T17" fmla="*/ 8 h 11"/>
                  <a:gd name="T18" fmla="*/ 10 w 10"/>
                  <a:gd name="T19" fmla="*/ 7 h 11"/>
                  <a:gd name="T20" fmla="*/ 10 w 10"/>
                  <a:gd name="T21" fmla="*/ 4 h 11"/>
                  <a:gd name="T22" fmla="*/ 9 w 10"/>
                  <a:gd name="T23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1">
                    <a:moveTo>
                      <a:pt x="9" y="2"/>
                    </a:moveTo>
                    <a:cubicBezTo>
                      <a:pt x="8" y="1"/>
                      <a:pt x="7" y="1"/>
                      <a:pt x="7" y="0"/>
                    </a:cubicBezTo>
                    <a:cubicBezTo>
                      <a:pt x="6" y="0"/>
                      <a:pt x="5" y="0"/>
                      <a:pt x="4" y="0"/>
                    </a:cubicBezTo>
                    <a:cubicBezTo>
                      <a:pt x="3" y="0"/>
                      <a:pt x="3" y="1"/>
                      <a:pt x="2" y="1"/>
                    </a:cubicBezTo>
                    <a:cubicBezTo>
                      <a:pt x="1" y="2"/>
                      <a:pt x="1" y="3"/>
                      <a:pt x="0" y="4"/>
                    </a:cubicBezTo>
                    <a:cubicBezTo>
                      <a:pt x="0" y="6"/>
                      <a:pt x="0" y="8"/>
                      <a:pt x="1" y="9"/>
                    </a:cubicBezTo>
                    <a:cubicBezTo>
                      <a:pt x="2" y="10"/>
                      <a:pt x="4" y="11"/>
                      <a:pt x="5" y="11"/>
                    </a:cubicBezTo>
                    <a:cubicBezTo>
                      <a:pt x="6" y="11"/>
                      <a:pt x="7" y="10"/>
                      <a:pt x="8" y="10"/>
                    </a:cubicBezTo>
                    <a:cubicBezTo>
                      <a:pt x="8" y="9"/>
                      <a:pt x="9" y="9"/>
                      <a:pt x="10" y="8"/>
                    </a:cubicBezTo>
                    <a:cubicBezTo>
                      <a:pt x="10" y="8"/>
                      <a:pt x="10" y="7"/>
                      <a:pt x="10" y="7"/>
                    </a:cubicBezTo>
                    <a:cubicBezTo>
                      <a:pt x="10" y="6"/>
                      <a:pt x="10" y="5"/>
                      <a:pt x="10" y="4"/>
                    </a:cubicBezTo>
                    <a:cubicBezTo>
                      <a:pt x="10" y="3"/>
                      <a:pt x="9" y="2"/>
                      <a:pt x="9" y="2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i$ļîdé"/>
              <p:cNvSpPr/>
              <p:nvPr/>
            </p:nvSpPr>
            <p:spPr bwMode="auto">
              <a:xfrm>
                <a:off x="5394999" y="3718465"/>
                <a:ext cx="64364" cy="196476"/>
              </a:xfrm>
              <a:custGeom>
                <a:avLst/>
                <a:gdLst>
                  <a:gd name="T0" fmla="*/ 6 w 9"/>
                  <a:gd name="T1" fmla="*/ 0 h 28"/>
                  <a:gd name="T2" fmla="*/ 4 w 9"/>
                  <a:gd name="T3" fmla="*/ 0 h 28"/>
                  <a:gd name="T4" fmla="*/ 1 w 9"/>
                  <a:gd name="T5" fmla="*/ 10 h 28"/>
                  <a:gd name="T6" fmla="*/ 1 w 9"/>
                  <a:gd name="T7" fmla="*/ 24 h 28"/>
                  <a:gd name="T8" fmla="*/ 9 w 9"/>
                  <a:gd name="T9" fmla="*/ 24 h 28"/>
                  <a:gd name="T10" fmla="*/ 9 w 9"/>
                  <a:gd name="T11" fmla="*/ 11 h 28"/>
                  <a:gd name="T12" fmla="*/ 6 w 9"/>
                  <a:gd name="T1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28">
                    <a:moveTo>
                      <a:pt x="6" y="0"/>
                    </a:moveTo>
                    <a:cubicBezTo>
                      <a:pt x="5" y="0"/>
                      <a:pt x="4" y="0"/>
                      <a:pt x="4" y="0"/>
                    </a:cubicBezTo>
                    <a:cubicBezTo>
                      <a:pt x="1" y="2"/>
                      <a:pt x="1" y="6"/>
                      <a:pt x="1" y="10"/>
                    </a:cubicBezTo>
                    <a:cubicBezTo>
                      <a:pt x="1" y="15"/>
                      <a:pt x="0" y="19"/>
                      <a:pt x="1" y="24"/>
                    </a:cubicBezTo>
                    <a:cubicBezTo>
                      <a:pt x="2" y="28"/>
                      <a:pt x="8" y="28"/>
                      <a:pt x="9" y="24"/>
                    </a:cubicBezTo>
                    <a:cubicBezTo>
                      <a:pt x="9" y="20"/>
                      <a:pt x="9" y="15"/>
                      <a:pt x="9" y="11"/>
                    </a:cubicBezTo>
                    <a:cubicBezTo>
                      <a:pt x="9" y="8"/>
                      <a:pt x="9" y="3"/>
                      <a:pt x="6" y="0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ïṩḷïḑé"/>
              <p:cNvSpPr/>
              <p:nvPr/>
            </p:nvSpPr>
            <p:spPr bwMode="auto">
              <a:xfrm>
                <a:off x="5530499" y="3698140"/>
                <a:ext cx="60975" cy="196476"/>
              </a:xfrm>
              <a:custGeom>
                <a:avLst/>
                <a:gdLst>
                  <a:gd name="T0" fmla="*/ 1 w 9"/>
                  <a:gd name="T1" fmla="*/ 3 h 28"/>
                  <a:gd name="T2" fmla="*/ 0 w 9"/>
                  <a:gd name="T3" fmla="*/ 13 h 28"/>
                  <a:gd name="T4" fmla="*/ 0 w 9"/>
                  <a:gd name="T5" fmla="*/ 23 h 28"/>
                  <a:gd name="T6" fmla="*/ 8 w 9"/>
                  <a:gd name="T7" fmla="*/ 24 h 28"/>
                  <a:gd name="T8" fmla="*/ 6 w 9"/>
                  <a:gd name="T9" fmla="*/ 3 h 28"/>
                  <a:gd name="T10" fmla="*/ 1 w 9"/>
                  <a:gd name="T11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28">
                    <a:moveTo>
                      <a:pt x="1" y="3"/>
                    </a:moveTo>
                    <a:cubicBezTo>
                      <a:pt x="0" y="6"/>
                      <a:pt x="0" y="9"/>
                      <a:pt x="0" y="13"/>
                    </a:cubicBezTo>
                    <a:cubicBezTo>
                      <a:pt x="0" y="16"/>
                      <a:pt x="0" y="19"/>
                      <a:pt x="0" y="23"/>
                    </a:cubicBezTo>
                    <a:cubicBezTo>
                      <a:pt x="0" y="27"/>
                      <a:pt x="7" y="28"/>
                      <a:pt x="8" y="24"/>
                    </a:cubicBezTo>
                    <a:cubicBezTo>
                      <a:pt x="9" y="17"/>
                      <a:pt x="9" y="8"/>
                      <a:pt x="6" y="3"/>
                    </a:cubicBezTo>
                    <a:cubicBezTo>
                      <a:pt x="5" y="0"/>
                      <a:pt x="2" y="1"/>
                      <a:pt x="1" y="3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î$ľíḍê"/>
              <p:cNvSpPr/>
              <p:nvPr/>
            </p:nvSpPr>
            <p:spPr bwMode="auto">
              <a:xfrm>
                <a:off x="5621963" y="3711690"/>
                <a:ext cx="74525" cy="182926"/>
              </a:xfrm>
              <a:custGeom>
                <a:avLst/>
                <a:gdLst>
                  <a:gd name="T0" fmla="*/ 3 w 11"/>
                  <a:gd name="T1" fmla="*/ 2 h 26"/>
                  <a:gd name="T2" fmla="*/ 2 w 11"/>
                  <a:gd name="T3" fmla="*/ 23 h 26"/>
                  <a:gd name="T4" fmla="*/ 5 w 11"/>
                  <a:gd name="T5" fmla="*/ 26 h 26"/>
                  <a:gd name="T6" fmla="*/ 7 w 11"/>
                  <a:gd name="T7" fmla="*/ 26 h 26"/>
                  <a:gd name="T8" fmla="*/ 10 w 11"/>
                  <a:gd name="T9" fmla="*/ 23 h 26"/>
                  <a:gd name="T10" fmla="*/ 8 w 11"/>
                  <a:gd name="T11" fmla="*/ 3 h 26"/>
                  <a:gd name="T12" fmla="*/ 3 w 11"/>
                  <a:gd name="T13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26">
                    <a:moveTo>
                      <a:pt x="3" y="2"/>
                    </a:moveTo>
                    <a:cubicBezTo>
                      <a:pt x="0" y="9"/>
                      <a:pt x="1" y="17"/>
                      <a:pt x="2" y="23"/>
                    </a:cubicBezTo>
                    <a:cubicBezTo>
                      <a:pt x="3" y="24"/>
                      <a:pt x="4" y="26"/>
                      <a:pt x="5" y="26"/>
                    </a:cubicBezTo>
                    <a:cubicBezTo>
                      <a:pt x="6" y="26"/>
                      <a:pt x="6" y="26"/>
                      <a:pt x="7" y="26"/>
                    </a:cubicBezTo>
                    <a:cubicBezTo>
                      <a:pt x="8" y="26"/>
                      <a:pt x="10" y="24"/>
                      <a:pt x="10" y="23"/>
                    </a:cubicBezTo>
                    <a:cubicBezTo>
                      <a:pt x="11" y="17"/>
                      <a:pt x="10" y="9"/>
                      <a:pt x="8" y="3"/>
                    </a:cubicBezTo>
                    <a:cubicBezTo>
                      <a:pt x="7" y="1"/>
                      <a:pt x="4" y="0"/>
                      <a:pt x="3" y="2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ïsḷïdê"/>
              <p:cNvSpPr/>
              <p:nvPr/>
            </p:nvSpPr>
            <p:spPr bwMode="auto">
              <a:xfrm>
                <a:off x="3558970" y="2488798"/>
                <a:ext cx="5067710" cy="2391582"/>
              </a:xfrm>
              <a:custGeom>
                <a:avLst/>
                <a:gdLst>
                  <a:gd name="T0" fmla="*/ 661 w 720"/>
                  <a:gd name="T1" fmla="*/ 131 h 340"/>
                  <a:gd name="T2" fmla="*/ 632 w 720"/>
                  <a:gd name="T3" fmla="*/ 165 h 340"/>
                  <a:gd name="T4" fmla="*/ 577 w 720"/>
                  <a:gd name="T5" fmla="*/ 194 h 340"/>
                  <a:gd name="T6" fmla="*/ 531 w 720"/>
                  <a:gd name="T7" fmla="*/ 142 h 340"/>
                  <a:gd name="T8" fmla="*/ 445 w 720"/>
                  <a:gd name="T9" fmla="*/ 24 h 340"/>
                  <a:gd name="T10" fmla="*/ 290 w 720"/>
                  <a:gd name="T11" fmla="*/ 0 h 340"/>
                  <a:gd name="T12" fmla="*/ 255 w 720"/>
                  <a:gd name="T13" fmla="*/ 83 h 340"/>
                  <a:gd name="T14" fmla="*/ 180 w 720"/>
                  <a:gd name="T15" fmla="*/ 203 h 340"/>
                  <a:gd name="T16" fmla="*/ 105 w 720"/>
                  <a:gd name="T17" fmla="*/ 199 h 340"/>
                  <a:gd name="T18" fmla="*/ 66 w 720"/>
                  <a:gd name="T19" fmla="*/ 189 h 340"/>
                  <a:gd name="T20" fmla="*/ 1 w 720"/>
                  <a:gd name="T21" fmla="*/ 200 h 340"/>
                  <a:gd name="T22" fmla="*/ 130 w 720"/>
                  <a:gd name="T23" fmla="*/ 270 h 340"/>
                  <a:gd name="T24" fmla="*/ 274 w 720"/>
                  <a:gd name="T25" fmla="*/ 312 h 340"/>
                  <a:gd name="T26" fmla="*/ 460 w 720"/>
                  <a:gd name="T27" fmla="*/ 312 h 340"/>
                  <a:gd name="T28" fmla="*/ 673 w 720"/>
                  <a:gd name="T29" fmla="*/ 198 h 340"/>
                  <a:gd name="T30" fmla="*/ 703 w 720"/>
                  <a:gd name="T31" fmla="*/ 127 h 340"/>
                  <a:gd name="T32" fmla="*/ 452 w 720"/>
                  <a:gd name="T33" fmla="*/ 36 h 340"/>
                  <a:gd name="T34" fmla="*/ 444 w 720"/>
                  <a:gd name="T35" fmla="*/ 53 h 340"/>
                  <a:gd name="T36" fmla="*/ 302 w 720"/>
                  <a:gd name="T37" fmla="*/ 42 h 340"/>
                  <a:gd name="T38" fmla="*/ 208 w 720"/>
                  <a:gd name="T39" fmla="*/ 190 h 340"/>
                  <a:gd name="T40" fmla="*/ 52 w 720"/>
                  <a:gd name="T41" fmla="*/ 227 h 340"/>
                  <a:gd name="T42" fmla="*/ 27 w 720"/>
                  <a:gd name="T43" fmla="*/ 200 h 340"/>
                  <a:gd name="T44" fmla="*/ 55 w 720"/>
                  <a:gd name="T45" fmla="*/ 147 h 340"/>
                  <a:gd name="T46" fmla="*/ 85 w 720"/>
                  <a:gd name="T47" fmla="*/ 232 h 340"/>
                  <a:gd name="T48" fmla="*/ 85 w 720"/>
                  <a:gd name="T49" fmla="*/ 232 h 340"/>
                  <a:gd name="T50" fmla="*/ 118 w 720"/>
                  <a:gd name="T51" fmla="*/ 222 h 340"/>
                  <a:gd name="T52" fmla="*/ 123 w 720"/>
                  <a:gd name="T53" fmla="*/ 239 h 340"/>
                  <a:gd name="T54" fmla="*/ 136 w 720"/>
                  <a:gd name="T55" fmla="*/ 257 h 340"/>
                  <a:gd name="T56" fmla="*/ 153 w 720"/>
                  <a:gd name="T57" fmla="*/ 238 h 340"/>
                  <a:gd name="T58" fmla="*/ 170 w 720"/>
                  <a:gd name="T59" fmla="*/ 222 h 340"/>
                  <a:gd name="T60" fmla="*/ 190 w 720"/>
                  <a:gd name="T61" fmla="*/ 249 h 340"/>
                  <a:gd name="T62" fmla="*/ 181 w 720"/>
                  <a:gd name="T63" fmla="*/ 217 h 340"/>
                  <a:gd name="T64" fmla="*/ 197 w 720"/>
                  <a:gd name="T65" fmla="*/ 245 h 340"/>
                  <a:gd name="T66" fmla="*/ 207 w 720"/>
                  <a:gd name="T67" fmla="*/ 234 h 340"/>
                  <a:gd name="T68" fmla="*/ 442 w 720"/>
                  <a:gd name="T69" fmla="*/ 299 h 340"/>
                  <a:gd name="T70" fmla="*/ 387 w 720"/>
                  <a:gd name="T71" fmla="*/ 323 h 340"/>
                  <a:gd name="T72" fmla="*/ 287 w 720"/>
                  <a:gd name="T73" fmla="*/ 296 h 340"/>
                  <a:gd name="T74" fmla="*/ 424 w 720"/>
                  <a:gd name="T75" fmla="*/ 299 h 340"/>
                  <a:gd name="T76" fmla="*/ 468 w 720"/>
                  <a:gd name="T77" fmla="*/ 288 h 340"/>
                  <a:gd name="T78" fmla="*/ 236 w 720"/>
                  <a:gd name="T79" fmla="*/ 243 h 340"/>
                  <a:gd name="T80" fmla="*/ 316 w 720"/>
                  <a:gd name="T81" fmla="*/ 60 h 340"/>
                  <a:gd name="T82" fmla="*/ 521 w 720"/>
                  <a:gd name="T83" fmla="*/ 210 h 340"/>
                  <a:gd name="T84" fmla="*/ 545 w 720"/>
                  <a:gd name="T85" fmla="*/ 197 h 340"/>
                  <a:gd name="T86" fmla="*/ 557 w 720"/>
                  <a:gd name="T87" fmla="*/ 199 h 340"/>
                  <a:gd name="T88" fmla="*/ 544 w 720"/>
                  <a:gd name="T89" fmla="*/ 225 h 340"/>
                  <a:gd name="T90" fmla="*/ 591 w 720"/>
                  <a:gd name="T91" fmla="*/ 208 h 340"/>
                  <a:gd name="T92" fmla="*/ 599 w 720"/>
                  <a:gd name="T93" fmla="*/ 237 h 340"/>
                  <a:gd name="T94" fmla="*/ 606 w 720"/>
                  <a:gd name="T95" fmla="*/ 236 h 340"/>
                  <a:gd name="T96" fmla="*/ 625 w 720"/>
                  <a:gd name="T97" fmla="*/ 196 h 340"/>
                  <a:gd name="T98" fmla="*/ 648 w 720"/>
                  <a:gd name="T99" fmla="*/ 211 h 340"/>
                  <a:gd name="T100" fmla="*/ 648 w 720"/>
                  <a:gd name="T101" fmla="*/ 194 h 340"/>
                  <a:gd name="T102" fmla="*/ 664 w 720"/>
                  <a:gd name="T103" fmla="*/ 183 h 340"/>
                  <a:gd name="T104" fmla="*/ 635 w 720"/>
                  <a:gd name="T105" fmla="*/ 137 h 340"/>
                  <a:gd name="T106" fmla="*/ 654 w 720"/>
                  <a:gd name="T107" fmla="*/ 114 h 340"/>
                  <a:gd name="T108" fmla="*/ 703 w 720"/>
                  <a:gd name="T109" fmla="*/ 127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20" h="340">
                    <a:moveTo>
                      <a:pt x="716" y="122"/>
                    </a:moveTo>
                    <a:cubicBezTo>
                      <a:pt x="716" y="122"/>
                      <a:pt x="716" y="122"/>
                      <a:pt x="715" y="122"/>
                    </a:cubicBezTo>
                    <a:cubicBezTo>
                      <a:pt x="714" y="118"/>
                      <a:pt x="708" y="115"/>
                      <a:pt x="704" y="115"/>
                    </a:cubicBezTo>
                    <a:cubicBezTo>
                      <a:pt x="697" y="113"/>
                      <a:pt x="692" y="118"/>
                      <a:pt x="689" y="124"/>
                    </a:cubicBezTo>
                    <a:cubicBezTo>
                      <a:pt x="687" y="129"/>
                      <a:pt x="684" y="133"/>
                      <a:pt x="679" y="136"/>
                    </a:cubicBezTo>
                    <a:cubicBezTo>
                      <a:pt x="675" y="139"/>
                      <a:pt x="670" y="139"/>
                      <a:pt x="666" y="138"/>
                    </a:cubicBezTo>
                    <a:cubicBezTo>
                      <a:pt x="662" y="137"/>
                      <a:pt x="660" y="134"/>
                      <a:pt x="661" y="131"/>
                    </a:cubicBezTo>
                    <a:cubicBezTo>
                      <a:pt x="662" y="126"/>
                      <a:pt x="667" y="122"/>
                      <a:pt x="668" y="116"/>
                    </a:cubicBezTo>
                    <a:cubicBezTo>
                      <a:pt x="670" y="106"/>
                      <a:pt x="659" y="98"/>
                      <a:pt x="649" y="99"/>
                    </a:cubicBezTo>
                    <a:cubicBezTo>
                      <a:pt x="648" y="99"/>
                      <a:pt x="648" y="98"/>
                      <a:pt x="647" y="98"/>
                    </a:cubicBezTo>
                    <a:cubicBezTo>
                      <a:pt x="643" y="98"/>
                      <a:pt x="641" y="102"/>
                      <a:pt x="639" y="105"/>
                    </a:cubicBezTo>
                    <a:cubicBezTo>
                      <a:pt x="636" y="108"/>
                      <a:pt x="634" y="111"/>
                      <a:pt x="631" y="115"/>
                    </a:cubicBezTo>
                    <a:cubicBezTo>
                      <a:pt x="626" y="121"/>
                      <a:pt x="623" y="129"/>
                      <a:pt x="622" y="137"/>
                    </a:cubicBezTo>
                    <a:cubicBezTo>
                      <a:pt x="620" y="147"/>
                      <a:pt x="625" y="157"/>
                      <a:pt x="632" y="165"/>
                    </a:cubicBezTo>
                    <a:cubicBezTo>
                      <a:pt x="632" y="165"/>
                      <a:pt x="632" y="165"/>
                      <a:pt x="632" y="166"/>
                    </a:cubicBezTo>
                    <a:cubicBezTo>
                      <a:pt x="630" y="168"/>
                      <a:pt x="629" y="169"/>
                      <a:pt x="628" y="172"/>
                    </a:cubicBezTo>
                    <a:cubicBezTo>
                      <a:pt x="625" y="176"/>
                      <a:pt x="623" y="179"/>
                      <a:pt x="619" y="183"/>
                    </a:cubicBezTo>
                    <a:cubicBezTo>
                      <a:pt x="612" y="189"/>
                      <a:pt x="604" y="193"/>
                      <a:pt x="594" y="194"/>
                    </a:cubicBezTo>
                    <a:cubicBezTo>
                      <a:pt x="589" y="195"/>
                      <a:pt x="584" y="195"/>
                      <a:pt x="579" y="194"/>
                    </a:cubicBezTo>
                    <a:cubicBezTo>
                      <a:pt x="579" y="194"/>
                      <a:pt x="578" y="194"/>
                      <a:pt x="577" y="194"/>
                    </a:cubicBezTo>
                    <a:cubicBezTo>
                      <a:pt x="577" y="194"/>
                      <a:pt x="577" y="194"/>
                      <a:pt x="577" y="194"/>
                    </a:cubicBezTo>
                    <a:cubicBezTo>
                      <a:pt x="577" y="194"/>
                      <a:pt x="576" y="194"/>
                      <a:pt x="576" y="194"/>
                    </a:cubicBezTo>
                    <a:cubicBezTo>
                      <a:pt x="574" y="193"/>
                      <a:pt x="573" y="193"/>
                      <a:pt x="571" y="193"/>
                    </a:cubicBezTo>
                    <a:cubicBezTo>
                      <a:pt x="568" y="192"/>
                      <a:pt x="564" y="191"/>
                      <a:pt x="561" y="189"/>
                    </a:cubicBezTo>
                    <a:cubicBezTo>
                      <a:pt x="559" y="189"/>
                      <a:pt x="558" y="188"/>
                      <a:pt x="557" y="186"/>
                    </a:cubicBezTo>
                    <a:cubicBezTo>
                      <a:pt x="556" y="182"/>
                      <a:pt x="554" y="178"/>
                      <a:pt x="552" y="174"/>
                    </a:cubicBezTo>
                    <a:cubicBezTo>
                      <a:pt x="548" y="168"/>
                      <a:pt x="543" y="164"/>
                      <a:pt x="536" y="161"/>
                    </a:cubicBezTo>
                    <a:cubicBezTo>
                      <a:pt x="535" y="154"/>
                      <a:pt x="533" y="148"/>
                      <a:pt x="531" y="142"/>
                    </a:cubicBezTo>
                    <a:cubicBezTo>
                      <a:pt x="525" y="124"/>
                      <a:pt x="515" y="108"/>
                      <a:pt x="501" y="94"/>
                    </a:cubicBezTo>
                    <a:cubicBezTo>
                      <a:pt x="491" y="84"/>
                      <a:pt x="480" y="75"/>
                      <a:pt x="468" y="67"/>
                    </a:cubicBezTo>
                    <a:cubicBezTo>
                      <a:pt x="468" y="66"/>
                      <a:pt x="468" y="66"/>
                      <a:pt x="468" y="66"/>
                    </a:cubicBezTo>
                    <a:cubicBezTo>
                      <a:pt x="470" y="63"/>
                      <a:pt x="472" y="60"/>
                      <a:pt x="474" y="57"/>
                    </a:cubicBezTo>
                    <a:cubicBezTo>
                      <a:pt x="478" y="51"/>
                      <a:pt x="482" y="44"/>
                      <a:pt x="484" y="37"/>
                    </a:cubicBezTo>
                    <a:cubicBezTo>
                      <a:pt x="489" y="25"/>
                      <a:pt x="486" y="5"/>
                      <a:pt x="470" y="4"/>
                    </a:cubicBezTo>
                    <a:cubicBezTo>
                      <a:pt x="458" y="3"/>
                      <a:pt x="450" y="15"/>
                      <a:pt x="445" y="24"/>
                    </a:cubicBezTo>
                    <a:cubicBezTo>
                      <a:pt x="441" y="32"/>
                      <a:pt x="438" y="41"/>
                      <a:pt x="436" y="50"/>
                    </a:cubicBezTo>
                    <a:cubicBezTo>
                      <a:pt x="426" y="46"/>
                      <a:pt x="416" y="43"/>
                      <a:pt x="405" y="41"/>
                    </a:cubicBezTo>
                    <a:cubicBezTo>
                      <a:pt x="381" y="36"/>
                      <a:pt x="355" y="39"/>
                      <a:pt x="330" y="44"/>
                    </a:cubicBezTo>
                    <a:cubicBezTo>
                      <a:pt x="326" y="45"/>
                      <a:pt x="321" y="46"/>
                      <a:pt x="317" y="48"/>
                    </a:cubicBezTo>
                    <a:cubicBezTo>
                      <a:pt x="316" y="44"/>
                      <a:pt x="315" y="40"/>
                      <a:pt x="314" y="37"/>
                    </a:cubicBezTo>
                    <a:cubicBezTo>
                      <a:pt x="312" y="32"/>
                      <a:pt x="311" y="28"/>
                      <a:pt x="310" y="23"/>
                    </a:cubicBezTo>
                    <a:cubicBezTo>
                      <a:pt x="307" y="12"/>
                      <a:pt x="303" y="0"/>
                      <a:pt x="290" y="0"/>
                    </a:cubicBezTo>
                    <a:cubicBezTo>
                      <a:pt x="285" y="0"/>
                      <a:pt x="279" y="4"/>
                      <a:pt x="276" y="8"/>
                    </a:cubicBezTo>
                    <a:cubicBezTo>
                      <a:pt x="271" y="14"/>
                      <a:pt x="271" y="19"/>
                      <a:pt x="272" y="26"/>
                    </a:cubicBezTo>
                    <a:cubicBezTo>
                      <a:pt x="272" y="33"/>
                      <a:pt x="276" y="38"/>
                      <a:pt x="278" y="44"/>
                    </a:cubicBezTo>
                    <a:cubicBezTo>
                      <a:pt x="279" y="47"/>
                      <a:pt x="280" y="50"/>
                      <a:pt x="281" y="54"/>
                    </a:cubicBezTo>
                    <a:cubicBezTo>
                      <a:pt x="282" y="56"/>
                      <a:pt x="282" y="59"/>
                      <a:pt x="283" y="61"/>
                    </a:cubicBezTo>
                    <a:cubicBezTo>
                      <a:pt x="277" y="65"/>
                      <a:pt x="271" y="69"/>
                      <a:pt x="267" y="74"/>
                    </a:cubicBezTo>
                    <a:cubicBezTo>
                      <a:pt x="263" y="77"/>
                      <a:pt x="259" y="80"/>
                      <a:pt x="255" y="83"/>
                    </a:cubicBezTo>
                    <a:cubicBezTo>
                      <a:pt x="241" y="97"/>
                      <a:pt x="231" y="114"/>
                      <a:pt x="224" y="132"/>
                    </a:cubicBezTo>
                    <a:cubicBezTo>
                      <a:pt x="219" y="144"/>
                      <a:pt x="216" y="157"/>
                      <a:pt x="214" y="169"/>
                    </a:cubicBezTo>
                    <a:cubicBezTo>
                      <a:pt x="212" y="170"/>
                      <a:pt x="211" y="171"/>
                      <a:pt x="209" y="172"/>
                    </a:cubicBezTo>
                    <a:cubicBezTo>
                      <a:pt x="205" y="176"/>
                      <a:pt x="202" y="179"/>
                      <a:pt x="199" y="183"/>
                    </a:cubicBezTo>
                    <a:cubicBezTo>
                      <a:pt x="196" y="187"/>
                      <a:pt x="195" y="191"/>
                      <a:pt x="194" y="195"/>
                    </a:cubicBezTo>
                    <a:cubicBezTo>
                      <a:pt x="191" y="195"/>
                      <a:pt x="188" y="198"/>
                      <a:pt x="185" y="199"/>
                    </a:cubicBezTo>
                    <a:cubicBezTo>
                      <a:pt x="183" y="200"/>
                      <a:pt x="181" y="202"/>
                      <a:pt x="180" y="203"/>
                    </a:cubicBezTo>
                    <a:cubicBezTo>
                      <a:pt x="179" y="203"/>
                      <a:pt x="178" y="203"/>
                      <a:pt x="178" y="204"/>
                    </a:cubicBezTo>
                    <a:cubicBezTo>
                      <a:pt x="177" y="204"/>
                      <a:pt x="176" y="205"/>
                      <a:pt x="176" y="205"/>
                    </a:cubicBezTo>
                    <a:cubicBezTo>
                      <a:pt x="168" y="210"/>
                      <a:pt x="160" y="212"/>
                      <a:pt x="151" y="213"/>
                    </a:cubicBezTo>
                    <a:cubicBezTo>
                      <a:pt x="142" y="214"/>
                      <a:pt x="132" y="212"/>
                      <a:pt x="123" y="210"/>
                    </a:cubicBezTo>
                    <a:cubicBezTo>
                      <a:pt x="120" y="209"/>
                      <a:pt x="117" y="207"/>
                      <a:pt x="114" y="206"/>
                    </a:cubicBezTo>
                    <a:cubicBezTo>
                      <a:pt x="111" y="204"/>
                      <a:pt x="108" y="201"/>
                      <a:pt x="105" y="199"/>
                    </a:cubicBezTo>
                    <a:cubicBezTo>
                      <a:pt x="105" y="199"/>
                      <a:pt x="105" y="199"/>
                      <a:pt x="105" y="199"/>
                    </a:cubicBezTo>
                    <a:cubicBezTo>
                      <a:pt x="105" y="199"/>
                      <a:pt x="105" y="199"/>
                      <a:pt x="105" y="199"/>
                    </a:cubicBezTo>
                    <a:cubicBezTo>
                      <a:pt x="107" y="182"/>
                      <a:pt x="99" y="166"/>
                      <a:pt x="87" y="154"/>
                    </a:cubicBezTo>
                    <a:cubicBezTo>
                      <a:pt x="80" y="148"/>
                      <a:pt x="70" y="141"/>
                      <a:pt x="61" y="139"/>
                    </a:cubicBezTo>
                    <a:cubicBezTo>
                      <a:pt x="56" y="134"/>
                      <a:pt x="47" y="137"/>
                      <a:pt x="44" y="142"/>
                    </a:cubicBezTo>
                    <a:cubicBezTo>
                      <a:pt x="41" y="146"/>
                      <a:pt x="38" y="155"/>
                      <a:pt x="40" y="160"/>
                    </a:cubicBezTo>
                    <a:cubicBezTo>
                      <a:pt x="41" y="161"/>
                      <a:pt x="42" y="162"/>
                      <a:pt x="44" y="162"/>
                    </a:cubicBezTo>
                    <a:cubicBezTo>
                      <a:pt x="51" y="172"/>
                      <a:pt x="66" y="176"/>
                      <a:pt x="66" y="189"/>
                    </a:cubicBezTo>
                    <a:cubicBezTo>
                      <a:pt x="66" y="197"/>
                      <a:pt x="53" y="198"/>
                      <a:pt x="48" y="196"/>
                    </a:cubicBezTo>
                    <a:cubicBezTo>
                      <a:pt x="44" y="195"/>
                      <a:pt x="39" y="192"/>
                      <a:pt x="35" y="189"/>
                    </a:cubicBezTo>
                    <a:cubicBezTo>
                      <a:pt x="32" y="188"/>
                      <a:pt x="30" y="186"/>
                      <a:pt x="29" y="185"/>
                    </a:cubicBezTo>
                    <a:cubicBezTo>
                      <a:pt x="27" y="183"/>
                      <a:pt x="25" y="180"/>
                      <a:pt x="22" y="179"/>
                    </a:cubicBezTo>
                    <a:cubicBezTo>
                      <a:pt x="21" y="179"/>
                      <a:pt x="19" y="179"/>
                      <a:pt x="18" y="179"/>
                    </a:cubicBezTo>
                    <a:cubicBezTo>
                      <a:pt x="13" y="179"/>
                      <a:pt x="8" y="184"/>
                      <a:pt x="5" y="188"/>
                    </a:cubicBezTo>
                    <a:cubicBezTo>
                      <a:pt x="2" y="192"/>
                      <a:pt x="0" y="196"/>
                      <a:pt x="1" y="200"/>
                    </a:cubicBezTo>
                    <a:cubicBezTo>
                      <a:pt x="1" y="203"/>
                      <a:pt x="2" y="205"/>
                      <a:pt x="4" y="207"/>
                    </a:cubicBezTo>
                    <a:cubicBezTo>
                      <a:pt x="9" y="223"/>
                      <a:pt x="25" y="235"/>
                      <a:pt x="40" y="239"/>
                    </a:cubicBezTo>
                    <a:cubicBezTo>
                      <a:pt x="53" y="242"/>
                      <a:pt x="66" y="241"/>
                      <a:pt x="78" y="235"/>
                    </a:cubicBezTo>
                    <a:cubicBezTo>
                      <a:pt x="78" y="236"/>
                      <a:pt x="78" y="236"/>
                      <a:pt x="78" y="236"/>
                    </a:cubicBezTo>
                    <a:cubicBezTo>
                      <a:pt x="79" y="242"/>
                      <a:pt x="86" y="247"/>
                      <a:pt x="90" y="251"/>
                    </a:cubicBezTo>
                    <a:cubicBezTo>
                      <a:pt x="96" y="256"/>
                      <a:pt x="101" y="260"/>
                      <a:pt x="108" y="263"/>
                    </a:cubicBezTo>
                    <a:cubicBezTo>
                      <a:pt x="115" y="267"/>
                      <a:pt x="122" y="269"/>
                      <a:pt x="130" y="270"/>
                    </a:cubicBezTo>
                    <a:cubicBezTo>
                      <a:pt x="138" y="271"/>
                      <a:pt x="145" y="270"/>
                      <a:pt x="153" y="271"/>
                    </a:cubicBezTo>
                    <a:cubicBezTo>
                      <a:pt x="161" y="271"/>
                      <a:pt x="169" y="271"/>
                      <a:pt x="177" y="270"/>
                    </a:cubicBezTo>
                    <a:cubicBezTo>
                      <a:pt x="183" y="269"/>
                      <a:pt x="189" y="266"/>
                      <a:pt x="195" y="263"/>
                    </a:cubicBezTo>
                    <a:cubicBezTo>
                      <a:pt x="200" y="259"/>
                      <a:pt x="205" y="255"/>
                      <a:pt x="210" y="251"/>
                    </a:cubicBezTo>
                    <a:cubicBezTo>
                      <a:pt x="213" y="249"/>
                      <a:pt x="216" y="246"/>
                      <a:pt x="220" y="243"/>
                    </a:cubicBezTo>
                    <a:cubicBezTo>
                      <a:pt x="221" y="244"/>
                      <a:pt x="223" y="245"/>
                      <a:pt x="224" y="245"/>
                    </a:cubicBezTo>
                    <a:cubicBezTo>
                      <a:pt x="234" y="272"/>
                      <a:pt x="252" y="295"/>
                      <a:pt x="274" y="312"/>
                    </a:cubicBezTo>
                    <a:cubicBezTo>
                      <a:pt x="289" y="322"/>
                      <a:pt x="305" y="329"/>
                      <a:pt x="323" y="333"/>
                    </a:cubicBezTo>
                    <a:cubicBezTo>
                      <a:pt x="331" y="335"/>
                      <a:pt x="340" y="336"/>
                      <a:pt x="349" y="338"/>
                    </a:cubicBezTo>
                    <a:cubicBezTo>
                      <a:pt x="350" y="338"/>
                      <a:pt x="351" y="338"/>
                      <a:pt x="351" y="338"/>
                    </a:cubicBezTo>
                    <a:cubicBezTo>
                      <a:pt x="355" y="340"/>
                      <a:pt x="360" y="340"/>
                      <a:pt x="365" y="339"/>
                    </a:cubicBezTo>
                    <a:cubicBezTo>
                      <a:pt x="370" y="339"/>
                      <a:pt x="376" y="338"/>
                      <a:pt x="382" y="337"/>
                    </a:cubicBezTo>
                    <a:cubicBezTo>
                      <a:pt x="392" y="336"/>
                      <a:pt x="402" y="334"/>
                      <a:pt x="413" y="332"/>
                    </a:cubicBezTo>
                    <a:cubicBezTo>
                      <a:pt x="429" y="327"/>
                      <a:pt x="445" y="320"/>
                      <a:pt x="460" y="312"/>
                    </a:cubicBezTo>
                    <a:cubicBezTo>
                      <a:pt x="489" y="294"/>
                      <a:pt x="513" y="269"/>
                      <a:pt x="526" y="238"/>
                    </a:cubicBezTo>
                    <a:cubicBezTo>
                      <a:pt x="526" y="237"/>
                      <a:pt x="527" y="236"/>
                      <a:pt x="527" y="235"/>
                    </a:cubicBezTo>
                    <a:cubicBezTo>
                      <a:pt x="531" y="236"/>
                      <a:pt x="535" y="234"/>
                      <a:pt x="538" y="231"/>
                    </a:cubicBezTo>
                    <a:cubicBezTo>
                      <a:pt x="544" y="236"/>
                      <a:pt x="551" y="240"/>
                      <a:pt x="558" y="243"/>
                    </a:cubicBezTo>
                    <a:cubicBezTo>
                      <a:pt x="567" y="246"/>
                      <a:pt x="576" y="249"/>
                      <a:pt x="586" y="250"/>
                    </a:cubicBezTo>
                    <a:cubicBezTo>
                      <a:pt x="603" y="252"/>
                      <a:pt x="622" y="247"/>
                      <a:pt x="637" y="238"/>
                    </a:cubicBezTo>
                    <a:cubicBezTo>
                      <a:pt x="652" y="229"/>
                      <a:pt x="665" y="214"/>
                      <a:pt x="673" y="198"/>
                    </a:cubicBezTo>
                    <a:cubicBezTo>
                      <a:pt x="675" y="194"/>
                      <a:pt x="677" y="190"/>
                      <a:pt x="678" y="186"/>
                    </a:cubicBezTo>
                    <a:cubicBezTo>
                      <a:pt x="678" y="185"/>
                      <a:pt x="678" y="184"/>
                      <a:pt x="678" y="183"/>
                    </a:cubicBezTo>
                    <a:cubicBezTo>
                      <a:pt x="682" y="183"/>
                      <a:pt x="685" y="182"/>
                      <a:pt x="689" y="181"/>
                    </a:cubicBezTo>
                    <a:cubicBezTo>
                      <a:pt x="706" y="174"/>
                      <a:pt x="716" y="157"/>
                      <a:pt x="718" y="140"/>
                    </a:cubicBezTo>
                    <a:cubicBezTo>
                      <a:pt x="719" y="135"/>
                      <a:pt x="720" y="126"/>
                      <a:pt x="716" y="122"/>
                    </a:cubicBezTo>
                    <a:close/>
                    <a:moveTo>
                      <a:pt x="703" y="127"/>
                    </a:moveTo>
                    <a:cubicBezTo>
                      <a:pt x="703" y="127"/>
                      <a:pt x="703" y="127"/>
                      <a:pt x="703" y="127"/>
                    </a:cubicBezTo>
                    <a:cubicBezTo>
                      <a:pt x="703" y="127"/>
                      <a:pt x="703" y="127"/>
                      <a:pt x="703" y="127"/>
                    </a:cubicBezTo>
                    <a:cubicBezTo>
                      <a:pt x="703" y="127"/>
                      <a:pt x="703" y="127"/>
                      <a:pt x="703" y="127"/>
                    </a:cubicBezTo>
                    <a:cubicBezTo>
                      <a:pt x="703" y="127"/>
                      <a:pt x="703" y="127"/>
                      <a:pt x="703" y="127"/>
                    </a:cubicBezTo>
                    <a:close/>
                    <a:moveTo>
                      <a:pt x="655" y="114"/>
                    </a:moveTo>
                    <a:cubicBezTo>
                      <a:pt x="655" y="114"/>
                      <a:pt x="655" y="114"/>
                      <a:pt x="655" y="114"/>
                    </a:cubicBezTo>
                    <a:cubicBezTo>
                      <a:pt x="655" y="115"/>
                      <a:pt x="655" y="115"/>
                      <a:pt x="655" y="114"/>
                    </a:cubicBezTo>
                    <a:close/>
                    <a:moveTo>
                      <a:pt x="452" y="36"/>
                    </a:moveTo>
                    <a:cubicBezTo>
                      <a:pt x="452" y="36"/>
                      <a:pt x="452" y="36"/>
                      <a:pt x="452" y="36"/>
                    </a:cubicBezTo>
                    <a:cubicBezTo>
                      <a:pt x="455" y="29"/>
                      <a:pt x="460" y="20"/>
                      <a:pt x="467" y="17"/>
                    </a:cubicBezTo>
                    <a:cubicBezTo>
                      <a:pt x="471" y="16"/>
                      <a:pt x="473" y="19"/>
                      <a:pt x="473" y="22"/>
                    </a:cubicBezTo>
                    <a:cubicBezTo>
                      <a:pt x="475" y="27"/>
                      <a:pt x="473" y="32"/>
                      <a:pt x="471" y="37"/>
                    </a:cubicBezTo>
                    <a:cubicBezTo>
                      <a:pt x="468" y="42"/>
                      <a:pt x="465" y="47"/>
                      <a:pt x="462" y="52"/>
                    </a:cubicBezTo>
                    <a:cubicBezTo>
                      <a:pt x="460" y="55"/>
                      <a:pt x="458" y="57"/>
                      <a:pt x="457" y="60"/>
                    </a:cubicBezTo>
                    <a:cubicBezTo>
                      <a:pt x="453" y="58"/>
                      <a:pt x="448" y="55"/>
                      <a:pt x="444" y="53"/>
                    </a:cubicBezTo>
                    <a:cubicBezTo>
                      <a:pt x="447" y="48"/>
                      <a:pt x="450" y="42"/>
                      <a:pt x="452" y="36"/>
                    </a:cubicBezTo>
                    <a:close/>
                    <a:moveTo>
                      <a:pt x="291" y="49"/>
                    </a:moveTo>
                    <a:cubicBezTo>
                      <a:pt x="291" y="49"/>
                      <a:pt x="291" y="49"/>
                      <a:pt x="291" y="49"/>
                    </a:cubicBezTo>
                    <a:cubicBezTo>
                      <a:pt x="290" y="44"/>
                      <a:pt x="288" y="39"/>
                      <a:pt x="286" y="33"/>
                    </a:cubicBezTo>
                    <a:cubicBezTo>
                      <a:pt x="283" y="26"/>
                      <a:pt x="280" y="15"/>
                      <a:pt x="290" y="13"/>
                    </a:cubicBezTo>
                    <a:cubicBezTo>
                      <a:pt x="295" y="12"/>
                      <a:pt x="297" y="25"/>
                      <a:pt x="298" y="29"/>
                    </a:cubicBezTo>
                    <a:cubicBezTo>
                      <a:pt x="299" y="33"/>
                      <a:pt x="300" y="37"/>
                      <a:pt x="302" y="42"/>
                    </a:cubicBezTo>
                    <a:cubicBezTo>
                      <a:pt x="303" y="44"/>
                      <a:pt x="304" y="47"/>
                      <a:pt x="304" y="49"/>
                    </a:cubicBezTo>
                    <a:cubicBezTo>
                      <a:pt x="305" y="50"/>
                      <a:pt x="305" y="51"/>
                      <a:pt x="305" y="52"/>
                    </a:cubicBezTo>
                    <a:cubicBezTo>
                      <a:pt x="301" y="53"/>
                      <a:pt x="298" y="55"/>
                      <a:pt x="294" y="56"/>
                    </a:cubicBezTo>
                    <a:cubicBezTo>
                      <a:pt x="293" y="57"/>
                      <a:pt x="293" y="57"/>
                      <a:pt x="292" y="57"/>
                    </a:cubicBezTo>
                    <a:cubicBezTo>
                      <a:pt x="292" y="55"/>
                      <a:pt x="291" y="52"/>
                      <a:pt x="291" y="49"/>
                    </a:cubicBezTo>
                    <a:close/>
                    <a:moveTo>
                      <a:pt x="208" y="190"/>
                    </a:moveTo>
                    <a:cubicBezTo>
                      <a:pt x="208" y="190"/>
                      <a:pt x="208" y="190"/>
                      <a:pt x="208" y="190"/>
                    </a:cubicBezTo>
                    <a:cubicBezTo>
                      <a:pt x="209" y="187"/>
                      <a:pt x="211" y="185"/>
                      <a:pt x="213" y="183"/>
                    </a:cubicBezTo>
                    <a:cubicBezTo>
                      <a:pt x="213" y="198"/>
                      <a:pt x="214" y="213"/>
                      <a:pt x="218" y="228"/>
                    </a:cubicBezTo>
                    <a:cubicBezTo>
                      <a:pt x="218" y="228"/>
                      <a:pt x="217" y="227"/>
                      <a:pt x="217" y="227"/>
                    </a:cubicBezTo>
                    <a:cubicBezTo>
                      <a:pt x="211" y="222"/>
                      <a:pt x="207" y="217"/>
                      <a:pt x="205" y="210"/>
                    </a:cubicBezTo>
                    <a:cubicBezTo>
                      <a:pt x="203" y="203"/>
                      <a:pt x="204" y="196"/>
                      <a:pt x="208" y="190"/>
                    </a:cubicBezTo>
                    <a:close/>
                    <a:moveTo>
                      <a:pt x="52" y="227"/>
                    </a:moveTo>
                    <a:cubicBezTo>
                      <a:pt x="52" y="227"/>
                      <a:pt x="52" y="227"/>
                      <a:pt x="52" y="227"/>
                    </a:cubicBezTo>
                    <a:cubicBezTo>
                      <a:pt x="46" y="227"/>
                      <a:pt x="39" y="225"/>
                      <a:pt x="33" y="221"/>
                    </a:cubicBezTo>
                    <a:cubicBezTo>
                      <a:pt x="26" y="217"/>
                      <a:pt x="21" y="210"/>
                      <a:pt x="15" y="204"/>
                    </a:cubicBezTo>
                    <a:cubicBezTo>
                      <a:pt x="14" y="204"/>
                      <a:pt x="14" y="203"/>
                      <a:pt x="14" y="203"/>
                    </a:cubicBezTo>
                    <a:cubicBezTo>
                      <a:pt x="14" y="202"/>
                      <a:pt x="13" y="201"/>
                      <a:pt x="13" y="199"/>
                    </a:cubicBezTo>
                    <a:cubicBezTo>
                      <a:pt x="12" y="198"/>
                      <a:pt x="13" y="197"/>
                      <a:pt x="14" y="195"/>
                    </a:cubicBezTo>
                    <a:cubicBezTo>
                      <a:pt x="15" y="194"/>
                      <a:pt x="16" y="192"/>
                      <a:pt x="17" y="191"/>
                    </a:cubicBezTo>
                    <a:cubicBezTo>
                      <a:pt x="20" y="195"/>
                      <a:pt x="24" y="198"/>
                      <a:pt x="27" y="200"/>
                    </a:cubicBezTo>
                    <a:cubicBezTo>
                      <a:pt x="33" y="204"/>
                      <a:pt x="39" y="207"/>
                      <a:pt x="45" y="209"/>
                    </a:cubicBezTo>
                    <a:cubicBezTo>
                      <a:pt x="56" y="212"/>
                      <a:pt x="71" y="208"/>
                      <a:pt x="76" y="198"/>
                    </a:cubicBezTo>
                    <a:cubicBezTo>
                      <a:pt x="82" y="188"/>
                      <a:pt x="76" y="176"/>
                      <a:pt x="69" y="169"/>
                    </a:cubicBezTo>
                    <a:cubicBezTo>
                      <a:pt x="65" y="166"/>
                      <a:pt x="61" y="163"/>
                      <a:pt x="57" y="160"/>
                    </a:cubicBezTo>
                    <a:cubicBezTo>
                      <a:pt x="55" y="159"/>
                      <a:pt x="53" y="158"/>
                      <a:pt x="51" y="156"/>
                    </a:cubicBezTo>
                    <a:cubicBezTo>
                      <a:pt x="52" y="154"/>
                      <a:pt x="52" y="152"/>
                      <a:pt x="53" y="151"/>
                    </a:cubicBezTo>
                    <a:cubicBezTo>
                      <a:pt x="53" y="149"/>
                      <a:pt x="53" y="148"/>
                      <a:pt x="55" y="147"/>
                    </a:cubicBezTo>
                    <a:cubicBezTo>
                      <a:pt x="55" y="146"/>
                      <a:pt x="57" y="146"/>
                      <a:pt x="58" y="146"/>
                    </a:cubicBezTo>
                    <a:cubicBezTo>
                      <a:pt x="63" y="150"/>
                      <a:pt x="68" y="154"/>
                      <a:pt x="73" y="158"/>
                    </a:cubicBezTo>
                    <a:cubicBezTo>
                      <a:pt x="79" y="163"/>
                      <a:pt x="84" y="169"/>
                      <a:pt x="87" y="176"/>
                    </a:cubicBezTo>
                    <a:cubicBezTo>
                      <a:pt x="93" y="188"/>
                      <a:pt x="93" y="204"/>
                      <a:pt x="85" y="214"/>
                    </a:cubicBezTo>
                    <a:cubicBezTo>
                      <a:pt x="77" y="224"/>
                      <a:pt x="65" y="227"/>
                      <a:pt x="52" y="227"/>
                    </a:cubicBezTo>
                    <a:close/>
                    <a:moveTo>
                      <a:pt x="85" y="232"/>
                    </a:moveTo>
                    <a:cubicBezTo>
                      <a:pt x="85" y="232"/>
                      <a:pt x="85" y="232"/>
                      <a:pt x="85" y="232"/>
                    </a:cubicBezTo>
                    <a:cubicBezTo>
                      <a:pt x="92" y="227"/>
                      <a:pt x="97" y="221"/>
                      <a:pt x="101" y="213"/>
                    </a:cubicBezTo>
                    <a:cubicBezTo>
                      <a:pt x="103" y="215"/>
                      <a:pt x="105" y="216"/>
                      <a:pt x="107" y="217"/>
                    </a:cubicBezTo>
                    <a:cubicBezTo>
                      <a:pt x="107" y="218"/>
                      <a:pt x="107" y="218"/>
                      <a:pt x="107" y="218"/>
                    </a:cubicBezTo>
                    <a:cubicBezTo>
                      <a:pt x="105" y="220"/>
                      <a:pt x="102" y="223"/>
                      <a:pt x="100" y="226"/>
                    </a:cubicBezTo>
                    <a:cubicBezTo>
                      <a:pt x="98" y="228"/>
                      <a:pt x="96" y="231"/>
                      <a:pt x="94" y="234"/>
                    </a:cubicBezTo>
                    <a:cubicBezTo>
                      <a:pt x="93" y="235"/>
                      <a:pt x="93" y="235"/>
                      <a:pt x="92" y="236"/>
                    </a:cubicBezTo>
                    <a:cubicBezTo>
                      <a:pt x="90" y="234"/>
                      <a:pt x="88" y="233"/>
                      <a:pt x="85" y="232"/>
                    </a:cubicBezTo>
                    <a:close/>
                    <a:moveTo>
                      <a:pt x="98" y="241"/>
                    </a:moveTo>
                    <a:cubicBezTo>
                      <a:pt x="98" y="241"/>
                      <a:pt x="98" y="241"/>
                      <a:pt x="98" y="241"/>
                    </a:cubicBezTo>
                    <a:cubicBezTo>
                      <a:pt x="98" y="240"/>
                      <a:pt x="97" y="240"/>
                      <a:pt x="97" y="240"/>
                    </a:cubicBezTo>
                    <a:cubicBezTo>
                      <a:pt x="99" y="236"/>
                      <a:pt x="102" y="233"/>
                      <a:pt x="105" y="230"/>
                    </a:cubicBezTo>
                    <a:cubicBezTo>
                      <a:pt x="107" y="227"/>
                      <a:pt x="109" y="225"/>
                      <a:pt x="111" y="222"/>
                    </a:cubicBezTo>
                    <a:cubicBezTo>
                      <a:pt x="112" y="222"/>
                      <a:pt x="113" y="221"/>
                      <a:pt x="113" y="220"/>
                    </a:cubicBezTo>
                    <a:cubicBezTo>
                      <a:pt x="115" y="221"/>
                      <a:pt x="117" y="221"/>
                      <a:pt x="118" y="222"/>
                    </a:cubicBezTo>
                    <a:cubicBezTo>
                      <a:pt x="120" y="223"/>
                      <a:pt x="123" y="223"/>
                      <a:pt x="125" y="224"/>
                    </a:cubicBezTo>
                    <a:cubicBezTo>
                      <a:pt x="123" y="227"/>
                      <a:pt x="121" y="232"/>
                      <a:pt x="120" y="235"/>
                    </a:cubicBezTo>
                    <a:cubicBezTo>
                      <a:pt x="118" y="240"/>
                      <a:pt x="116" y="246"/>
                      <a:pt x="112" y="250"/>
                    </a:cubicBezTo>
                    <a:cubicBezTo>
                      <a:pt x="107" y="247"/>
                      <a:pt x="103" y="244"/>
                      <a:pt x="98" y="241"/>
                    </a:cubicBezTo>
                    <a:close/>
                    <a:moveTo>
                      <a:pt x="115" y="252"/>
                    </a:moveTo>
                    <a:cubicBezTo>
                      <a:pt x="115" y="252"/>
                      <a:pt x="115" y="252"/>
                      <a:pt x="115" y="252"/>
                    </a:cubicBezTo>
                    <a:cubicBezTo>
                      <a:pt x="119" y="248"/>
                      <a:pt x="121" y="243"/>
                      <a:pt x="123" y="239"/>
                    </a:cubicBezTo>
                    <a:cubicBezTo>
                      <a:pt x="125" y="236"/>
                      <a:pt x="125" y="234"/>
                      <a:pt x="126" y="231"/>
                    </a:cubicBezTo>
                    <a:cubicBezTo>
                      <a:pt x="127" y="229"/>
                      <a:pt x="128" y="227"/>
                      <a:pt x="129" y="225"/>
                    </a:cubicBezTo>
                    <a:cubicBezTo>
                      <a:pt x="133" y="226"/>
                      <a:pt x="137" y="226"/>
                      <a:pt x="142" y="226"/>
                    </a:cubicBezTo>
                    <a:cubicBezTo>
                      <a:pt x="139" y="230"/>
                      <a:pt x="138" y="236"/>
                      <a:pt x="137" y="240"/>
                    </a:cubicBezTo>
                    <a:cubicBezTo>
                      <a:pt x="136" y="246"/>
                      <a:pt x="135" y="252"/>
                      <a:pt x="133" y="257"/>
                    </a:cubicBezTo>
                    <a:cubicBezTo>
                      <a:pt x="127" y="256"/>
                      <a:pt x="121" y="254"/>
                      <a:pt x="115" y="252"/>
                    </a:cubicBezTo>
                    <a:close/>
                    <a:moveTo>
                      <a:pt x="136" y="257"/>
                    </a:moveTo>
                    <a:cubicBezTo>
                      <a:pt x="136" y="257"/>
                      <a:pt x="136" y="257"/>
                      <a:pt x="136" y="257"/>
                    </a:cubicBezTo>
                    <a:cubicBezTo>
                      <a:pt x="139" y="253"/>
                      <a:pt x="140" y="249"/>
                      <a:pt x="142" y="244"/>
                    </a:cubicBezTo>
                    <a:cubicBezTo>
                      <a:pt x="143" y="239"/>
                      <a:pt x="145" y="232"/>
                      <a:pt x="145" y="227"/>
                    </a:cubicBezTo>
                    <a:cubicBezTo>
                      <a:pt x="145" y="227"/>
                      <a:pt x="145" y="227"/>
                      <a:pt x="144" y="226"/>
                    </a:cubicBezTo>
                    <a:cubicBezTo>
                      <a:pt x="146" y="226"/>
                      <a:pt x="148" y="226"/>
                      <a:pt x="150" y="226"/>
                    </a:cubicBezTo>
                    <a:cubicBezTo>
                      <a:pt x="151" y="226"/>
                      <a:pt x="153" y="226"/>
                      <a:pt x="154" y="226"/>
                    </a:cubicBezTo>
                    <a:cubicBezTo>
                      <a:pt x="153" y="230"/>
                      <a:pt x="154" y="234"/>
                      <a:pt x="153" y="238"/>
                    </a:cubicBezTo>
                    <a:cubicBezTo>
                      <a:pt x="153" y="244"/>
                      <a:pt x="153" y="251"/>
                      <a:pt x="154" y="257"/>
                    </a:cubicBezTo>
                    <a:cubicBezTo>
                      <a:pt x="148" y="257"/>
                      <a:pt x="142" y="257"/>
                      <a:pt x="136" y="257"/>
                    </a:cubicBezTo>
                    <a:close/>
                    <a:moveTo>
                      <a:pt x="157" y="257"/>
                    </a:moveTo>
                    <a:cubicBezTo>
                      <a:pt x="157" y="257"/>
                      <a:pt x="157" y="257"/>
                      <a:pt x="157" y="257"/>
                    </a:cubicBezTo>
                    <a:cubicBezTo>
                      <a:pt x="158" y="251"/>
                      <a:pt x="158" y="244"/>
                      <a:pt x="158" y="238"/>
                    </a:cubicBezTo>
                    <a:cubicBezTo>
                      <a:pt x="159" y="234"/>
                      <a:pt x="160" y="229"/>
                      <a:pt x="159" y="225"/>
                    </a:cubicBezTo>
                    <a:cubicBezTo>
                      <a:pt x="163" y="224"/>
                      <a:pt x="166" y="223"/>
                      <a:pt x="170" y="222"/>
                    </a:cubicBezTo>
                    <a:cubicBezTo>
                      <a:pt x="170" y="223"/>
                      <a:pt x="170" y="225"/>
                      <a:pt x="171" y="226"/>
                    </a:cubicBezTo>
                    <a:cubicBezTo>
                      <a:pt x="171" y="229"/>
                      <a:pt x="172" y="232"/>
                      <a:pt x="173" y="236"/>
                    </a:cubicBezTo>
                    <a:cubicBezTo>
                      <a:pt x="174" y="242"/>
                      <a:pt x="174" y="249"/>
                      <a:pt x="176" y="255"/>
                    </a:cubicBezTo>
                    <a:cubicBezTo>
                      <a:pt x="176" y="256"/>
                      <a:pt x="176" y="256"/>
                      <a:pt x="176" y="256"/>
                    </a:cubicBezTo>
                    <a:cubicBezTo>
                      <a:pt x="176" y="256"/>
                      <a:pt x="175" y="256"/>
                      <a:pt x="175" y="256"/>
                    </a:cubicBezTo>
                    <a:cubicBezTo>
                      <a:pt x="169" y="258"/>
                      <a:pt x="163" y="257"/>
                      <a:pt x="157" y="257"/>
                    </a:cubicBezTo>
                    <a:close/>
                    <a:moveTo>
                      <a:pt x="190" y="249"/>
                    </a:moveTo>
                    <a:cubicBezTo>
                      <a:pt x="190" y="249"/>
                      <a:pt x="190" y="249"/>
                      <a:pt x="190" y="249"/>
                    </a:cubicBezTo>
                    <a:cubicBezTo>
                      <a:pt x="187" y="252"/>
                      <a:pt x="183" y="254"/>
                      <a:pt x="179" y="255"/>
                    </a:cubicBezTo>
                    <a:cubicBezTo>
                      <a:pt x="180" y="249"/>
                      <a:pt x="180" y="242"/>
                      <a:pt x="179" y="236"/>
                    </a:cubicBezTo>
                    <a:cubicBezTo>
                      <a:pt x="178" y="232"/>
                      <a:pt x="178" y="229"/>
                      <a:pt x="177" y="226"/>
                    </a:cubicBezTo>
                    <a:cubicBezTo>
                      <a:pt x="176" y="224"/>
                      <a:pt x="176" y="222"/>
                      <a:pt x="175" y="220"/>
                    </a:cubicBezTo>
                    <a:cubicBezTo>
                      <a:pt x="177" y="219"/>
                      <a:pt x="178" y="218"/>
                      <a:pt x="180" y="217"/>
                    </a:cubicBezTo>
                    <a:cubicBezTo>
                      <a:pt x="180" y="217"/>
                      <a:pt x="181" y="217"/>
                      <a:pt x="181" y="217"/>
                    </a:cubicBezTo>
                    <a:cubicBezTo>
                      <a:pt x="182" y="220"/>
                      <a:pt x="183" y="223"/>
                      <a:pt x="185" y="226"/>
                    </a:cubicBezTo>
                    <a:cubicBezTo>
                      <a:pt x="187" y="233"/>
                      <a:pt x="189" y="240"/>
                      <a:pt x="194" y="245"/>
                    </a:cubicBezTo>
                    <a:cubicBezTo>
                      <a:pt x="194" y="246"/>
                      <a:pt x="195" y="246"/>
                      <a:pt x="195" y="246"/>
                    </a:cubicBezTo>
                    <a:cubicBezTo>
                      <a:pt x="194" y="247"/>
                      <a:pt x="192" y="248"/>
                      <a:pt x="190" y="249"/>
                    </a:cubicBezTo>
                    <a:close/>
                    <a:moveTo>
                      <a:pt x="204" y="239"/>
                    </a:moveTo>
                    <a:cubicBezTo>
                      <a:pt x="204" y="239"/>
                      <a:pt x="204" y="239"/>
                      <a:pt x="204" y="239"/>
                    </a:cubicBezTo>
                    <a:cubicBezTo>
                      <a:pt x="202" y="241"/>
                      <a:pt x="199" y="243"/>
                      <a:pt x="197" y="245"/>
                    </a:cubicBezTo>
                    <a:cubicBezTo>
                      <a:pt x="197" y="245"/>
                      <a:pt x="197" y="244"/>
                      <a:pt x="197" y="244"/>
                    </a:cubicBezTo>
                    <a:cubicBezTo>
                      <a:pt x="195" y="237"/>
                      <a:pt x="192" y="230"/>
                      <a:pt x="189" y="223"/>
                    </a:cubicBezTo>
                    <a:cubicBezTo>
                      <a:pt x="188" y="220"/>
                      <a:pt x="187" y="217"/>
                      <a:pt x="186" y="214"/>
                    </a:cubicBezTo>
                    <a:cubicBezTo>
                      <a:pt x="188" y="212"/>
                      <a:pt x="190" y="211"/>
                      <a:pt x="192" y="209"/>
                    </a:cubicBezTo>
                    <a:cubicBezTo>
                      <a:pt x="192" y="209"/>
                      <a:pt x="192" y="208"/>
                      <a:pt x="193" y="208"/>
                    </a:cubicBezTo>
                    <a:cubicBezTo>
                      <a:pt x="193" y="209"/>
                      <a:pt x="193" y="210"/>
                      <a:pt x="193" y="212"/>
                    </a:cubicBezTo>
                    <a:cubicBezTo>
                      <a:pt x="195" y="220"/>
                      <a:pt x="200" y="228"/>
                      <a:pt x="207" y="234"/>
                    </a:cubicBezTo>
                    <a:cubicBezTo>
                      <a:pt x="208" y="235"/>
                      <a:pt x="208" y="235"/>
                      <a:pt x="209" y="236"/>
                    </a:cubicBezTo>
                    <a:cubicBezTo>
                      <a:pt x="208" y="237"/>
                      <a:pt x="206" y="238"/>
                      <a:pt x="204" y="239"/>
                    </a:cubicBezTo>
                    <a:close/>
                    <a:moveTo>
                      <a:pt x="447" y="303"/>
                    </a:moveTo>
                    <a:cubicBezTo>
                      <a:pt x="447" y="303"/>
                      <a:pt x="447" y="303"/>
                      <a:pt x="447" y="303"/>
                    </a:cubicBezTo>
                    <a:cubicBezTo>
                      <a:pt x="447" y="302"/>
                      <a:pt x="446" y="301"/>
                      <a:pt x="446" y="301"/>
                    </a:cubicBezTo>
                    <a:cubicBezTo>
                      <a:pt x="445" y="300"/>
                      <a:pt x="444" y="299"/>
                      <a:pt x="443" y="299"/>
                    </a:cubicBezTo>
                    <a:cubicBezTo>
                      <a:pt x="443" y="299"/>
                      <a:pt x="442" y="299"/>
                      <a:pt x="442" y="299"/>
                    </a:cubicBezTo>
                    <a:cubicBezTo>
                      <a:pt x="441" y="299"/>
                      <a:pt x="441" y="299"/>
                      <a:pt x="440" y="299"/>
                    </a:cubicBezTo>
                    <a:cubicBezTo>
                      <a:pt x="439" y="299"/>
                      <a:pt x="437" y="299"/>
                      <a:pt x="437" y="300"/>
                    </a:cubicBezTo>
                    <a:cubicBezTo>
                      <a:pt x="436" y="301"/>
                      <a:pt x="435" y="302"/>
                      <a:pt x="435" y="304"/>
                    </a:cubicBezTo>
                    <a:cubicBezTo>
                      <a:pt x="435" y="305"/>
                      <a:pt x="436" y="306"/>
                      <a:pt x="437" y="307"/>
                    </a:cubicBezTo>
                    <a:cubicBezTo>
                      <a:pt x="437" y="308"/>
                      <a:pt x="437" y="308"/>
                      <a:pt x="438" y="308"/>
                    </a:cubicBezTo>
                    <a:cubicBezTo>
                      <a:pt x="432" y="311"/>
                      <a:pt x="427" y="313"/>
                      <a:pt x="421" y="315"/>
                    </a:cubicBezTo>
                    <a:cubicBezTo>
                      <a:pt x="410" y="319"/>
                      <a:pt x="398" y="321"/>
                      <a:pt x="387" y="323"/>
                    </a:cubicBezTo>
                    <a:cubicBezTo>
                      <a:pt x="381" y="324"/>
                      <a:pt x="375" y="325"/>
                      <a:pt x="369" y="325"/>
                    </a:cubicBezTo>
                    <a:cubicBezTo>
                      <a:pt x="367" y="326"/>
                      <a:pt x="366" y="326"/>
                      <a:pt x="364" y="326"/>
                    </a:cubicBezTo>
                    <a:cubicBezTo>
                      <a:pt x="359" y="325"/>
                      <a:pt x="354" y="325"/>
                      <a:pt x="349" y="324"/>
                    </a:cubicBezTo>
                    <a:cubicBezTo>
                      <a:pt x="340" y="323"/>
                      <a:pt x="331" y="322"/>
                      <a:pt x="322" y="320"/>
                    </a:cubicBezTo>
                    <a:cubicBezTo>
                      <a:pt x="309" y="316"/>
                      <a:pt x="298" y="312"/>
                      <a:pt x="287" y="305"/>
                    </a:cubicBezTo>
                    <a:cubicBezTo>
                      <a:pt x="287" y="305"/>
                      <a:pt x="287" y="305"/>
                      <a:pt x="287" y="305"/>
                    </a:cubicBezTo>
                    <a:cubicBezTo>
                      <a:pt x="293" y="305"/>
                      <a:pt x="293" y="296"/>
                      <a:pt x="287" y="296"/>
                    </a:cubicBezTo>
                    <a:cubicBezTo>
                      <a:pt x="283" y="296"/>
                      <a:pt x="282" y="300"/>
                      <a:pt x="283" y="302"/>
                    </a:cubicBezTo>
                    <a:cubicBezTo>
                      <a:pt x="280" y="300"/>
                      <a:pt x="277" y="298"/>
                      <a:pt x="274" y="295"/>
                    </a:cubicBezTo>
                    <a:cubicBezTo>
                      <a:pt x="273" y="295"/>
                      <a:pt x="272" y="294"/>
                      <a:pt x="271" y="293"/>
                    </a:cubicBezTo>
                    <a:cubicBezTo>
                      <a:pt x="284" y="294"/>
                      <a:pt x="297" y="294"/>
                      <a:pt x="310" y="295"/>
                    </a:cubicBezTo>
                    <a:cubicBezTo>
                      <a:pt x="329" y="297"/>
                      <a:pt x="348" y="298"/>
                      <a:pt x="367" y="299"/>
                    </a:cubicBezTo>
                    <a:cubicBezTo>
                      <a:pt x="376" y="300"/>
                      <a:pt x="386" y="300"/>
                      <a:pt x="395" y="301"/>
                    </a:cubicBezTo>
                    <a:cubicBezTo>
                      <a:pt x="405" y="301"/>
                      <a:pt x="414" y="300"/>
                      <a:pt x="424" y="299"/>
                    </a:cubicBezTo>
                    <a:cubicBezTo>
                      <a:pt x="433" y="298"/>
                      <a:pt x="443" y="297"/>
                      <a:pt x="452" y="296"/>
                    </a:cubicBezTo>
                    <a:cubicBezTo>
                      <a:pt x="455" y="296"/>
                      <a:pt x="458" y="295"/>
                      <a:pt x="461" y="295"/>
                    </a:cubicBezTo>
                    <a:cubicBezTo>
                      <a:pt x="456" y="298"/>
                      <a:pt x="452" y="301"/>
                      <a:pt x="447" y="303"/>
                    </a:cubicBezTo>
                    <a:close/>
                    <a:moveTo>
                      <a:pt x="499" y="259"/>
                    </a:moveTo>
                    <a:cubicBezTo>
                      <a:pt x="499" y="259"/>
                      <a:pt x="499" y="259"/>
                      <a:pt x="499" y="259"/>
                    </a:cubicBezTo>
                    <a:cubicBezTo>
                      <a:pt x="491" y="270"/>
                      <a:pt x="481" y="279"/>
                      <a:pt x="471" y="288"/>
                    </a:cubicBezTo>
                    <a:cubicBezTo>
                      <a:pt x="470" y="288"/>
                      <a:pt x="469" y="288"/>
                      <a:pt x="468" y="288"/>
                    </a:cubicBezTo>
                    <a:cubicBezTo>
                      <a:pt x="463" y="288"/>
                      <a:pt x="458" y="289"/>
                      <a:pt x="453" y="290"/>
                    </a:cubicBezTo>
                    <a:cubicBezTo>
                      <a:pt x="444" y="290"/>
                      <a:pt x="435" y="291"/>
                      <a:pt x="425" y="292"/>
                    </a:cubicBezTo>
                    <a:cubicBezTo>
                      <a:pt x="416" y="293"/>
                      <a:pt x="407" y="294"/>
                      <a:pt x="398" y="294"/>
                    </a:cubicBezTo>
                    <a:cubicBezTo>
                      <a:pt x="388" y="294"/>
                      <a:pt x="378" y="293"/>
                      <a:pt x="369" y="292"/>
                    </a:cubicBezTo>
                    <a:cubicBezTo>
                      <a:pt x="350" y="292"/>
                      <a:pt x="331" y="291"/>
                      <a:pt x="312" y="290"/>
                    </a:cubicBezTo>
                    <a:cubicBezTo>
                      <a:pt x="297" y="288"/>
                      <a:pt x="281" y="288"/>
                      <a:pt x="266" y="288"/>
                    </a:cubicBezTo>
                    <a:cubicBezTo>
                      <a:pt x="253" y="276"/>
                      <a:pt x="243" y="260"/>
                      <a:pt x="236" y="243"/>
                    </a:cubicBezTo>
                    <a:cubicBezTo>
                      <a:pt x="237" y="242"/>
                      <a:pt x="237" y="240"/>
                      <a:pt x="235" y="238"/>
                    </a:cubicBezTo>
                    <a:cubicBezTo>
                      <a:pt x="235" y="238"/>
                      <a:pt x="234" y="238"/>
                      <a:pt x="234" y="238"/>
                    </a:cubicBezTo>
                    <a:cubicBezTo>
                      <a:pt x="231" y="229"/>
                      <a:pt x="228" y="220"/>
                      <a:pt x="227" y="210"/>
                    </a:cubicBezTo>
                    <a:cubicBezTo>
                      <a:pt x="222" y="181"/>
                      <a:pt x="227" y="151"/>
                      <a:pt x="240" y="125"/>
                    </a:cubicBezTo>
                    <a:cubicBezTo>
                      <a:pt x="246" y="111"/>
                      <a:pt x="255" y="98"/>
                      <a:pt x="267" y="88"/>
                    </a:cubicBezTo>
                    <a:cubicBezTo>
                      <a:pt x="277" y="79"/>
                      <a:pt x="288" y="72"/>
                      <a:pt x="300" y="65"/>
                    </a:cubicBezTo>
                    <a:cubicBezTo>
                      <a:pt x="305" y="63"/>
                      <a:pt x="311" y="62"/>
                      <a:pt x="316" y="60"/>
                    </a:cubicBezTo>
                    <a:cubicBezTo>
                      <a:pt x="333" y="55"/>
                      <a:pt x="352" y="52"/>
                      <a:pt x="370" y="51"/>
                    </a:cubicBezTo>
                    <a:cubicBezTo>
                      <a:pt x="407" y="49"/>
                      <a:pt x="442" y="63"/>
                      <a:pt x="471" y="85"/>
                    </a:cubicBezTo>
                    <a:cubicBezTo>
                      <a:pt x="489" y="98"/>
                      <a:pt x="504" y="114"/>
                      <a:pt x="513" y="134"/>
                    </a:cubicBezTo>
                    <a:cubicBezTo>
                      <a:pt x="518" y="144"/>
                      <a:pt x="521" y="154"/>
                      <a:pt x="524" y="165"/>
                    </a:cubicBezTo>
                    <a:cubicBezTo>
                      <a:pt x="524" y="166"/>
                      <a:pt x="524" y="166"/>
                      <a:pt x="524" y="168"/>
                    </a:cubicBezTo>
                    <a:cubicBezTo>
                      <a:pt x="525" y="172"/>
                      <a:pt x="525" y="176"/>
                      <a:pt x="525" y="181"/>
                    </a:cubicBezTo>
                    <a:cubicBezTo>
                      <a:pt x="524" y="191"/>
                      <a:pt x="524" y="200"/>
                      <a:pt x="521" y="210"/>
                    </a:cubicBezTo>
                    <a:cubicBezTo>
                      <a:pt x="517" y="228"/>
                      <a:pt x="509" y="244"/>
                      <a:pt x="499" y="259"/>
                    </a:cubicBezTo>
                    <a:close/>
                    <a:moveTo>
                      <a:pt x="537" y="199"/>
                    </a:moveTo>
                    <a:cubicBezTo>
                      <a:pt x="537" y="199"/>
                      <a:pt x="537" y="199"/>
                      <a:pt x="537" y="199"/>
                    </a:cubicBezTo>
                    <a:cubicBezTo>
                      <a:pt x="538" y="199"/>
                      <a:pt x="539" y="198"/>
                      <a:pt x="539" y="197"/>
                    </a:cubicBezTo>
                    <a:cubicBezTo>
                      <a:pt x="541" y="190"/>
                      <a:pt x="540" y="183"/>
                      <a:pt x="539" y="175"/>
                    </a:cubicBezTo>
                    <a:cubicBezTo>
                      <a:pt x="540" y="176"/>
                      <a:pt x="541" y="177"/>
                      <a:pt x="541" y="178"/>
                    </a:cubicBezTo>
                    <a:cubicBezTo>
                      <a:pt x="545" y="184"/>
                      <a:pt x="546" y="191"/>
                      <a:pt x="545" y="197"/>
                    </a:cubicBezTo>
                    <a:cubicBezTo>
                      <a:pt x="545" y="204"/>
                      <a:pt x="540" y="209"/>
                      <a:pt x="537" y="214"/>
                    </a:cubicBezTo>
                    <a:cubicBezTo>
                      <a:pt x="536" y="215"/>
                      <a:pt x="534" y="217"/>
                      <a:pt x="533" y="218"/>
                    </a:cubicBezTo>
                    <a:cubicBezTo>
                      <a:pt x="535" y="212"/>
                      <a:pt x="536" y="206"/>
                      <a:pt x="537" y="199"/>
                    </a:cubicBezTo>
                    <a:close/>
                    <a:moveTo>
                      <a:pt x="544" y="225"/>
                    </a:moveTo>
                    <a:cubicBezTo>
                      <a:pt x="544" y="225"/>
                      <a:pt x="544" y="225"/>
                      <a:pt x="544" y="225"/>
                    </a:cubicBezTo>
                    <a:cubicBezTo>
                      <a:pt x="545" y="224"/>
                      <a:pt x="545" y="224"/>
                      <a:pt x="545" y="224"/>
                    </a:cubicBezTo>
                    <a:cubicBezTo>
                      <a:pt x="551" y="216"/>
                      <a:pt x="556" y="209"/>
                      <a:pt x="557" y="199"/>
                    </a:cubicBezTo>
                    <a:cubicBezTo>
                      <a:pt x="557" y="199"/>
                      <a:pt x="557" y="199"/>
                      <a:pt x="557" y="199"/>
                    </a:cubicBezTo>
                    <a:cubicBezTo>
                      <a:pt x="560" y="200"/>
                      <a:pt x="562" y="201"/>
                      <a:pt x="564" y="202"/>
                    </a:cubicBezTo>
                    <a:cubicBezTo>
                      <a:pt x="567" y="204"/>
                      <a:pt x="571" y="205"/>
                      <a:pt x="574" y="205"/>
                    </a:cubicBezTo>
                    <a:cubicBezTo>
                      <a:pt x="573" y="209"/>
                      <a:pt x="572" y="213"/>
                      <a:pt x="570" y="216"/>
                    </a:cubicBezTo>
                    <a:cubicBezTo>
                      <a:pt x="569" y="220"/>
                      <a:pt x="567" y="224"/>
                      <a:pt x="565" y="228"/>
                    </a:cubicBezTo>
                    <a:cubicBezTo>
                      <a:pt x="564" y="229"/>
                      <a:pt x="564" y="231"/>
                      <a:pt x="563" y="232"/>
                    </a:cubicBezTo>
                    <a:cubicBezTo>
                      <a:pt x="556" y="230"/>
                      <a:pt x="550" y="227"/>
                      <a:pt x="544" y="225"/>
                    </a:cubicBezTo>
                    <a:close/>
                    <a:moveTo>
                      <a:pt x="572" y="235"/>
                    </a:moveTo>
                    <a:cubicBezTo>
                      <a:pt x="572" y="235"/>
                      <a:pt x="572" y="235"/>
                      <a:pt x="572" y="235"/>
                    </a:cubicBezTo>
                    <a:cubicBezTo>
                      <a:pt x="571" y="234"/>
                      <a:pt x="570" y="234"/>
                      <a:pt x="570" y="234"/>
                    </a:cubicBezTo>
                    <a:cubicBezTo>
                      <a:pt x="570" y="234"/>
                      <a:pt x="570" y="233"/>
                      <a:pt x="570" y="232"/>
                    </a:cubicBezTo>
                    <a:cubicBezTo>
                      <a:pt x="572" y="229"/>
                      <a:pt x="574" y="225"/>
                      <a:pt x="575" y="221"/>
                    </a:cubicBezTo>
                    <a:cubicBezTo>
                      <a:pt x="577" y="217"/>
                      <a:pt x="578" y="211"/>
                      <a:pt x="579" y="206"/>
                    </a:cubicBezTo>
                    <a:cubicBezTo>
                      <a:pt x="583" y="207"/>
                      <a:pt x="587" y="208"/>
                      <a:pt x="591" y="208"/>
                    </a:cubicBezTo>
                    <a:cubicBezTo>
                      <a:pt x="592" y="208"/>
                      <a:pt x="594" y="208"/>
                      <a:pt x="595" y="207"/>
                    </a:cubicBezTo>
                    <a:cubicBezTo>
                      <a:pt x="594" y="212"/>
                      <a:pt x="594" y="217"/>
                      <a:pt x="594" y="222"/>
                    </a:cubicBezTo>
                    <a:cubicBezTo>
                      <a:pt x="593" y="226"/>
                      <a:pt x="593" y="229"/>
                      <a:pt x="593" y="233"/>
                    </a:cubicBezTo>
                    <a:cubicBezTo>
                      <a:pt x="592" y="234"/>
                      <a:pt x="592" y="236"/>
                      <a:pt x="593" y="237"/>
                    </a:cubicBezTo>
                    <a:cubicBezTo>
                      <a:pt x="586" y="237"/>
                      <a:pt x="579" y="236"/>
                      <a:pt x="572" y="235"/>
                    </a:cubicBezTo>
                    <a:close/>
                    <a:moveTo>
                      <a:pt x="599" y="237"/>
                    </a:moveTo>
                    <a:cubicBezTo>
                      <a:pt x="599" y="237"/>
                      <a:pt x="599" y="237"/>
                      <a:pt x="599" y="237"/>
                    </a:cubicBezTo>
                    <a:cubicBezTo>
                      <a:pt x="599" y="236"/>
                      <a:pt x="599" y="235"/>
                      <a:pt x="599" y="234"/>
                    </a:cubicBezTo>
                    <a:cubicBezTo>
                      <a:pt x="599" y="230"/>
                      <a:pt x="600" y="227"/>
                      <a:pt x="600" y="224"/>
                    </a:cubicBezTo>
                    <a:cubicBezTo>
                      <a:pt x="600" y="218"/>
                      <a:pt x="600" y="212"/>
                      <a:pt x="600" y="207"/>
                    </a:cubicBezTo>
                    <a:cubicBezTo>
                      <a:pt x="603" y="206"/>
                      <a:pt x="605" y="206"/>
                      <a:pt x="608" y="205"/>
                    </a:cubicBezTo>
                    <a:cubicBezTo>
                      <a:pt x="608" y="209"/>
                      <a:pt x="610" y="213"/>
                      <a:pt x="611" y="218"/>
                    </a:cubicBezTo>
                    <a:cubicBezTo>
                      <a:pt x="612" y="223"/>
                      <a:pt x="612" y="229"/>
                      <a:pt x="614" y="234"/>
                    </a:cubicBezTo>
                    <a:cubicBezTo>
                      <a:pt x="611" y="234"/>
                      <a:pt x="609" y="235"/>
                      <a:pt x="606" y="236"/>
                    </a:cubicBezTo>
                    <a:cubicBezTo>
                      <a:pt x="604" y="236"/>
                      <a:pt x="601" y="237"/>
                      <a:pt x="599" y="237"/>
                    </a:cubicBezTo>
                    <a:close/>
                    <a:moveTo>
                      <a:pt x="619" y="232"/>
                    </a:moveTo>
                    <a:cubicBezTo>
                      <a:pt x="619" y="232"/>
                      <a:pt x="619" y="232"/>
                      <a:pt x="619" y="232"/>
                    </a:cubicBezTo>
                    <a:cubicBezTo>
                      <a:pt x="619" y="227"/>
                      <a:pt x="618" y="223"/>
                      <a:pt x="617" y="219"/>
                    </a:cubicBezTo>
                    <a:cubicBezTo>
                      <a:pt x="616" y="216"/>
                      <a:pt x="616" y="213"/>
                      <a:pt x="615" y="210"/>
                    </a:cubicBezTo>
                    <a:cubicBezTo>
                      <a:pt x="614" y="208"/>
                      <a:pt x="613" y="206"/>
                      <a:pt x="612" y="203"/>
                    </a:cubicBezTo>
                    <a:cubicBezTo>
                      <a:pt x="617" y="202"/>
                      <a:pt x="621" y="199"/>
                      <a:pt x="625" y="196"/>
                    </a:cubicBezTo>
                    <a:cubicBezTo>
                      <a:pt x="625" y="196"/>
                      <a:pt x="626" y="195"/>
                      <a:pt x="626" y="195"/>
                    </a:cubicBezTo>
                    <a:cubicBezTo>
                      <a:pt x="629" y="200"/>
                      <a:pt x="634" y="204"/>
                      <a:pt x="637" y="208"/>
                    </a:cubicBezTo>
                    <a:cubicBezTo>
                      <a:pt x="639" y="211"/>
                      <a:pt x="641" y="214"/>
                      <a:pt x="642" y="217"/>
                    </a:cubicBezTo>
                    <a:cubicBezTo>
                      <a:pt x="635" y="223"/>
                      <a:pt x="627" y="228"/>
                      <a:pt x="619" y="232"/>
                    </a:cubicBezTo>
                    <a:close/>
                    <a:moveTo>
                      <a:pt x="658" y="197"/>
                    </a:moveTo>
                    <a:cubicBezTo>
                      <a:pt x="658" y="197"/>
                      <a:pt x="658" y="197"/>
                      <a:pt x="658" y="197"/>
                    </a:cubicBezTo>
                    <a:cubicBezTo>
                      <a:pt x="655" y="202"/>
                      <a:pt x="652" y="207"/>
                      <a:pt x="648" y="211"/>
                    </a:cubicBezTo>
                    <a:cubicBezTo>
                      <a:pt x="647" y="209"/>
                      <a:pt x="646" y="208"/>
                      <a:pt x="644" y="206"/>
                    </a:cubicBezTo>
                    <a:cubicBezTo>
                      <a:pt x="642" y="203"/>
                      <a:pt x="640" y="200"/>
                      <a:pt x="637" y="198"/>
                    </a:cubicBezTo>
                    <a:cubicBezTo>
                      <a:pt x="635" y="196"/>
                      <a:pt x="632" y="194"/>
                      <a:pt x="630" y="191"/>
                    </a:cubicBezTo>
                    <a:cubicBezTo>
                      <a:pt x="632" y="189"/>
                      <a:pt x="635" y="186"/>
                      <a:pt x="637" y="183"/>
                    </a:cubicBezTo>
                    <a:cubicBezTo>
                      <a:pt x="637" y="183"/>
                      <a:pt x="637" y="183"/>
                      <a:pt x="637" y="183"/>
                    </a:cubicBezTo>
                    <a:cubicBezTo>
                      <a:pt x="638" y="185"/>
                      <a:pt x="640" y="187"/>
                      <a:pt x="642" y="189"/>
                    </a:cubicBezTo>
                    <a:cubicBezTo>
                      <a:pt x="644" y="191"/>
                      <a:pt x="646" y="192"/>
                      <a:pt x="648" y="194"/>
                    </a:cubicBezTo>
                    <a:cubicBezTo>
                      <a:pt x="651" y="195"/>
                      <a:pt x="653" y="198"/>
                      <a:pt x="656" y="197"/>
                    </a:cubicBezTo>
                    <a:cubicBezTo>
                      <a:pt x="658" y="196"/>
                      <a:pt x="658" y="193"/>
                      <a:pt x="657" y="191"/>
                    </a:cubicBezTo>
                    <a:cubicBezTo>
                      <a:pt x="656" y="189"/>
                      <a:pt x="653" y="187"/>
                      <a:pt x="651" y="186"/>
                    </a:cubicBezTo>
                    <a:cubicBezTo>
                      <a:pt x="647" y="183"/>
                      <a:pt x="643" y="181"/>
                      <a:pt x="640" y="177"/>
                    </a:cubicBezTo>
                    <a:cubicBezTo>
                      <a:pt x="641" y="176"/>
                      <a:pt x="641" y="175"/>
                      <a:pt x="642" y="173"/>
                    </a:cubicBezTo>
                    <a:cubicBezTo>
                      <a:pt x="643" y="174"/>
                      <a:pt x="644" y="175"/>
                      <a:pt x="645" y="176"/>
                    </a:cubicBezTo>
                    <a:cubicBezTo>
                      <a:pt x="651" y="179"/>
                      <a:pt x="658" y="182"/>
                      <a:pt x="664" y="183"/>
                    </a:cubicBezTo>
                    <a:cubicBezTo>
                      <a:pt x="664" y="184"/>
                      <a:pt x="664" y="184"/>
                      <a:pt x="664" y="185"/>
                    </a:cubicBezTo>
                    <a:cubicBezTo>
                      <a:pt x="662" y="189"/>
                      <a:pt x="660" y="193"/>
                      <a:pt x="658" y="197"/>
                    </a:cubicBezTo>
                    <a:close/>
                    <a:moveTo>
                      <a:pt x="704" y="144"/>
                    </a:moveTo>
                    <a:cubicBezTo>
                      <a:pt x="704" y="144"/>
                      <a:pt x="704" y="144"/>
                      <a:pt x="704" y="144"/>
                    </a:cubicBezTo>
                    <a:cubicBezTo>
                      <a:pt x="701" y="152"/>
                      <a:pt x="697" y="159"/>
                      <a:pt x="691" y="164"/>
                    </a:cubicBezTo>
                    <a:cubicBezTo>
                      <a:pt x="681" y="172"/>
                      <a:pt x="667" y="171"/>
                      <a:pt x="656" y="166"/>
                    </a:cubicBezTo>
                    <a:cubicBezTo>
                      <a:pt x="645" y="161"/>
                      <a:pt x="633" y="150"/>
                      <a:pt x="635" y="137"/>
                    </a:cubicBezTo>
                    <a:cubicBezTo>
                      <a:pt x="636" y="130"/>
                      <a:pt x="640" y="124"/>
                      <a:pt x="643" y="118"/>
                    </a:cubicBezTo>
                    <a:cubicBezTo>
                      <a:pt x="644" y="116"/>
                      <a:pt x="646" y="114"/>
                      <a:pt x="647" y="112"/>
                    </a:cubicBezTo>
                    <a:cubicBezTo>
                      <a:pt x="647" y="112"/>
                      <a:pt x="648" y="112"/>
                      <a:pt x="649" y="113"/>
                    </a:cubicBezTo>
                    <a:cubicBezTo>
                      <a:pt x="649" y="113"/>
                      <a:pt x="651" y="113"/>
                      <a:pt x="651" y="113"/>
                    </a:cubicBezTo>
                    <a:cubicBezTo>
                      <a:pt x="651" y="113"/>
                      <a:pt x="652" y="113"/>
                      <a:pt x="653" y="113"/>
                    </a:cubicBezTo>
                    <a:cubicBezTo>
                      <a:pt x="653" y="113"/>
                      <a:pt x="655" y="114"/>
                      <a:pt x="654" y="114"/>
                    </a:cubicBezTo>
                    <a:cubicBezTo>
                      <a:pt x="654" y="114"/>
                      <a:pt x="654" y="114"/>
                      <a:pt x="654" y="114"/>
                    </a:cubicBezTo>
                    <a:cubicBezTo>
                      <a:pt x="654" y="114"/>
                      <a:pt x="654" y="115"/>
                      <a:pt x="654" y="115"/>
                    </a:cubicBezTo>
                    <a:cubicBezTo>
                      <a:pt x="653" y="117"/>
                      <a:pt x="652" y="119"/>
                      <a:pt x="651" y="121"/>
                    </a:cubicBezTo>
                    <a:cubicBezTo>
                      <a:pt x="647" y="126"/>
                      <a:pt x="646" y="132"/>
                      <a:pt x="648" y="138"/>
                    </a:cubicBezTo>
                    <a:cubicBezTo>
                      <a:pt x="650" y="144"/>
                      <a:pt x="655" y="149"/>
                      <a:pt x="662" y="151"/>
                    </a:cubicBezTo>
                    <a:cubicBezTo>
                      <a:pt x="673" y="155"/>
                      <a:pt x="686" y="150"/>
                      <a:pt x="693" y="142"/>
                    </a:cubicBezTo>
                    <a:cubicBezTo>
                      <a:pt x="697" y="137"/>
                      <a:pt x="700" y="132"/>
                      <a:pt x="703" y="128"/>
                    </a:cubicBezTo>
                    <a:cubicBezTo>
                      <a:pt x="703" y="127"/>
                      <a:pt x="703" y="127"/>
                      <a:pt x="703" y="127"/>
                    </a:cubicBezTo>
                    <a:cubicBezTo>
                      <a:pt x="703" y="127"/>
                      <a:pt x="703" y="127"/>
                      <a:pt x="704" y="127"/>
                    </a:cubicBezTo>
                    <a:cubicBezTo>
                      <a:pt x="705" y="128"/>
                      <a:pt x="706" y="128"/>
                      <a:pt x="707" y="128"/>
                    </a:cubicBezTo>
                    <a:cubicBezTo>
                      <a:pt x="707" y="128"/>
                      <a:pt x="707" y="128"/>
                      <a:pt x="708" y="129"/>
                    </a:cubicBezTo>
                    <a:cubicBezTo>
                      <a:pt x="707" y="130"/>
                      <a:pt x="707" y="131"/>
                      <a:pt x="707" y="132"/>
                    </a:cubicBezTo>
                    <a:cubicBezTo>
                      <a:pt x="705" y="136"/>
                      <a:pt x="705" y="140"/>
                      <a:pt x="704" y="144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50" name="圆角矩形标注 49"/>
            <p:cNvSpPr/>
            <p:nvPr/>
          </p:nvSpPr>
          <p:spPr>
            <a:xfrm rot="20040000">
              <a:off x="14620" y="6681"/>
              <a:ext cx="3190" cy="1872"/>
            </a:xfrm>
            <a:prstGeom prst="wedgeRoundRectCallout">
              <a:avLst>
                <a:gd name="adj1" fmla="val 12306"/>
                <a:gd name="adj2" fmla="val 74815"/>
                <a:gd name="adj3" fmla="val 16667"/>
              </a:avLst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l" fontAlgn="auto">
                <a:lnSpc>
                  <a:spcPct val="150000"/>
                </a:lnSpc>
              </a:pPr>
              <a:r>
                <a:rPr lang="zh-CN" altLang="en-US" sz="1600">
                  <a:sym typeface="+mn-ea"/>
                </a:rPr>
                <a:t>还可以怎样描述？请编写出相应的完整程序并测试。</a:t>
              </a:r>
              <a:endParaRPr lang="zh-CN" altLang="en-US" sz="160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800" dirty="0"/>
              <a:t>python</a:t>
            </a:r>
            <a:r>
              <a:rPr lang="zh-CN" altLang="en-US" sz="2800" dirty="0"/>
              <a:t>逻辑表达式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595432" y="206647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36625" y="-114300"/>
            <a:ext cx="4977130" cy="1028700"/>
          </a:xfrm>
        </p:spPr>
        <p:txBody>
          <a:bodyPr/>
          <a:lstStyle/>
          <a:p>
            <a:r>
              <a:rPr lang="en-US" dirty="0"/>
              <a:t>python</a:t>
            </a:r>
            <a:r>
              <a:rPr lang="zh-CN" altLang="en-US" dirty="0"/>
              <a:t>的逻辑表达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7544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13</a:t>
            </a:fld>
            <a:endParaRPr lang="zh-CN" altLang="en-US"/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61" name="îṧļîḓê"/>
          <p:cNvSpPr/>
          <p:nvPr/>
        </p:nvSpPr>
        <p:spPr>
          <a:xfrm>
            <a:off x="1913890" y="1205230"/>
            <a:ext cx="3409950" cy="451485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zh-CN" altLang="en-US" sz="2200" dirty="0">
                <a:solidFill>
                  <a:schemeClr val="tx1"/>
                </a:solidFill>
              </a:rPr>
              <a:t>海伦公式求三角形面积</a:t>
            </a:r>
          </a:p>
        </p:txBody>
      </p:sp>
      <p:grpSp>
        <p:nvGrpSpPr>
          <p:cNvPr id="64" name="组合 63"/>
          <p:cNvGrpSpPr/>
          <p:nvPr/>
        </p:nvGrpSpPr>
        <p:grpSpPr>
          <a:xfrm>
            <a:off x="3060065" y="1948815"/>
            <a:ext cx="3609340" cy="4251960"/>
            <a:chOff x="604" y="2698"/>
            <a:chExt cx="5684" cy="6696"/>
          </a:xfrm>
        </p:grpSpPr>
        <p:grpSp>
          <p:nvGrpSpPr>
            <p:cNvPr id="47" name="组合 46"/>
            <p:cNvGrpSpPr/>
            <p:nvPr/>
          </p:nvGrpSpPr>
          <p:grpSpPr>
            <a:xfrm>
              <a:off x="765" y="2850"/>
              <a:ext cx="5392" cy="6390"/>
              <a:chOff x="1249" y="2974"/>
              <a:chExt cx="5392" cy="6390"/>
            </a:xfrm>
          </p:grpSpPr>
          <p:sp>
            <p:nvSpPr>
              <p:cNvPr id="9" name="流程图: 终止 8"/>
              <p:cNvSpPr/>
              <p:nvPr/>
            </p:nvSpPr>
            <p:spPr>
              <a:xfrm>
                <a:off x="2979" y="2974"/>
                <a:ext cx="1932" cy="521"/>
              </a:xfrm>
              <a:prstGeom prst="flowChartTerminator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dirty="0">
                    <a:solidFill>
                      <a:schemeClr val="tx1"/>
                    </a:solidFill>
                  </a:rPr>
                  <a:t>开始</a:t>
                </a:r>
              </a:p>
            </p:txBody>
          </p:sp>
          <p:sp>
            <p:nvSpPr>
              <p:cNvPr id="10" name="流程图: 数据 9"/>
              <p:cNvSpPr/>
              <p:nvPr/>
            </p:nvSpPr>
            <p:spPr>
              <a:xfrm>
                <a:off x="1249" y="3944"/>
                <a:ext cx="5393" cy="841"/>
              </a:xfrm>
              <a:prstGeom prst="flowChartInputOutpu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buClrTx/>
                  <a:buSzTx/>
                  <a:buFontTx/>
                </a:pPr>
                <a:r>
                  <a:rPr lang="zh-CN" altLang="en-US" sz="1800">
                    <a:solidFill>
                      <a:schemeClr val="tx1"/>
                    </a:solidFill>
                  </a:rPr>
                  <a:t>输入边长a，b，c</a:t>
                </a:r>
              </a:p>
            </p:txBody>
          </p:sp>
          <p:sp>
            <p:nvSpPr>
              <p:cNvPr id="11" name="流程图: 过程 10"/>
              <p:cNvSpPr/>
              <p:nvPr/>
            </p:nvSpPr>
            <p:spPr>
              <a:xfrm>
                <a:off x="2069" y="5219"/>
                <a:ext cx="3753" cy="671"/>
              </a:xfrm>
              <a:prstGeom prst="flowChartProcess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</a:rPr>
                  <a:t>p←(a+b+c)/2</a:t>
                </a:r>
              </a:p>
            </p:txBody>
          </p:sp>
          <p:sp>
            <p:nvSpPr>
              <p:cNvPr id="12" name="流程图: 过程 11"/>
              <p:cNvSpPr/>
              <p:nvPr/>
            </p:nvSpPr>
            <p:spPr>
              <a:xfrm>
                <a:off x="1329" y="6402"/>
                <a:ext cx="5232" cy="770"/>
              </a:xfrm>
              <a:prstGeom prst="flowChartProcess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</a:rPr>
                  <a:t>s←(p*(p-a)*(p-b)*(p-c))**0.5</a:t>
                </a:r>
              </a:p>
            </p:txBody>
          </p:sp>
          <p:sp>
            <p:nvSpPr>
              <p:cNvPr id="13" name="流程图: 数据 12"/>
              <p:cNvSpPr/>
              <p:nvPr/>
            </p:nvSpPr>
            <p:spPr>
              <a:xfrm>
                <a:off x="2288" y="7698"/>
                <a:ext cx="3315" cy="623"/>
              </a:xfrm>
              <a:prstGeom prst="flowChartInputOutpu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>
                    <a:solidFill>
                      <a:schemeClr val="tx1"/>
                    </a:solidFill>
                  </a:rPr>
                  <a:t>输出面积</a:t>
                </a:r>
              </a:p>
            </p:txBody>
          </p:sp>
          <p:sp>
            <p:nvSpPr>
              <p:cNvPr id="14" name="流程图: 终止 13"/>
              <p:cNvSpPr/>
              <p:nvPr/>
            </p:nvSpPr>
            <p:spPr>
              <a:xfrm>
                <a:off x="2979" y="8812"/>
                <a:ext cx="1932" cy="552"/>
              </a:xfrm>
              <a:prstGeom prst="flowChartTerminator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>
                    <a:solidFill>
                      <a:schemeClr val="tx1"/>
                    </a:solidFill>
                  </a:rPr>
                  <a:t>结束</a:t>
                </a:r>
              </a:p>
            </p:txBody>
          </p:sp>
          <p:cxnSp>
            <p:nvCxnSpPr>
              <p:cNvPr id="15" name="直接箭头连接符 14"/>
              <p:cNvCxnSpPr/>
              <p:nvPr/>
            </p:nvCxnSpPr>
            <p:spPr>
              <a:xfrm>
                <a:off x="3939" y="3525"/>
                <a:ext cx="0" cy="397"/>
              </a:xfrm>
              <a:prstGeom prst="straightConnector1">
                <a:avLst/>
              </a:prstGeom>
              <a:ln w="25400" cmpd="sng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箭头连接符 15"/>
              <p:cNvCxnSpPr/>
              <p:nvPr/>
            </p:nvCxnSpPr>
            <p:spPr>
              <a:xfrm>
                <a:off x="3939" y="4785"/>
                <a:ext cx="0" cy="397"/>
              </a:xfrm>
              <a:prstGeom prst="straightConnector1">
                <a:avLst/>
              </a:prstGeom>
              <a:ln w="25400" cmpd="sng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箭头连接符 16"/>
              <p:cNvCxnSpPr/>
              <p:nvPr/>
            </p:nvCxnSpPr>
            <p:spPr>
              <a:xfrm>
                <a:off x="3939" y="5930"/>
                <a:ext cx="0" cy="397"/>
              </a:xfrm>
              <a:prstGeom prst="straightConnector1">
                <a:avLst/>
              </a:prstGeom>
              <a:ln w="25400" cmpd="sng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箭头连接符 17"/>
              <p:cNvCxnSpPr/>
              <p:nvPr/>
            </p:nvCxnSpPr>
            <p:spPr>
              <a:xfrm>
                <a:off x="3939" y="7260"/>
                <a:ext cx="0" cy="397"/>
              </a:xfrm>
              <a:prstGeom prst="straightConnector1">
                <a:avLst/>
              </a:prstGeom>
              <a:ln w="25400" cmpd="sng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箭头连接符 18"/>
              <p:cNvCxnSpPr/>
              <p:nvPr/>
            </p:nvCxnSpPr>
            <p:spPr>
              <a:xfrm>
                <a:off x="3939" y="8356"/>
                <a:ext cx="0" cy="397"/>
              </a:xfrm>
              <a:prstGeom prst="straightConnector1">
                <a:avLst/>
              </a:prstGeom>
              <a:ln w="25400" cmpd="sng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2" name="矩形 61"/>
            <p:cNvSpPr/>
            <p:nvPr/>
          </p:nvSpPr>
          <p:spPr>
            <a:xfrm>
              <a:off x="604" y="2698"/>
              <a:ext cx="5684" cy="6696"/>
            </a:xfrm>
            <a:prstGeom prst="rect">
              <a:avLst/>
            </a:prstGeom>
            <a:noFill/>
            <a:ln w="50800">
              <a:solidFill>
                <a:srgbClr val="F4A229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9" name="组合 68"/>
          <p:cNvGrpSpPr/>
          <p:nvPr/>
        </p:nvGrpSpPr>
        <p:grpSpPr>
          <a:xfrm>
            <a:off x="777240" y="1205230"/>
            <a:ext cx="645795" cy="647700"/>
            <a:chOff x="17704" y="7751"/>
            <a:chExt cx="1382" cy="1386"/>
          </a:xfrm>
        </p:grpSpPr>
        <p:sp>
          <p:nvSpPr>
            <p:cNvPr id="70" name="ïsľiďê"/>
            <p:cNvSpPr/>
            <p:nvPr/>
          </p:nvSpPr>
          <p:spPr bwMode="auto">
            <a:xfrm>
              <a:off x="17704" y="7751"/>
              <a:ext cx="1383" cy="1386"/>
            </a:xfrm>
            <a:prstGeom prst="ellipse">
              <a:avLst/>
            </a:prstGeom>
            <a:solidFill>
              <a:srgbClr val="F4A229"/>
            </a:solidFill>
            <a:ln w="2857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ctr" anchorCtr="0" compatLnSpc="1">
              <a:normAutofit fontScale="7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dirty="0">
                <a:solidFill>
                  <a:srgbClr val="FFFFFF"/>
                </a:solidFill>
              </a:endParaRPr>
            </a:p>
          </p:txBody>
        </p:sp>
        <p:sp>
          <p:nvSpPr>
            <p:cNvPr id="71" name="íśľîde"/>
            <p:cNvSpPr/>
            <p:nvPr/>
          </p:nvSpPr>
          <p:spPr bwMode="auto">
            <a:xfrm>
              <a:off x="18070" y="8090"/>
              <a:ext cx="650" cy="708"/>
            </a:xfrm>
            <a:custGeom>
              <a:avLst/>
              <a:gdLst>
                <a:gd name="connsiteX0" fmla="*/ 176272 w 556267"/>
                <a:gd name="connsiteY0" fmla="*/ 555492 h 606087"/>
                <a:gd name="connsiteX1" fmla="*/ 380065 w 556267"/>
                <a:gd name="connsiteY1" fmla="*/ 555492 h 606087"/>
                <a:gd name="connsiteX2" fmla="*/ 379295 w 556267"/>
                <a:gd name="connsiteY2" fmla="*/ 574730 h 606087"/>
                <a:gd name="connsiteX3" fmla="*/ 379295 w 556267"/>
                <a:gd name="connsiteY3" fmla="*/ 606087 h 606087"/>
                <a:gd name="connsiteX4" fmla="*/ 177043 w 556267"/>
                <a:gd name="connsiteY4" fmla="*/ 606087 h 606087"/>
                <a:gd name="connsiteX5" fmla="*/ 177043 w 556267"/>
                <a:gd name="connsiteY5" fmla="*/ 580116 h 606087"/>
                <a:gd name="connsiteX6" fmla="*/ 176272 w 556267"/>
                <a:gd name="connsiteY6" fmla="*/ 555492 h 606087"/>
                <a:gd name="connsiteX7" fmla="*/ 170486 w 556267"/>
                <a:gd name="connsiteY7" fmla="*/ 504967 h 606087"/>
                <a:gd name="connsiteX8" fmla="*/ 386134 w 556267"/>
                <a:gd name="connsiteY8" fmla="*/ 504967 h 606087"/>
                <a:gd name="connsiteX9" fmla="*/ 382185 w 556267"/>
                <a:gd name="connsiteY9" fmla="*/ 530300 h 606087"/>
                <a:gd name="connsiteX10" fmla="*/ 174050 w 556267"/>
                <a:gd name="connsiteY10" fmla="*/ 530300 h 606087"/>
                <a:gd name="connsiteX11" fmla="*/ 170486 w 556267"/>
                <a:gd name="connsiteY11" fmla="*/ 504967 h 606087"/>
                <a:gd name="connsiteX12" fmla="*/ 481527 w 556267"/>
                <a:gd name="connsiteY12" fmla="*/ 380419 h 606087"/>
                <a:gd name="connsiteX13" fmla="*/ 525359 w 556267"/>
                <a:gd name="connsiteY13" fmla="*/ 405623 h 606087"/>
                <a:gd name="connsiteX14" fmla="*/ 512643 w 556267"/>
                <a:gd name="connsiteY14" fmla="*/ 427557 h 606087"/>
                <a:gd name="connsiteX15" fmla="*/ 468907 w 556267"/>
                <a:gd name="connsiteY15" fmla="*/ 402256 h 606087"/>
                <a:gd name="connsiteX16" fmla="*/ 74740 w 556267"/>
                <a:gd name="connsiteY16" fmla="*/ 380419 h 606087"/>
                <a:gd name="connsiteX17" fmla="*/ 87360 w 556267"/>
                <a:gd name="connsiteY17" fmla="*/ 402353 h 606087"/>
                <a:gd name="connsiteX18" fmla="*/ 43528 w 556267"/>
                <a:gd name="connsiteY18" fmla="*/ 427557 h 606087"/>
                <a:gd name="connsiteX19" fmla="*/ 30908 w 556267"/>
                <a:gd name="connsiteY19" fmla="*/ 405720 h 606087"/>
                <a:gd name="connsiteX20" fmla="*/ 505742 w 556267"/>
                <a:gd name="connsiteY20" fmla="*/ 265115 h 606087"/>
                <a:gd name="connsiteX21" fmla="*/ 556267 w 556267"/>
                <a:gd name="connsiteY21" fmla="*/ 265115 h 606087"/>
                <a:gd name="connsiteX22" fmla="*/ 556267 w 556267"/>
                <a:gd name="connsiteY22" fmla="*/ 290448 h 606087"/>
                <a:gd name="connsiteX23" fmla="*/ 505742 w 556267"/>
                <a:gd name="connsiteY23" fmla="*/ 290448 h 606087"/>
                <a:gd name="connsiteX24" fmla="*/ 0 w 556267"/>
                <a:gd name="connsiteY24" fmla="*/ 265115 h 606087"/>
                <a:gd name="connsiteX25" fmla="*/ 50525 w 556267"/>
                <a:gd name="connsiteY25" fmla="*/ 265115 h 606087"/>
                <a:gd name="connsiteX26" fmla="*/ 50525 w 556267"/>
                <a:gd name="connsiteY26" fmla="*/ 290448 h 606087"/>
                <a:gd name="connsiteX27" fmla="*/ 0 w 556267"/>
                <a:gd name="connsiteY27" fmla="*/ 290448 h 606087"/>
                <a:gd name="connsiteX28" fmla="*/ 512739 w 556267"/>
                <a:gd name="connsiteY28" fmla="*/ 128006 h 606087"/>
                <a:gd name="connsiteX29" fmla="*/ 525359 w 556267"/>
                <a:gd name="connsiteY29" fmla="*/ 149823 h 606087"/>
                <a:gd name="connsiteX30" fmla="*/ 481527 w 556267"/>
                <a:gd name="connsiteY30" fmla="*/ 175003 h 606087"/>
                <a:gd name="connsiteX31" fmla="*/ 468907 w 556267"/>
                <a:gd name="connsiteY31" fmla="*/ 153186 h 606087"/>
                <a:gd name="connsiteX32" fmla="*/ 43528 w 556267"/>
                <a:gd name="connsiteY32" fmla="*/ 127935 h 606087"/>
                <a:gd name="connsiteX33" fmla="*/ 87360 w 556267"/>
                <a:gd name="connsiteY33" fmla="*/ 153197 h 606087"/>
                <a:gd name="connsiteX34" fmla="*/ 74740 w 556267"/>
                <a:gd name="connsiteY34" fmla="*/ 175002 h 606087"/>
                <a:gd name="connsiteX35" fmla="*/ 30908 w 556267"/>
                <a:gd name="connsiteY35" fmla="*/ 149836 h 606087"/>
                <a:gd name="connsiteX36" fmla="*/ 297059 w 556267"/>
                <a:gd name="connsiteY36" fmla="*/ 76575 h 606087"/>
                <a:gd name="connsiteX37" fmla="*/ 404602 w 556267"/>
                <a:gd name="connsiteY37" fmla="*/ 124032 h 606087"/>
                <a:gd name="connsiteX38" fmla="*/ 467778 w 556267"/>
                <a:gd name="connsiteY38" fmla="*/ 265117 h 606087"/>
                <a:gd name="connsiteX39" fmla="*/ 441583 w 556267"/>
                <a:gd name="connsiteY39" fmla="*/ 361098 h 606087"/>
                <a:gd name="connsiteX40" fmla="*/ 391794 w 556267"/>
                <a:gd name="connsiteY40" fmla="*/ 479775 h 606087"/>
                <a:gd name="connsiteX41" fmla="*/ 165285 w 556267"/>
                <a:gd name="connsiteY41" fmla="*/ 479775 h 606087"/>
                <a:gd name="connsiteX42" fmla="*/ 118192 w 556267"/>
                <a:gd name="connsiteY42" fmla="*/ 366676 h 606087"/>
                <a:gd name="connsiteX43" fmla="*/ 89879 w 556267"/>
                <a:gd name="connsiteY43" fmla="*/ 242420 h 606087"/>
                <a:gd name="connsiteX44" fmla="*/ 256582 w 556267"/>
                <a:gd name="connsiteY44" fmla="*/ 76907 h 606087"/>
                <a:gd name="connsiteX45" fmla="*/ 297059 w 556267"/>
                <a:gd name="connsiteY45" fmla="*/ 76575 h 606087"/>
                <a:gd name="connsiteX46" fmla="*/ 150042 w 556267"/>
                <a:gd name="connsiteY46" fmla="*/ 30978 h 606087"/>
                <a:gd name="connsiteX47" fmla="*/ 175284 w 556267"/>
                <a:gd name="connsiteY47" fmla="*/ 74605 h 606087"/>
                <a:gd name="connsiteX48" fmla="*/ 153414 w 556267"/>
                <a:gd name="connsiteY48" fmla="*/ 87289 h 606087"/>
                <a:gd name="connsiteX49" fmla="*/ 128076 w 556267"/>
                <a:gd name="connsiteY49" fmla="*/ 43566 h 606087"/>
                <a:gd name="connsiteX50" fmla="*/ 406225 w 556267"/>
                <a:gd name="connsiteY50" fmla="*/ 30837 h 606087"/>
                <a:gd name="connsiteX51" fmla="*/ 428191 w 556267"/>
                <a:gd name="connsiteY51" fmla="*/ 43441 h 606087"/>
                <a:gd name="connsiteX52" fmla="*/ 402853 w 556267"/>
                <a:gd name="connsiteY52" fmla="*/ 87219 h 606087"/>
                <a:gd name="connsiteX53" fmla="*/ 380983 w 556267"/>
                <a:gd name="connsiteY53" fmla="*/ 74615 h 606087"/>
                <a:gd name="connsiteX54" fmla="*/ 265538 w 556267"/>
                <a:gd name="connsiteY54" fmla="*/ 0 h 606087"/>
                <a:gd name="connsiteX55" fmla="*/ 290730 w 556267"/>
                <a:gd name="connsiteY55" fmla="*/ 0 h 606087"/>
                <a:gd name="connsiteX56" fmla="*/ 290730 w 556267"/>
                <a:gd name="connsiteY56" fmla="*/ 50525 h 606087"/>
                <a:gd name="connsiteX57" fmla="*/ 265538 w 556267"/>
                <a:gd name="connsiteY57" fmla="*/ 50525 h 60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56267" h="606087">
                  <a:moveTo>
                    <a:pt x="176272" y="555492"/>
                  </a:moveTo>
                  <a:lnTo>
                    <a:pt x="380065" y="555492"/>
                  </a:lnTo>
                  <a:cubicBezTo>
                    <a:pt x="379680" y="561937"/>
                    <a:pt x="379295" y="568381"/>
                    <a:pt x="379295" y="574730"/>
                  </a:cubicBezTo>
                  <a:lnTo>
                    <a:pt x="379295" y="606087"/>
                  </a:lnTo>
                  <a:lnTo>
                    <a:pt x="177043" y="606087"/>
                  </a:lnTo>
                  <a:lnTo>
                    <a:pt x="177043" y="580116"/>
                  </a:lnTo>
                  <a:cubicBezTo>
                    <a:pt x="177043" y="571844"/>
                    <a:pt x="176657" y="563668"/>
                    <a:pt x="176272" y="555492"/>
                  </a:cubicBezTo>
                  <a:close/>
                  <a:moveTo>
                    <a:pt x="170486" y="504967"/>
                  </a:moveTo>
                  <a:lnTo>
                    <a:pt x="386134" y="504967"/>
                  </a:lnTo>
                  <a:cubicBezTo>
                    <a:pt x="384593" y="513443"/>
                    <a:pt x="383245" y="521824"/>
                    <a:pt x="382185" y="530300"/>
                  </a:cubicBezTo>
                  <a:lnTo>
                    <a:pt x="174050" y="530300"/>
                  </a:lnTo>
                  <a:cubicBezTo>
                    <a:pt x="173087" y="521727"/>
                    <a:pt x="171931" y="513347"/>
                    <a:pt x="170486" y="504967"/>
                  </a:cubicBezTo>
                  <a:close/>
                  <a:moveTo>
                    <a:pt x="481527" y="380419"/>
                  </a:moveTo>
                  <a:lnTo>
                    <a:pt x="525359" y="405623"/>
                  </a:lnTo>
                  <a:lnTo>
                    <a:pt x="512643" y="427557"/>
                  </a:lnTo>
                  <a:lnTo>
                    <a:pt x="468907" y="402256"/>
                  </a:lnTo>
                  <a:close/>
                  <a:moveTo>
                    <a:pt x="74740" y="380419"/>
                  </a:moveTo>
                  <a:lnTo>
                    <a:pt x="87360" y="402353"/>
                  </a:lnTo>
                  <a:lnTo>
                    <a:pt x="43528" y="427557"/>
                  </a:lnTo>
                  <a:lnTo>
                    <a:pt x="30908" y="405720"/>
                  </a:lnTo>
                  <a:close/>
                  <a:moveTo>
                    <a:pt x="505742" y="265115"/>
                  </a:moveTo>
                  <a:lnTo>
                    <a:pt x="556267" y="265115"/>
                  </a:lnTo>
                  <a:lnTo>
                    <a:pt x="556267" y="290448"/>
                  </a:lnTo>
                  <a:lnTo>
                    <a:pt x="505742" y="290448"/>
                  </a:lnTo>
                  <a:close/>
                  <a:moveTo>
                    <a:pt x="0" y="265115"/>
                  </a:moveTo>
                  <a:lnTo>
                    <a:pt x="50525" y="265115"/>
                  </a:lnTo>
                  <a:lnTo>
                    <a:pt x="50525" y="290448"/>
                  </a:lnTo>
                  <a:lnTo>
                    <a:pt x="0" y="290448"/>
                  </a:lnTo>
                  <a:close/>
                  <a:moveTo>
                    <a:pt x="512739" y="128006"/>
                  </a:moveTo>
                  <a:lnTo>
                    <a:pt x="525359" y="149823"/>
                  </a:lnTo>
                  <a:lnTo>
                    <a:pt x="481527" y="175003"/>
                  </a:lnTo>
                  <a:lnTo>
                    <a:pt x="468907" y="153186"/>
                  </a:lnTo>
                  <a:close/>
                  <a:moveTo>
                    <a:pt x="43528" y="127935"/>
                  </a:moveTo>
                  <a:lnTo>
                    <a:pt x="87360" y="153197"/>
                  </a:lnTo>
                  <a:lnTo>
                    <a:pt x="74740" y="175002"/>
                  </a:lnTo>
                  <a:lnTo>
                    <a:pt x="30908" y="149836"/>
                  </a:lnTo>
                  <a:close/>
                  <a:moveTo>
                    <a:pt x="297059" y="76575"/>
                  </a:moveTo>
                  <a:cubicBezTo>
                    <a:pt x="336834" y="80411"/>
                    <a:pt x="374049" y="96623"/>
                    <a:pt x="404602" y="124032"/>
                  </a:cubicBezTo>
                  <a:cubicBezTo>
                    <a:pt x="444761" y="159808"/>
                    <a:pt x="467778" y="211357"/>
                    <a:pt x="467778" y="265117"/>
                  </a:cubicBezTo>
                  <a:cubicBezTo>
                    <a:pt x="467778" y="298874"/>
                    <a:pt x="458726" y="332053"/>
                    <a:pt x="441583" y="361098"/>
                  </a:cubicBezTo>
                  <a:cubicBezTo>
                    <a:pt x="418567" y="400144"/>
                    <a:pt x="402002" y="439767"/>
                    <a:pt x="391794" y="479775"/>
                  </a:cubicBezTo>
                  <a:lnTo>
                    <a:pt x="165285" y="479775"/>
                  </a:lnTo>
                  <a:cubicBezTo>
                    <a:pt x="155462" y="438709"/>
                    <a:pt x="139861" y="400529"/>
                    <a:pt x="118192" y="366676"/>
                  </a:cubicBezTo>
                  <a:cubicBezTo>
                    <a:pt x="94405" y="329649"/>
                    <a:pt x="84678" y="286660"/>
                    <a:pt x="89879" y="242420"/>
                  </a:cubicBezTo>
                  <a:cubicBezTo>
                    <a:pt x="99894" y="156057"/>
                    <a:pt x="170100" y="86524"/>
                    <a:pt x="256582" y="76907"/>
                  </a:cubicBezTo>
                  <a:cubicBezTo>
                    <a:pt x="270258" y="75392"/>
                    <a:pt x="283800" y="75296"/>
                    <a:pt x="297059" y="76575"/>
                  </a:cubicBezTo>
                  <a:close/>
                  <a:moveTo>
                    <a:pt x="150042" y="30978"/>
                  </a:moveTo>
                  <a:lnTo>
                    <a:pt x="175284" y="74605"/>
                  </a:lnTo>
                  <a:lnTo>
                    <a:pt x="153414" y="87289"/>
                  </a:lnTo>
                  <a:lnTo>
                    <a:pt x="128076" y="43566"/>
                  </a:lnTo>
                  <a:close/>
                  <a:moveTo>
                    <a:pt x="406225" y="30837"/>
                  </a:moveTo>
                  <a:lnTo>
                    <a:pt x="428191" y="43441"/>
                  </a:lnTo>
                  <a:lnTo>
                    <a:pt x="402853" y="87219"/>
                  </a:lnTo>
                  <a:lnTo>
                    <a:pt x="380983" y="74615"/>
                  </a:lnTo>
                  <a:close/>
                  <a:moveTo>
                    <a:pt x="265538" y="0"/>
                  </a:moveTo>
                  <a:lnTo>
                    <a:pt x="290730" y="0"/>
                  </a:lnTo>
                  <a:lnTo>
                    <a:pt x="290730" y="50525"/>
                  </a:lnTo>
                  <a:lnTo>
                    <a:pt x="265538" y="505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90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3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0262996">
            <a:off x="10294620" y="5652770"/>
            <a:ext cx="1336675" cy="630555"/>
            <a:chOff x="3558970" y="2488798"/>
            <a:chExt cx="5067710" cy="2391582"/>
          </a:xfrm>
        </p:grpSpPr>
        <p:sp>
          <p:nvSpPr>
            <p:cNvPr id="5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95" name="圆角矩形标注 94"/>
          <p:cNvSpPr/>
          <p:nvPr/>
        </p:nvSpPr>
        <p:spPr>
          <a:xfrm>
            <a:off x="8362315" y="3922395"/>
            <a:ext cx="2274570" cy="1245870"/>
          </a:xfrm>
          <a:prstGeom prst="wedgeRoundRectCallout">
            <a:avLst>
              <a:gd name="adj1" fmla="val 42943"/>
              <a:gd name="adj2" fmla="val 69772"/>
              <a:gd name="adj3" fmla="val 1666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zh-CN" altLang="en-US">
                <a:sym typeface="+mn-ea"/>
              </a:rPr>
              <a:t>用这个算法来计算三角形面积，有什么需要完善的地方？</a:t>
            </a:r>
            <a:endParaRPr lang="zh-CN" altLang="en-US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36625" y="-114300"/>
            <a:ext cx="4977130" cy="1028700"/>
          </a:xfrm>
        </p:spPr>
        <p:txBody>
          <a:bodyPr/>
          <a:lstStyle/>
          <a:p>
            <a:r>
              <a:rPr lang="en-US" dirty="0"/>
              <a:t>python</a:t>
            </a:r>
            <a:r>
              <a:rPr lang="zh-CN" altLang="en-US" dirty="0"/>
              <a:t>的逻辑表达式</a:t>
            </a:r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61" name="îṧļîḓê"/>
          <p:cNvSpPr/>
          <p:nvPr/>
        </p:nvSpPr>
        <p:spPr>
          <a:xfrm>
            <a:off x="539115" y="2479675"/>
            <a:ext cx="3409950" cy="451485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20000"/>
              </a:lnSpc>
            </a:pPr>
            <a:endParaRPr lang="zh-CN" altLang="en-US" sz="2200" dirty="0">
              <a:solidFill>
                <a:schemeClr val="tx1"/>
              </a:solidFill>
            </a:endParaRPr>
          </a:p>
        </p:txBody>
      </p:sp>
      <p:grpSp>
        <p:nvGrpSpPr>
          <p:cNvPr id="74" name="组合 73"/>
          <p:cNvGrpSpPr/>
          <p:nvPr/>
        </p:nvGrpSpPr>
        <p:grpSpPr>
          <a:xfrm>
            <a:off x="1278890" y="1279525"/>
            <a:ext cx="7821930" cy="5237480"/>
            <a:chOff x="3004" y="1895"/>
            <a:chExt cx="12318" cy="8248"/>
          </a:xfrm>
        </p:grpSpPr>
        <p:grpSp>
          <p:nvGrpSpPr>
            <p:cNvPr id="65" name="组合 64"/>
            <p:cNvGrpSpPr/>
            <p:nvPr/>
          </p:nvGrpSpPr>
          <p:grpSpPr>
            <a:xfrm>
              <a:off x="3354" y="2052"/>
              <a:ext cx="11758" cy="7846"/>
              <a:chOff x="5829" y="1896"/>
              <a:chExt cx="11758" cy="7846"/>
            </a:xfrm>
          </p:grpSpPr>
          <p:grpSp>
            <p:nvGrpSpPr>
              <p:cNvPr id="57" name="组合 56"/>
              <p:cNvGrpSpPr/>
              <p:nvPr/>
            </p:nvGrpSpPr>
            <p:grpSpPr>
              <a:xfrm>
                <a:off x="8709" y="1896"/>
                <a:ext cx="5393" cy="1859"/>
                <a:chOff x="6561" y="2134"/>
                <a:chExt cx="5393" cy="1859"/>
              </a:xfrm>
            </p:grpSpPr>
            <p:sp>
              <p:nvSpPr>
                <p:cNvPr id="31" name="流程图: 终止 30"/>
                <p:cNvSpPr/>
                <p:nvPr/>
              </p:nvSpPr>
              <p:spPr>
                <a:xfrm>
                  <a:off x="8291" y="2134"/>
                  <a:ext cx="1932" cy="521"/>
                </a:xfrm>
                <a:prstGeom prst="flowChartTerminator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600">
                      <a:solidFill>
                        <a:schemeClr val="tx1"/>
                      </a:solidFill>
                    </a:rPr>
                    <a:t>开始</a:t>
                  </a:r>
                </a:p>
              </p:txBody>
            </p:sp>
            <p:sp>
              <p:nvSpPr>
                <p:cNvPr id="32" name="流程图: 数据 31"/>
                <p:cNvSpPr/>
                <p:nvPr/>
              </p:nvSpPr>
              <p:spPr>
                <a:xfrm>
                  <a:off x="6561" y="3052"/>
                  <a:ext cx="5393" cy="573"/>
                </a:xfrm>
                <a:prstGeom prst="flowChartInputOutpu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buClrTx/>
                    <a:buSzTx/>
                    <a:buFontTx/>
                  </a:pPr>
                  <a:r>
                    <a:rPr lang="zh-CN" altLang="en-US" sz="1600">
                      <a:solidFill>
                        <a:schemeClr val="tx1"/>
                      </a:solidFill>
                    </a:rPr>
                    <a:t>输入边长a，b，c</a:t>
                  </a:r>
                </a:p>
              </p:txBody>
            </p:sp>
            <p:cxnSp>
              <p:nvCxnSpPr>
                <p:cNvPr id="38" name="直接箭头连接符 37"/>
                <p:cNvCxnSpPr/>
                <p:nvPr/>
              </p:nvCxnSpPr>
              <p:spPr>
                <a:xfrm>
                  <a:off x="9251" y="2669"/>
                  <a:ext cx="0" cy="397"/>
                </a:xfrm>
                <a:prstGeom prst="straightConnector1">
                  <a:avLst/>
                </a:prstGeom>
                <a:ln w="25400" cmpd="sng">
                  <a:solidFill>
                    <a:schemeClr val="tx1"/>
                  </a:solidFill>
                  <a:prstDash val="solid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箭头连接符 38"/>
                <p:cNvCxnSpPr/>
                <p:nvPr/>
              </p:nvCxnSpPr>
              <p:spPr>
                <a:xfrm>
                  <a:off x="9251" y="3596"/>
                  <a:ext cx="0" cy="397"/>
                </a:xfrm>
                <a:prstGeom prst="straightConnector1">
                  <a:avLst/>
                </a:prstGeom>
                <a:ln w="25400" cmpd="sng">
                  <a:solidFill>
                    <a:schemeClr val="tx1"/>
                  </a:solidFill>
                  <a:prstDash val="solid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" name="组合 59"/>
              <p:cNvGrpSpPr/>
              <p:nvPr/>
            </p:nvGrpSpPr>
            <p:grpSpPr>
              <a:xfrm>
                <a:off x="5829" y="3772"/>
                <a:ext cx="11758" cy="5970"/>
                <a:chOff x="3674" y="4100"/>
                <a:chExt cx="11758" cy="5970"/>
              </a:xfrm>
            </p:grpSpPr>
            <p:grpSp>
              <p:nvGrpSpPr>
                <p:cNvPr id="59" name="组合 58"/>
                <p:cNvGrpSpPr/>
                <p:nvPr/>
              </p:nvGrpSpPr>
              <p:grpSpPr>
                <a:xfrm>
                  <a:off x="3674" y="4100"/>
                  <a:ext cx="11758" cy="4456"/>
                  <a:chOff x="3674" y="4100"/>
                  <a:chExt cx="11758" cy="4456"/>
                </a:xfrm>
              </p:grpSpPr>
              <p:cxnSp>
                <p:nvCxnSpPr>
                  <p:cNvPr id="49" name="直接箭头连接符 48"/>
                  <p:cNvCxnSpPr/>
                  <p:nvPr/>
                </p:nvCxnSpPr>
                <p:spPr>
                  <a:xfrm>
                    <a:off x="12211" y="4627"/>
                    <a:ext cx="0" cy="1194"/>
                  </a:xfrm>
                  <a:prstGeom prst="straightConnector1">
                    <a:avLst/>
                  </a:prstGeom>
                  <a:ln w="31750">
                    <a:solidFill>
                      <a:srgbClr val="7030A0"/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58" name="组合 57"/>
                  <p:cNvGrpSpPr/>
                  <p:nvPr/>
                </p:nvGrpSpPr>
                <p:grpSpPr>
                  <a:xfrm>
                    <a:off x="3674" y="4100"/>
                    <a:ext cx="11758" cy="4456"/>
                    <a:chOff x="3674" y="4100"/>
                    <a:chExt cx="11758" cy="4456"/>
                  </a:xfrm>
                </p:grpSpPr>
                <p:grpSp>
                  <p:nvGrpSpPr>
                    <p:cNvPr id="43" name="组合 42"/>
                    <p:cNvGrpSpPr/>
                    <p:nvPr/>
                  </p:nvGrpSpPr>
                  <p:grpSpPr>
                    <a:xfrm>
                      <a:off x="3674" y="5803"/>
                      <a:ext cx="5232" cy="2753"/>
                      <a:chOff x="6641" y="4825"/>
                      <a:chExt cx="5232" cy="2753"/>
                    </a:xfrm>
                  </p:grpSpPr>
                  <p:sp>
                    <p:nvSpPr>
                      <p:cNvPr id="33" name="流程图: 过程 32"/>
                      <p:cNvSpPr/>
                      <p:nvPr/>
                    </p:nvSpPr>
                    <p:spPr>
                      <a:xfrm>
                        <a:off x="7412" y="4825"/>
                        <a:ext cx="3753" cy="463"/>
                      </a:xfrm>
                      <a:prstGeom prst="flowChartProcess">
                        <a:avLst/>
                      </a:prstGeom>
                      <a:noFill/>
                      <a:ln w="19050">
                        <a:solidFill>
                          <a:srgbClr val="002060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zh-CN" altLang="en-US" sz="1600">
                            <a:solidFill>
                              <a:schemeClr val="tx1"/>
                            </a:solidFill>
                          </a:rPr>
                          <a:t>p←(a+b+c)/2</a:t>
                        </a:r>
                      </a:p>
                    </p:txBody>
                  </p:sp>
                  <p:sp>
                    <p:nvSpPr>
                      <p:cNvPr id="34" name="流程图: 过程 33"/>
                      <p:cNvSpPr/>
                      <p:nvPr/>
                    </p:nvSpPr>
                    <p:spPr>
                      <a:xfrm>
                        <a:off x="6641" y="5763"/>
                        <a:ext cx="5232" cy="718"/>
                      </a:xfrm>
                      <a:prstGeom prst="flowChartProcess">
                        <a:avLst/>
                      </a:prstGeom>
                      <a:noFill/>
                      <a:ln w="19050">
                        <a:solidFill>
                          <a:srgbClr val="002060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zh-CN" altLang="en-US" sz="1600">
                            <a:solidFill>
                              <a:schemeClr val="tx1"/>
                            </a:solidFill>
                          </a:rPr>
                          <a:t>s←(p*(p-a)*(p-b)*(p-c))**0.5</a:t>
                        </a:r>
                      </a:p>
                    </p:txBody>
                  </p:sp>
                  <p:sp>
                    <p:nvSpPr>
                      <p:cNvPr id="36" name="流程图: 数据 35"/>
                      <p:cNvSpPr/>
                      <p:nvPr/>
                    </p:nvSpPr>
                    <p:spPr>
                      <a:xfrm>
                        <a:off x="7593" y="6955"/>
                        <a:ext cx="3315" cy="623"/>
                      </a:xfrm>
                      <a:prstGeom prst="flowChartInputOutput">
                        <a:avLst/>
                      </a:prstGeom>
                      <a:noFill/>
                      <a:ln w="19050">
                        <a:solidFill>
                          <a:srgbClr val="002060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zh-CN" altLang="en-US" sz="1600">
                            <a:solidFill>
                              <a:schemeClr val="tx1"/>
                            </a:solidFill>
                          </a:rPr>
                          <a:t>输出面积</a:t>
                        </a:r>
                      </a:p>
                    </p:txBody>
                  </p:sp>
                  <p:cxnSp>
                    <p:nvCxnSpPr>
                      <p:cNvPr id="40" name="直接箭头连接符 39"/>
                      <p:cNvCxnSpPr/>
                      <p:nvPr/>
                    </p:nvCxnSpPr>
                    <p:spPr>
                      <a:xfrm>
                        <a:off x="9288" y="5360"/>
                        <a:ext cx="0" cy="397"/>
                      </a:xfrm>
                      <a:prstGeom prst="straightConnector1">
                        <a:avLst/>
                      </a:prstGeom>
                      <a:ln w="31750" cmpd="sng">
                        <a:solidFill>
                          <a:srgbClr val="002060"/>
                        </a:solidFill>
                        <a:prstDash val="solid"/>
                        <a:tailEnd type="arrow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1" name="直接箭头连接符 40"/>
                      <p:cNvCxnSpPr/>
                      <p:nvPr/>
                    </p:nvCxnSpPr>
                    <p:spPr>
                      <a:xfrm>
                        <a:off x="9251" y="6524"/>
                        <a:ext cx="0" cy="397"/>
                      </a:xfrm>
                      <a:prstGeom prst="straightConnector1">
                        <a:avLst/>
                      </a:prstGeom>
                      <a:ln w="31750" cmpd="sng">
                        <a:solidFill>
                          <a:srgbClr val="002060"/>
                        </a:solidFill>
                        <a:prstDash val="solid"/>
                        <a:tailEnd type="arrow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sp>
                  <p:nvSpPr>
                    <p:cNvPr id="46" name="流程图: 决策 45"/>
                    <p:cNvSpPr/>
                    <p:nvPr/>
                  </p:nvSpPr>
                  <p:spPr>
                    <a:xfrm>
                      <a:off x="6321" y="4100"/>
                      <a:ext cx="5921" cy="1009"/>
                    </a:xfrm>
                    <a:prstGeom prst="flowChartDecision">
                      <a:avLst/>
                    </a:prstGeom>
                    <a:noFill/>
                    <a:ln w="25400" cmpd="sng">
                      <a:solidFill>
                        <a:srgbClr val="FF0000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zh-CN" altLang="en-US" sz="1600">
                          <a:solidFill>
                            <a:schemeClr val="tx1"/>
                          </a:solidFill>
                        </a:rPr>
                        <a:t>三角形是否成立</a:t>
                      </a:r>
                    </a:p>
                  </p:txBody>
                </p:sp>
                <p:cxnSp>
                  <p:nvCxnSpPr>
                    <p:cNvPr id="48" name="直接箭头连接符 47"/>
                    <p:cNvCxnSpPr/>
                    <p:nvPr/>
                  </p:nvCxnSpPr>
                  <p:spPr>
                    <a:xfrm>
                      <a:off x="6322" y="4616"/>
                      <a:ext cx="0" cy="1160"/>
                    </a:xfrm>
                    <a:prstGeom prst="straightConnector1">
                      <a:avLst/>
                    </a:prstGeom>
                    <a:ln w="31750">
                      <a:solidFill>
                        <a:srgbClr val="002060"/>
                      </a:solidFill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50" name="文本框 49"/>
                    <p:cNvSpPr txBox="1"/>
                    <p:nvPr/>
                  </p:nvSpPr>
                  <p:spPr>
                    <a:xfrm>
                      <a:off x="5674" y="4881"/>
                      <a:ext cx="648" cy="5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zh-CN" altLang="en-US" sz="1600"/>
                        <a:t>是</a:t>
                      </a:r>
                      <a:endParaRPr lang="zh-CN" altLang="en-US"/>
                    </a:p>
                  </p:txBody>
                </p:sp>
                <p:sp>
                  <p:nvSpPr>
                    <p:cNvPr id="51" name="文本框 50"/>
                    <p:cNvSpPr txBox="1"/>
                    <p:nvPr/>
                  </p:nvSpPr>
                  <p:spPr>
                    <a:xfrm>
                      <a:off x="12211" y="4930"/>
                      <a:ext cx="608" cy="53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zh-CN" altLang="en-US" sz="1600"/>
                        <a:t>否</a:t>
                      </a:r>
                    </a:p>
                  </p:txBody>
                </p:sp>
                <p:sp>
                  <p:nvSpPr>
                    <p:cNvPr id="52" name="流程图: 数据 51"/>
                    <p:cNvSpPr/>
                    <p:nvPr/>
                  </p:nvSpPr>
                  <p:spPr>
                    <a:xfrm>
                      <a:off x="9313" y="5821"/>
                      <a:ext cx="6119" cy="681"/>
                    </a:xfrm>
                    <a:prstGeom prst="flowChartInputOutput">
                      <a:avLst/>
                    </a:prstGeom>
                    <a:noFill/>
                    <a:ln w="19050">
                      <a:solidFill>
                        <a:srgbClr val="7030A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zh-CN" altLang="en-US" sz="1600">
                          <a:solidFill>
                            <a:schemeClr val="tx1"/>
                          </a:solidFill>
                        </a:rPr>
                        <a:t>输出“不能组成三角形”</a:t>
                      </a:r>
                    </a:p>
                  </p:txBody>
                </p:sp>
              </p:grpSp>
            </p:grpSp>
            <p:grpSp>
              <p:nvGrpSpPr>
                <p:cNvPr id="56" name="组合 55"/>
                <p:cNvGrpSpPr/>
                <p:nvPr/>
              </p:nvGrpSpPr>
              <p:grpSpPr>
                <a:xfrm>
                  <a:off x="6277" y="6476"/>
                  <a:ext cx="5933" cy="3594"/>
                  <a:chOff x="6277" y="6476"/>
                  <a:chExt cx="5933" cy="3594"/>
                </a:xfrm>
              </p:grpSpPr>
              <p:sp>
                <p:nvSpPr>
                  <p:cNvPr id="44" name="流程图: 终止 43"/>
                  <p:cNvSpPr/>
                  <p:nvPr/>
                </p:nvSpPr>
                <p:spPr>
                  <a:xfrm>
                    <a:off x="8198" y="9518"/>
                    <a:ext cx="1932" cy="552"/>
                  </a:xfrm>
                  <a:prstGeom prst="flowChartTerminator">
                    <a:avLst/>
                  </a:prstGeom>
                  <a:noFill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zh-CN" altLang="en-US" sz="1600">
                        <a:solidFill>
                          <a:schemeClr val="tx1"/>
                        </a:solidFill>
                      </a:rPr>
                      <a:t>结束</a:t>
                    </a:r>
                  </a:p>
                </p:txBody>
              </p:sp>
              <p:cxnSp>
                <p:nvCxnSpPr>
                  <p:cNvPr id="45" name="直接箭头连接符 44"/>
                  <p:cNvCxnSpPr/>
                  <p:nvPr/>
                </p:nvCxnSpPr>
                <p:spPr>
                  <a:xfrm>
                    <a:off x="9164" y="9121"/>
                    <a:ext cx="0" cy="397"/>
                  </a:xfrm>
                  <a:prstGeom prst="straightConnector1">
                    <a:avLst/>
                  </a:prstGeom>
                  <a:ln w="25400" cmpd="sng">
                    <a:solidFill>
                      <a:schemeClr val="tx1"/>
                    </a:solidFill>
                    <a:prstDash val="solid"/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" name="直接连接符 52"/>
                  <p:cNvCxnSpPr/>
                  <p:nvPr/>
                </p:nvCxnSpPr>
                <p:spPr>
                  <a:xfrm>
                    <a:off x="6290" y="8511"/>
                    <a:ext cx="0" cy="573"/>
                  </a:xfrm>
                  <a:prstGeom prst="line">
                    <a:avLst/>
                  </a:prstGeom>
                  <a:ln w="158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直接连接符 53"/>
                  <p:cNvCxnSpPr/>
                  <p:nvPr/>
                </p:nvCxnSpPr>
                <p:spPr>
                  <a:xfrm>
                    <a:off x="12167" y="6476"/>
                    <a:ext cx="14" cy="2608"/>
                  </a:xfrm>
                  <a:prstGeom prst="line">
                    <a:avLst/>
                  </a:prstGeom>
                  <a:ln w="158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" name="直接连接符 54"/>
                  <p:cNvCxnSpPr/>
                  <p:nvPr/>
                </p:nvCxnSpPr>
                <p:spPr>
                  <a:xfrm>
                    <a:off x="6277" y="9084"/>
                    <a:ext cx="5933" cy="0"/>
                  </a:xfrm>
                  <a:prstGeom prst="line">
                    <a:avLst/>
                  </a:prstGeom>
                  <a:ln w="158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sp>
          <p:nvSpPr>
            <p:cNvPr id="66" name="矩形 65"/>
            <p:cNvSpPr/>
            <p:nvPr/>
          </p:nvSpPr>
          <p:spPr>
            <a:xfrm>
              <a:off x="3004" y="1895"/>
              <a:ext cx="12318" cy="8248"/>
            </a:xfrm>
            <a:prstGeom prst="rect">
              <a:avLst/>
            </a:prstGeom>
            <a:noFill/>
            <a:ln w="50800" cmpd="sng">
              <a:solidFill>
                <a:srgbClr val="F4A229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9" name="组合 68"/>
          <p:cNvGrpSpPr/>
          <p:nvPr/>
        </p:nvGrpSpPr>
        <p:grpSpPr>
          <a:xfrm>
            <a:off x="484505" y="1378585"/>
            <a:ext cx="645795" cy="647700"/>
            <a:chOff x="17704" y="7751"/>
            <a:chExt cx="1382" cy="1386"/>
          </a:xfrm>
        </p:grpSpPr>
        <p:sp>
          <p:nvSpPr>
            <p:cNvPr id="70" name="ïsľiďê"/>
            <p:cNvSpPr/>
            <p:nvPr/>
          </p:nvSpPr>
          <p:spPr bwMode="auto">
            <a:xfrm>
              <a:off x="17704" y="7751"/>
              <a:ext cx="1383" cy="1386"/>
            </a:xfrm>
            <a:prstGeom prst="ellipse">
              <a:avLst/>
            </a:prstGeom>
            <a:solidFill>
              <a:srgbClr val="F4A229"/>
            </a:solidFill>
            <a:ln w="2857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ctr" anchorCtr="0" compatLnSpc="1">
              <a:normAutofit fontScale="7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dirty="0">
                <a:solidFill>
                  <a:srgbClr val="FFFFFF"/>
                </a:solidFill>
              </a:endParaRPr>
            </a:p>
          </p:txBody>
        </p:sp>
        <p:sp>
          <p:nvSpPr>
            <p:cNvPr id="71" name="íśľîde"/>
            <p:cNvSpPr/>
            <p:nvPr/>
          </p:nvSpPr>
          <p:spPr bwMode="auto">
            <a:xfrm>
              <a:off x="18070" y="8090"/>
              <a:ext cx="650" cy="708"/>
            </a:xfrm>
            <a:custGeom>
              <a:avLst/>
              <a:gdLst>
                <a:gd name="connsiteX0" fmla="*/ 176272 w 556267"/>
                <a:gd name="connsiteY0" fmla="*/ 555492 h 606087"/>
                <a:gd name="connsiteX1" fmla="*/ 380065 w 556267"/>
                <a:gd name="connsiteY1" fmla="*/ 555492 h 606087"/>
                <a:gd name="connsiteX2" fmla="*/ 379295 w 556267"/>
                <a:gd name="connsiteY2" fmla="*/ 574730 h 606087"/>
                <a:gd name="connsiteX3" fmla="*/ 379295 w 556267"/>
                <a:gd name="connsiteY3" fmla="*/ 606087 h 606087"/>
                <a:gd name="connsiteX4" fmla="*/ 177043 w 556267"/>
                <a:gd name="connsiteY4" fmla="*/ 606087 h 606087"/>
                <a:gd name="connsiteX5" fmla="*/ 177043 w 556267"/>
                <a:gd name="connsiteY5" fmla="*/ 580116 h 606087"/>
                <a:gd name="connsiteX6" fmla="*/ 176272 w 556267"/>
                <a:gd name="connsiteY6" fmla="*/ 555492 h 606087"/>
                <a:gd name="connsiteX7" fmla="*/ 170486 w 556267"/>
                <a:gd name="connsiteY7" fmla="*/ 504967 h 606087"/>
                <a:gd name="connsiteX8" fmla="*/ 386134 w 556267"/>
                <a:gd name="connsiteY8" fmla="*/ 504967 h 606087"/>
                <a:gd name="connsiteX9" fmla="*/ 382185 w 556267"/>
                <a:gd name="connsiteY9" fmla="*/ 530300 h 606087"/>
                <a:gd name="connsiteX10" fmla="*/ 174050 w 556267"/>
                <a:gd name="connsiteY10" fmla="*/ 530300 h 606087"/>
                <a:gd name="connsiteX11" fmla="*/ 170486 w 556267"/>
                <a:gd name="connsiteY11" fmla="*/ 504967 h 606087"/>
                <a:gd name="connsiteX12" fmla="*/ 481527 w 556267"/>
                <a:gd name="connsiteY12" fmla="*/ 380419 h 606087"/>
                <a:gd name="connsiteX13" fmla="*/ 525359 w 556267"/>
                <a:gd name="connsiteY13" fmla="*/ 405623 h 606087"/>
                <a:gd name="connsiteX14" fmla="*/ 512643 w 556267"/>
                <a:gd name="connsiteY14" fmla="*/ 427557 h 606087"/>
                <a:gd name="connsiteX15" fmla="*/ 468907 w 556267"/>
                <a:gd name="connsiteY15" fmla="*/ 402256 h 606087"/>
                <a:gd name="connsiteX16" fmla="*/ 74740 w 556267"/>
                <a:gd name="connsiteY16" fmla="*/ 380419 h 606087"/>
                <a:gd name="connsiteX17" fmla="*/ 87360 w 556267"/>
                <a:gd name="connsiteY17" fmla="*/ 402353 h 606087"/>
                <a:gd name="connsiteX18" fmla="*/ 43528 w 556267"/>
                <a:gd name="connsiteY18" fmla="*/ 427557 h 606087"/>
                <a:gd name="connsiteX19" fmla="*/ 30908 w 556267"/>
                <a:gd name="connsiteY19" fmla="*/ 405720 h 606087"/>
                <a:gd name="connsiteX20" fmla="*/ 505742 w 556267"/>
                <a:gd name="connsiteY20" fmla="*/ 265115 h 606087"/>
                <a:gd name="connsiteX21" fmla="*/ 556267 w 556267"/>
                <a:gd name="connsiteY21" fmla="*/ 265115 h 606087"/>
                <a:gd name="connsiteX22" fmla="*/ 556267 w 556267"/>
                <a:gd name="connsiteY22" fmla="*/ 290448 h 606087"/>
                <a:gd name="connsiteX23" fmla="*/ 505742 w 556267"/>
                <a:gd name="connsiteY23" fmla="*/ 290448 h 606087"/>
                <a:gd name="connsiteX24" fmla="*/ 0 w 556267"/>
                <a:gd name="connsiteY24" fmla="*/ 265115 h 606087"/>
                <a:gd name="connsiteX25" fmla="*/ 50525 w 556267"/>
                <a:gd name="connsiteY25" fmla="*/ 265115 h 606087"/>
                <a:gd name="connsiteX26" fmla="*/ 50525 w 556267"/>
                <a:gd name="connsiteY26" fmla="*/ 290448 h 606087"/>
                <a:gd name="connsiteX27" fmla="*/ 0 w 556267"/>
                <a:gd name="connsiteY27" fmla="*/ 290448 h 606087"/>
                <a:gd name="connsiteX28" fmla="*/ 512739 w 556267"/>
                <a:gd name="connsiteY28" fmla="*/ 128006 h 606087"/>
                <a:gd name="connsiteX29" fmla="*/ 525359 w 556267"/>
                <a:gd name="connsiteY29" fmla="*/ 149823 h 606087"/>
                <a:gd name="connsiteX30" fmla="*/ 481527 w 556267"/>
                <a:gd name="connsiteY30" fmla="*/ 175003 h 606087"/>
                <a:gd name="connsiteX31" fmla="*/ 468907 w 556267"/>
                <a:gd name="connsiteY31" fmla="*/ 153186 h 606087"/>
                <a:gd name="connsiteX32" fmla="*/ 43528 w 556267"/>
                <a:gd name="connsiteY32" fmla="*/ 127935 h 606087"/>
                <a:gd name="connsiteX33" fmla="*/ 87360 w 556267"/>
                <a:gd name="connsiteY33" fmla="*/ 153197 h 606087"/>
                <a:gd name="connsiteX34" fmla="*/ 74740 w 556267"/>
                <a:gd name="connsiteY34" fmla="*/ 175002 h 606087"/>
                <a:gd name="connsiteX35" fmla="*/ 30908 w 556267"/>
                <a:gd name="connsiteY35" fmla="*/ 149836 h 606087"/>
                <a:gd name="connsiteX36" fmla="*/ 297059 w 556267"/>
                <a:gd name="connsiteY36" fmla="*/ 76575 h 606087"/>
                <a:gd name="connsiteX37" fmla="*/ 404602 w 556267"/>
                <a:gd name="connsiteY37" fmla="*/ 124032 h 606087"/>
                <a:gd name="connsiteX38" fmla="*/ 467778 w 556267"/>
                <a:gd name="connsiteY38" fmla="*/ 265117 h 606087"/>
                <a:gd name="connsiteX39" fmla="*/ 441583 w 556267"/>
                <a:gd name="connsiteY39" fmla="*/ 361098 h 606087"/>
                <a:gd name="connsiteX40" fmla="*/ 391794 w 556267"/>
                <a:gd name="connsiteY40" fmla="*/ 479775 h 606087"/>
                <a:gd name="connsiteX41" fmla="*/ 165285 w 556267"/>
                <a:gd name="connsiteY41" fmla="*/ 479775 h 606087"/>
                <a:gd name="connsiteX42" fmla="*/ 118192 w 556267"/>
                <a:gd name="connsiteY42" fmla="*/ 366676 h 606087"/>
                <a:gd name="connsiteX43" fmla="*/ 89879 w 556267"/>
                <a:gd name="connsiteY43" fmla="*/ 242420 h 606087"/>
                <a:gd name="connsiteX44" fmla="*/ 256582 w 556267"/>
                <a:gd name="connsiteY44" fmla="*/ 76907 h 606087"/>
                <a:gd name="connsiteX45" fmla="*/ 297059 w 556267"/>
                <a:gd name="connsiteY45" fmla="*/ 76575 h 606087"/>
                <a:gd name="connsiteX46" fmla="*/ 150042 w 556267"/>
                <a:gd name="connsiteY46" fmla="*/ 30978 h 606087"/>
                <a:gd name="connsiteX47" fmla="*/ 175284 w 556267"/>
                <a:gd name="connsiteY47" fmla="*/ 74605 h 606087"/>
                <a:gd name="connsiteX48" fmla="*/ 153414 w 556267"/>
                <a:gd name="connsiteY48" fmla="*/ 87289 h 606087"/>
                <a:gd name="connsiteX49" fmla="*/ 128076 w 556267"/>
                <a:gd name="connsiteY49" fmla="*/ 43566 h 606087"/>
                <a:gd name="connsiteX50" fmla="*/ 406225 w 556267"/>
                <a:gd name="connsiteY50" fmla="*/ 30837 h 606087"/>
                <a:gd name="connsiteX51" fmla="*/ 428191 w 556267"/>
                <a:gd name="connsiteY51" fmla="*/ 43441 h 606087"/>
                <a:gd name="connsiteX52" fmla="*/ 402853 w 556267"/>
                <a:gd name="connsiteY52" fmla="*/ 87219 h 606087"/>
                <a:gd name="connsiteX53" fmla="*/ 380983 w 556267"/>
                <a:gd name="connsiteY53" fmla="*/ 74615 h 606087"/>
                <a:gd name="connsiteX54" fmla="*/ 265538 w 556267"/>
                <a:gd name="connsiteY54" fmla="*/ 0 h 606087"/>
                <a:gd name="connsiteX55" fmla="*/ 290730 w 556267"/>
                <a:gd name="connsiteY55" fmla="*/ 0 h 606087"/>
                <a:gd name="connsiteX56" fmla="*/ 290730 w 556267"/>
                <a:gd name="connsiteY56" fmla="*/ 50525 h 606087"/>
                <a:gd name="connsiteX57" fmla="*/ 265538 w 556267"/>
                <a:gd name="connsiteY57" fmla="*/ 50525 h 60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56267" h="606087">
                  <a:moveTo>
                    <a:pt x="176272" y="555492"/>
                  </a:moveTo>
                  <a:lnTo>
                    <a:pt x="380065" y="555492"/>
                  </a:lnTo>
                  <a:cubicBezTo>
                    <a:pt x="379680" y="561937"/>
                    <a:pt x="379295" y="568381"/>
                    <a:pt x="379295" y="574730"/>
                  </a:cubicBezTo>
                  <a:lnTo>
                    <a:pt x="379295" y="606087"/>
                  </a:lnTo>
                  <a:lnTo>
                    <a:pt x="177043" y="606087"/>
                  </a:lnTo>
                  <a:lnTo>
                    <a:pt x="177043" y="580116"/>
                  </a:lnTo>
                  <a:cubicBezTo>
                    <a:pt x="177043" y="571844"/>
                    <a:pt x="176657" y="563668"/>
                    <a:pt x="176272" y="555492"/>
                  </a:cubicBezTo>
                  <a:close/>
                  <a:moveTo>
                    <a:pt x="170486" y="504967"/>
                  </a:moveTo>
                  <a:lnTo>
                    <a:pt x="386134" y="504967"/>
                  </a:lnTo>
                  <a:cubicBezTo>
                    <a:pt x="384593" y="513443"/>
                    <a:pt x="383245" y="521824"/>
                    <a:pt x="382185" y="530300"/>
                  </a:cubicBezTo>
                  <a:lnTo>
                    <a:pt x="174050" y="530300"/>
                  </a:lnTo>
                  <a:cubicBezTo>
                    <a:pt x="173087" y="521727"/>
                    <a:pt x="171931" y="513347"/>
                    <a:pt x="170486" y="504967"/>
                  </a:cubicBezTo>
                  <a:close/>
                  <a:moveTo>
                    <a:pt x="481527" y="380419"/>
                  </a:moveTo>
                  <a:lnTo>
                    <a:pt x="525359" y="405623"/>
                  </a:lnTo>
                  <a:lnTo>
                    <a:pt x="512643" y="427557"/>
                  </a:lnTo>
                  <a:lnTo>
                    <a:pt x="468907" y="402256"/>
                  </a:lnTo>
                  <a:close/>
                  <a:moveTo>
                    <a:pt x="74740" y="380419"/>
                  </a:moveTo>
                  <a:lnTo>
                    <a:pt x="87360" y="402353"/>
                  </a:lnTo>
                  <a:lnTo>
                    <a:pt x="43528" y="427557"/>
                  </a:lnTo>
                  <a:lnTo>
                    <a:pt x="30908" y="405720"/>
                  </a:lnTo>
                  <a:close/>
                  <a:moveTo>
                    <a:pt x="505742" y="265115"/>
                  </a:moveTo>
                  <a:lnTo>
                    <a:pt x="556267" y="265115"/>
                  </a:lnTo>
                  <a:lnTo>
                    <a:pt x="556267" y="290448"/>
                  </a:lnTo>
                  <a:lnTo>
                    <a:pt x="505742" y="290448"/>
                  </a:lnTo>
                  <a:close/>
                  <a:moveTo>
                    <a:pt x="0" y="265115"/>
                  </a:moveTo>
                  <a:lnTo>
                    <a:pt x="50525" y="265115"/>
                  </a:lnTo>
                  <a:lnTo>
                    <a:pt x="50525" y="290448"/>
                  </a:lnTo>
                  <a:lnTo>
                    <a:pt x="0" y="290448"/>
                  </a:lnTo>
                  <a:close/>
                  <a:moveTo>
                    <a:pt x="512739" y="128006"/>
                  </a:moveTo>
                  <a:lnTo>
                    <a:pt x="525359" y="149823"/>
                  </a:lnTo>
                  <a:lnTo>
                    <a:pt x="481527" y="175003"/>
                  </a:lnTo>
                  <a:lnTo>
                    <a:pt x="468907" y="153186"/>
                  </a:lnTo>
                  <a:close/>
                  <a:moveTo>
                    <a:pt x="43528" y="127935"/>
                  </a:moveTo>
                  <a:lnTo>
                    <a:pt x="87360" y="153197"/>
                  </a:lnTo>
                  <a:lnTo>
                    <a:pt x="74740" y="175002"/>
                  </a:lnTo>
                  <a:lnTo>
                    <a:pt x="30908" y="149836"/>
                  </a:lnTo>
                  <a:close/>
                  <a:moveTo>
                    <a:pt x="297059" y="76575"/>
                  </a:moveTo>
                  <a:cubicBezTo>
                    <a:pt x="336834" y="80411"/>
                    <a:pt x="374049" y="96623"/>
                    <a:pt x="404602" y="124032"/>
                  </a:cubicBezTo>
                  <a:cubicBezTo>
                    <a:pt x="444761" y="159808"/>
                    <a:pt x="467778" y="211357"/>
                    <a:pt x="467778" y="265117"/>
                  </a:cubicBezTo>
                  <a:cubicBezTo>
                    <a:pt x="467778" y="298874"/>
                    <a:pt x="458726" y="332053"/>
                    <a:pt x="441583" y="361098"/>
                  </a:cubicBezTo>
                  <a:cubicBezTo>
                    <a:pt x="418567" y="400144"/>
                    <a:pt x="402002" y="439767"/>
                    <a:pt x="391794" y="479775"/>
                  </a:cubicBezTo>
                  <a:lnTo>
                    <a:pt x="165285" y="479775"/>
                  </a:lnTo>
                  <a:cubicBezTo>
                    <a:pt x="155462" y="438709"/>
                    <a:pt x="139861" y="400529"/>
                    <a:pt x="118192" y="366676"/>
                  </a:cubicBezTo>
                  <a:cubicBezTo>
                    <a:pt x="94405" y="329649"/>
                    <a:pt x="84678" y="286660"/>
                    <a:pt x="89879" y="242420"/>
                  </a:cubicBezTo>
                  <a:cubicBezTo>
                    <a:pt x="99894" y="156057"/>
                    <a:pt x="170100" y="86524"/>
                    <a:pt x="256582" y="76907"/>
                  </a:cubicBezTo>
                  <a:cubicBezTo>
                    <a:pt x="270258" y="75392"/>
                    <a:pt x="283800" y="75296"/>
                    <a:pt x="297059" y="76575"/>
                  </a:cubicBezTo>
                  <a:close/>
                  <a:moveTo>
                    <a:pt x="150042" y="30978"/>
                  </a:moveTo>
                  <a:lnTo>
                    <a:pt x="175284" y="74605"/>
                  </a:lnTo>
                  <a:lnTo>
                    <a:pt x="153414" y="87289"/>
                  </a:lnTo>
                  <a:lnTo>
                    <a:pt x="128076" y="43566"/>
                  </a:lnTo>
                  <a:close/>
                  <a:moveTo>
                    <a:pt x="406225" y="30837"/>
                  </a:moveTo>
                  <a:lnTo>
                    <a:pt x="428191" y="43441"/>
                  </a:lnTo>
                  <a:lnTo>
                    <a:pt x="402853" y="87219"/>
                  </a:lnTo>
                  <a:lnTo>
                    <a:pt x="380983" y="74615"/>
                  </a:lnTo>
                  <a:close/>
                  <a:moveTo>
                    <a:pt x="265538" y="0"/>
                  </a:moveTo>
                  <a:lnTo>
                    <a:pt x="290730" y="0"/>
                  </a:lnTo>
                  <a:lnTo>
                    <a:pt x="290730" y="50525"/>
                  </a:lnTo>
                  <a:lnTo>
                    <a:pt x="265538" y="505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90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73" name="文本框 72"/>
          <p:cNvSpPr txBox="1"/>
          <p:nvPr/>
        </p:nvSpPr>
        <p:spPr>
          <a:xfrm>
            <a:off x="671195" y="2177415"/>
            <a:ext cx="459740" cy="268160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dirty="0">
                <a:sym typeface="+mn-ea"/>
              </a:rPr>
              <a:t>海伦公式求三角形面积</a:t>
            </a:r>
            <a:endParaRPr lang="zh-CN" altLang="en-US"/>
          </a:p>
        </p:txBody>
      </p:sp>
      <p:sp>
        <p:nvSpPr>
          <p:cNvPr id="75" name="圆角矩形 74"/>
          <p:cNvSpPr/>
          <p:nvPr/>
        </p:nvSpPr>
        <p:spPr>
          <a:xfrm>
            <a:off x="9690100" y="2332990"/>
            <a:ext cx="1740535" cy="55372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/>
              <a:t>a+b&gt;c</a:t>
            </a:r>
          </a:p>
        </p:txBody>
      </p:sp>
      <p:sp>
        <p:nvSpPr>
          <p:cNvPr id="76" name="圆角矩形 75"/>
          <p:cNvSpPr/>
          <p:nvPr/>
        </p:nvSpPr>
        <p:spPr>
          <a:xfrm>
            <a:off x="9700260" y="3007360"/>
            <a:ext cx="1740535" cy="55372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/>
              <a:t>a+c&gt;b</a:t>
            </a:r>
          </a:p>
        </p:txBody>
      </p:sp>
      <p:sp>
        <p:nvSpPr>
          <p:cNvPr id="77" name="圆角矩形 76"/>
          <p:cNvSpPr/>
          <p:nvPr/>
        </p:nvSpPr>
        <p:spPr>
          <a:xfrm>
            <a:off x="9690100" y="3689985"/>
            <a:ext cx="1740535" cy="55372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/>
              <a:t>b+c&gt;a</a:t>
            </a:r>
          </a:p>
        </p:txBody>
      </p:sp>
      <p:grpSp>
        <p:nvGrpSpPr>
          <p:cNvPr id="79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0262996">
            <a:off x="10768330" y="5997575"/>
            <a:ext cx="1336675" cy="630555"/>
            <a:chOff x="3558970" y="2488798"/>
            <a:chExt cx="5067710" cy="2391582"/>
          </a:xfrm>
        </p:grpSpPr>
        <p:sp>
          <p:nvSpPr>
            <p:cNvPr id="80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19" name="圆角矩形标注 118"/>
          <p:cNvSpPr/>
          <p:nvPr/>
        </p:nvSpPr>
        <p:spPr>
          <a:xfrm>
            <a:off x="9227185" y="4498340"/>
            <a:ext cx="2655570" cy="901700"/>
          </a:xfrm>
          <a:prstGeom prst="wedgeRoundRectCallout">
            <a:avLst>
              <a:gd name="adj1" fmla="val 24723"/>
              <a:gd name="adj2" fmla="val 106408"/>
              <a:gd name="adj3" fmla="val 1666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en-US" altLang="zh-CN">
                <a:sym typeface="+mn-ea"/>
              </a:rPr>
              <a:t>3</a:t>
            </a:r>
            <a:r>
              <a:rPr lang="zh-CN" altLang="en-US">
                <a:sym typeface="+mn-ea"/>
              </a:rPr>
              <a:t>个条件必须</a:t>
            </a:r>
            <a:r>
              <a:rPr lang="zh-CN" altLang="en-US" sz="2400">
                <a:solidFill>
                  <a:srgbClr val="FF0000"/>
                </a:solidFill>
                <a:sym typeface="+mn-ea"/>
              </a:rPr>
              <a:t>同时</a:t>
            </a:r>
            <a:r>
              <a:rPr lang="zh-CN" altLang="en-US">
                <a:sym typeface="+mn-ea"/>
              </a:rPr>
              <a:t>满足</a:t>
            </a:r>
            <a:r>
              <a:rPr lang="zh-CN" altLang="en-US" sz="2400">
                <a:solidFill>
                  <a:srgbClr val="FF0000"/>
                </a:solidFill>
                <a:sym typeface="+mn-ea"/>
              </a:rPr>
              <a:t>才能</a:t>
            </a:r>
            <a:r>
              <a:rPr lang="zh-CN" altLang="en-US">
                <a:sym typeface="+mn-ea"/>
              </a:rPr>
              <a:t>构成一个三角形</a:t>
            </a: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  <a:t>14</a:t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1438910" y="3447415"/>
            <a:ext cx="3485515" cy="2037080"/>
          </a:xfrm>
          <a:prstGeom prst="rect">
            <a:avLst/>
          </a:prstGeom>
          <a:noFill/>
          <a:ln w="34925">
            <a:prstDash val="sysDot"/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5038090" y="3434715"/>
            <a:ext cx="3989705" cy="909955"/>
          </a:xfrm>
          <a:prstGeom prst="rect">
            <a:avLst/>
          </a:prstGeom>
          <a:noFill/>
          <a:ln w="34925">
            <a:prstDash val="sysDot"/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圆角矩形 3"/>
          <p:cNvSpPr/>
          <p:nvPr/>
        </p:nvSpPr>
        <p:spPr>
          <a:xfrm>
            <a:off x="9603105" y="2332990"/>
            <a:ext cx="1931035" cy="55372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/>
              <a:t>a+b&lt;=c</a:t>
            </a:r>
          </a:p>
        </p:txBody>
      </p:sp>
      <p:sp>
        <p:nvSpPr>
          <p:cNvPr id="6" name="圆角矩形 5"/>
          <p:cNvSpPr/>
          <p:nvPr/>
        </p:nvSpPr>
        <p:spPr>
          <a:xfrm>
            <a:off x="9603740" y="3007360"/>
            <a:ext cx="1931035" cy="55372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/>
              <a:t>a+c&lt;=b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9618980" y="3689985"/>
            <a:ext cx="1931035" cy="55372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/>
              <a:t>b+c&lt;=a</a:t>
            </a:r>
          </a:p>
        </p:txBody>
      </p:sp>
      <p:sp>
        <p:nvSpPr>
          <p:cNvPr id="9" name="圆角矩形标注 8"/>
          <p:cNvSpPr/>
          <p:nvPr/>
        </p:nvSpPr>
        <p:spPr>
          <a:xfrm>
            <a:off x="9224645" y="4469765"/>
            <a:ext cx="2640965" cy="901700"/>
          </a:xfrm>
          <a:prstGeom prst="wedgeRoundRectCallout">
            <a:avLst>
              <a:gd name="adj1" fmla="val 24723"/>
              <a:gd name="adj2" fmla="val 106408"/>
              <a:gd name="adj3" fmla="val 1666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en-US" altLang="zh-CN">
                <a:sym typeface="+mn-ea"/>
              </a:rPr>
              <a:t>3</a:t>
            </a:r>
            <a:r>
              <a:rPr lang="zh-CN" altLang="en-US">
                <a:sym typeface="+mn-ea"/>
              </a:rPr>
              <a:t>个条件满足</a:t>
            </a:r>
            <a:r>
              <a:rPr lang="zh-CN" altLang="en-US" sz="2400">
                <a:solidFill>
                  <a:srgbClr val="FF0000"/>
                </a:solidFill>
                <a:sym typeface="+mn-ea"/>
              </a:rPr>
              <a:t>一个</a:t>
            </a:r>
            <a:r>
              <a:rPr lang="zh-CN" altLang="en-US">
                <a:sym typeface="+mn-ea"/>
              </a:rPr>
              <a:t>就</a:t>
            </a:r>
            <a:r>
              <a:rPr lang="zh-CN" altLang="en-US" sz="2400">
                <a:solidFill>
                  <a:srgbClr val="FF0000"/>
                </a:solidFill>
                <a:sym typeface="+mn-ea"/>
              </a:rPr>
              <a:t>不能</a:t>
            </a:r>
            <a:r>
              <a:rPr lang="zh-CN" altLang="en-US">
                <a:sym typeface="+mn-ea"/>
              </a:rPr>
              <a:t>构成一个三角形</a:t>
            </a:r>
            <a:endParaRPr lang="zh-CN" altLang="en-US"/>
          </a:p>
        </p:txBody>
      </p:sp>
      <p:grpSp>
        <p:nvGrpSpPr>
          <p:cNvPr id="10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 rot="20262996">
            <a:off x="10768965" y="6003290"/>
            <a:ext cx="1336675" cy="630555"/>
            <a:chOff x="3558970" y="2488798"/>
            <a:chExt cx="5067710" cy="2391582"/>
          </a:xfrm>
        </p:grpSpPr>
        <p:sp>
          <p:nvSpPr>
            <p:cNvPr id="11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119" grpId="0" bldLvl="0" animBg="1"/>
      <p:bldP spid="119" grpId="1" bldLvl="0" animBg="1"/>
      <p:bldP spid="3" grpId="0" animBg="1"/>
      <p:bldP spid="5" grpId="0" animBg="1"/>
      <p:bldP spid="4" grpId="0" bldLvl="0" animBg="1"/>
      <p:bldP spid="6" grpId="0" bldLvl="0" animBg="1"/>
      <p:bldP spid="8" grpId="0" bldLvl="0" animBg="1"/>
      <p:bldP spid="9" grpId="0" bldLvl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08050" y="201295"/>
            <a:ext cx="3899535" cy="751205"/>
          </a:xfrm>
        </p:spPr>
        <p:txBody>
          <a:bodyPr/>
          <a:lstStyle/>
          <a:p>
            <a:r>
              <a:rPr lang="en-US" altLang="zh-CN" dirty="0"/>
              <a:t>python</a:t>
            </a:r>
            <a:r>
              <a:rPr lang="zh-CN" altLang="en-US" dirty="0"/>
              <a:t>的逻辑表达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8179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15</a:t>
            </a:fld>
            <a:endParaRPr lang="zh-CN" altLang="en-US"/>
          </a:p>
        </p:txBody>
      </p:sp>
      <p:grpSp>
        <p:nvGrpSpPr>
          <p:cNvPr id="55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3102995">
            <a:off x="10795" y="5424805"/>
            <a:ext cx="1336675" cy="630555"/>
            <a:chOff x="3558970" y="2488798"/>
            <a:chExt cx="5067710" cy="2391582"/>
          </a:xfrm>
        </p:grpSpPr>
        <p:sp>
          <p:nvSpPr>
            <p:cNvPr id="56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36" name="文本框 35"/>
          <p:cNvSpPr txBox="1"/>
          <p:nvPr/>
        </p:nvSpPr>
        <p:spPr>
          <a:xfrm>
            <a:off x="2435860" y="1022350"/>
            <a:ext cx="7122160" cy="810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30000"/>
              </a:lnSpc>
            </a:pPr>
            <a:r>
              <a:rPr lang="en-US" altLang="zh-CN"/>
              <a:t>python</a:t>
            </a:r>
            <a:r>
              <a:rPr lang="zh-CN" altLang="en-US"/>
              <a:t>的逻辑表达式指用逻辑运算符，把逻辑变量连接起来的表达式。逻辑表达式的值仍是布尔型：真或假（</a:t>
            </a:r>
            <a:r>
              <a:rPr lang="en-US" altLang="zh-CN"/>
              <a:t>true</a:t>
            </a:r>
            <a:r>
              <a:rPr lang="zh-CN" altLang="en-US"/>
              <a:t>或</a:t>
            </a:r>
            <a:r>
              <a:rPr lang="en-US" altLang="zh-CN"/>
              <a:t>false</a:t>
            </a:r>
            <a:r>
              <a:rPr lang="zh-CN" altLang="en-US"/>
              <a:t>）</a:t>
            </a:r>
          </a:p>
        </p:txBody>
      </p:sp>
      <p:graphicFrame>
        <p:nvGraphicFramePr>
          <p:cNvPr id="38" name="表格 37"/>
          <p:cNvGraphicFramePr/>
          <p:nvPr>
            <p:custDataLst>
              <p:tags r:id="rId2"/>
            </p:custDataLst>
          </p:nvPr>
        </p:nvGraphicFramePr>
        <p:xfrm>
          <a:off x="2277745" y="1918335"/>
          <a:ext cx="8021320" cy="19050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21E4AEA4-8DFA-4A89-87EB-49C32662AFE0}</a:tableStyleId>
              </a:tblPr>
              <a:tblGrid>
                <a:gridCol w="28340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58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4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34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python</a:t>
                      </a:r>
                      <a:r>
                        <a:rPr lang="zh-CN" altLang="en-US"/>
                        <a:t>逻辑运算符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python</a:t>
                      </a:r>
                      <a:r>
                        <a:rPr lang="zh-CN" altLang="en-US"/>
                        <a:t>表达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描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备注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>
                          <a:solidFill>
                            <a:srgbClr val="FF0000"/>
                          </a:solidFill>
                        </a:rPr>
                        <a:t>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/>
                        <a:t>x </a:t>
                      </a:r>
                      <a:r>
                        <a:rPr lang="en-US" altLang="zh-CN" sz="2400">
                          <a:solidFill>
                            <a:srgbClr val="FF0000"/>
                          </a:solidFill>
                        </a:rPr>
                        <a:t>and</a:t>
                      </a:r>
                      <a:r>
                        <a:rPr lang="en-US" altLang="zh-CN" sz="2400"/>
                        <a:t> 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x</a:t>
                      </a:r>
                      <a:r>
                        <a:rPr lang="zh-CN" altLang="zh-CN"/>
                        <a:t>且</a:t>
                      </a:r>
                      <a:r>
                        <a:rPr lang="en-US" altLang="zh-CN"/>
                        <a:t>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多个条件都满足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>
                          <a:solidFill>
                            <a:srgbClr val="FF0000"/>
                          </a:solidFill>
                          <a:sym typeface="+mn-ea"/>
                        </a:rPr>
                        <a:t>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>
                          <a:sym typeface="+mn-ea"/>
                        </a:rPr>
                        <a:t>x </a:t>
                      </a:r>
                      <a:r>
                        <a:rPr lang="en-US" altLang="zh-CN" sz="2400">
                          <a:solidFill>
                            <a:srgbClr val="FF0000"/>
                          </a:solidFill>
                          <a:sym typeface="+mn-ea"/>
                        </a:rPr>
                        <a:t>or</a:t>
                      </a:r>
                      <a:r>
                        <a:rPr lang="en-US" altLang="zh-CN" sz="2400">
                          <a:sym typeface="+mn-ea"/>
                        </a:rPr>
                        <a:t> 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x</a:t>
                      </a:r>
                      <a:r>
                        <a:rPr lang="zh-CN" altLang="en-US" sz="1800">
                          <a:sym typeface="+mn-ea"/>
                        </a:rPr>
                        <a:t>或</a:t>
                      </a:r>
                      <a:r>
                        <a:rPr lang="en-US" altLang="zh-CN" sz="1800">
                          <a:sym typeface="+mn-ea"/>
                        </a:rPr>
                        <a:t>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满足</a:t>
                      </a:r>
                      <a:r>
                        <a:rPr lang="en-US" altLang="zh-CN" sz="1800">
                          <a:sym typeface="+mn-ea"/>
                        </a:rPr>
                        <a:t>1</a:t>
                      </a:r>
                      <a:r>
                        <a:rPr lang="zh-CN" altLang="en-US" sz="1800">
                          <a:sym typeface="+mn-ea"/>
                        </a:rPr>
                        <a:t>个条件即可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>
                          <a:solidFill>
                            <a:srgbClr val="FF0000"/>
                          </a:solidFill>
                        </a:rPr>
                        <a:t>n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2400">
                          <a:solidFill>
                            <a:srgbClr val="FF0000"/>
                          </a:solidFill>
                        </a:rPr>
                        <a:t>not</a:t>
                      </a:r>
                      <a:r>
                        <a:rPr lang="en-US" altLang="zh-CN" sz="2400"/>
                        <a:t> 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非</a:t>
                      </a:r>
                      <a:r>
                        <a:rPr lang="en-US" altLang="zh-CN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dirty="0"/>
                        <a:t>不满足条件</a:t>
                      </a:r>
                      <a:r>
                        <a:rPr lang="en-US" altLang="zh-CN" dirty="0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63" name="图片 62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7109460" y="4322445"/>
            <a:ext cx="3938905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 </a:t>
            </a:r>
            <a:r>
              <a:rPr lang="en-US" altLang="zh-CN" sz="2400"/>
              <a:t>cscore&gt;90 </a:t>
            </a:r>
            <a:r>
              <a:rPr lang="en-US" altLang="zh-CN" sz="2800">
                <a:solidFill>
                  <a:srgbClr val="FF0000"/>
                </a:solidFill>
              </a:rPr>
              <a:t>and</a:t>
            </a:r>
            <a:r>
              <a:rPr lang="en-US" altLang="zh-CN" sz="2400"/>
              <a:t> mscore&gt;95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7109460" y="5052695"/>
            <a:ext cx="3804285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 </a:t>
            </a:r>
            <a:r>
              <a:rPr lang="en-US" altLang="zh-CN" sz="2400"/>
              <a:t>number==5 </a:t>
            </a:r>
            <a:r>
              <a:rPr lang="en-US" altLang="zh-CN" sz="2800">
                <a:solidFill>
                  <a:srgbClr val="FF0000"/>
                </a:solidFill>
              </a:rPr>
              <a:t>or</a:t>
            </a:r>
            <a:r>
              <a:rPr lang="en-US" altLang="zh-CN" sz="2400"/>
              <a:t> number==9 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7109460" y="5828665"/>
            <a:ext cx="3867785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 </a:t>
            </a:r>
            <a:r>
              <a:rPr lang="en-US" altLang="zh-CN" sz="2800">
                <a:solidFill>
                  <a:srgbClr val="FF0000"/>
                </a:solidFill>
              </a:rPr>
              <a:t>not</a:t>
            </a:r>
            <a:r>
              <a:rPr lang="en-US" altLang="zh-CN" sz="2400"/>
              <a:t> password=='''</a:t>
            </a:r>
            <a:r>
              <a:rPr lang="zh-CN" altLang="en-US" sz="2400"/>
              <a:t>芝麻开门</a:t>
            </a:r>
            <a:r>
              <a:rPr lang="en-US" altLang="zh-CN" sz="2400"/>
              <a:t>' </a:t>
            </a:r>
          </a:p>
        </p:txBody>
      </p:sp>
      <p:sp>
        <p:nvSpPr>
          <p:cNvPr id="17" name="圆角矩形标注 16"/>
          <p:cNvSpPr/>
          <p:nvPr/>
        </p:nvSpPr>
        <p:spPr>
          <a:xfrm>
            <a:off x="1341120" y="4116070"/>
            <a:ext cx="4708525" cy="664210"/>
          </a:xfrm>
          <a:prstGeom prst="wedgeRoundRectCallout">
            <a:avLst>
              <a:gd name="adj1" fmla="val -37996"/>
              <a:gd name="adj2" fmla="val 71319"/>
              <a:gd name="adj3" fmla="val 1666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zh-CN" altLang="en-US" sz="1600">
                <a:sym typeface="+mn-ea"/>
              </a:rPr>
              <a:t>语文成绩达到</a:t>
            </a:r>
            <a:r>
              <a:rPr lang="en-US" altLang="zh-CN" sz="1600">
                <a:sym typeface="+mn-ea"/>
              </a:rPr>
              <a:t>90</a:t>
            </a:r>
            <a:r>
              <a:rPr lang="zh-CN" altLang="en-US" sz="1600">
                <a:sym typeface="+mn-ea"/>
              </a:rPr>
              <a:t>分以上，同时数学成绩达</a:t>
            </a:r>
            <a:r>
              <a:rPr lang="en-US" altLang="zh-CN" sz="1600">
                <a:sym typeface="+mn-ea"/>
              </a:rPr>
              <a:t>95</a:t>
            </a:r>
            <a:r>
              <a:rPr lang="zh-CN" altLang="en-US" sz="1600">
                <a:sym typeface="+mn-ea"/>
              </a:rPr>
              <a:t>分以上，才能得到奖励，条件表达式可以这样写：</a:t>
            </a:r>
            <a:endParaRPr lang="zh-CN" altLang="en-US" sz="1600"/>
          </a:p>
        </p:txBody>
      </p:sp>
      <p:sp>
        <p:nvSpPr>
          <p:cNvPr id="18" name="圆角矩形标注 17"/>
          <p:cNvSpPr/>
          <p:nvPr/>
        </p:nvSpPr>
        <p:spPr>
          <a:xfrm>
            <a:off x="1362710" y="5045710"/>
            <a:ext cx="4716780" cy="563880"/>
          </a:xfrm>
          <a:prstGeom prst="wedgeRoundRectCallout">
            <a:avLst>
              <a:gd name="adj1" fmla="val -41370"/>
              <a:gd name="adj2" fmla="val 64301"/>
              <a:gd name="adj3" fmla="val 1666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zh-CN" altLang="en-US" sz="1600">
                <a:sym typeface="+mn-ea"/>
              </a:rPr>
              <a:t>幸运大转盘中，指针对准</a:t>
            </a:r>
            <a:r>
              <a:rPr lang="en-US" altLang="zh-CN" sz="1600">
                <a:sym typeface="+mn-ea"/>
              </a:rPr>
              <a:t>5</a:t>
            </a:r>
            <a:r>
              <a:rPr lang="zh-CN" altLang="en-US" sz="1600">
                <a:sym typeface="+mn-ea"/>
              </a:rPr>
              <a:t>或</a:t>
            </a:r>
            <a:r>
              <a:rPr lang="en-US" altLang="zh-CN" sz="1600">
                <a:sym typeface="+mn-ea"/>
              </a:rPr>
              <a:t>9</a:t>
            </a:r>
            <a:r>
              <a:rPr lang="zh-CN" altLang="en-US" sz="1600">
                <a:sym typeface="+mn-ea"/>
              </a:rPr>
              <a:t>即中奖，条件表达式可以这样写：</a:t>
            </a:r>
            <a:endParaRPr lang="zh-CN" altLang="en-US" sz="1600"/>
          </a:p>
        </p:txBody>
      </p:sp>
      <p:sp>
        <p:nvSpPr>
          <p:cNvPr id="19" name="圆角矩形标注 18"/>
          <p:cNvSpPr/>
          <p:nvPr/>
        </p:nvSpPr>
        <p:spPr>
          <a:xfrm>
            <a:off x="1362710" y="5786120"/>
            <a:ext cx="4498975" cy="682625"/>
          </a:xfrm>
          <a:prstGeom prst="wedgeRoundRectCallout">
            <a:avLst>
              <a:gd name="adj1" fmla="val -40176"/>
              <a:gd name="adj2" fmla="val 76976"/>
              <a:gd name="adj3" fmla="val 1666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zh-CN" altLang="en-US" sz="1600">
                <a:sym typeface="+mn-ea"/>
              </a:rPr>
              <a:t>密码不是</a:t>
            </a:r>
            <a:r>
              <a:rPr lang="en-US" altLang="zh-CN" sz="1600">
                <a:sym typeface="+mn-ea"/>
              </a:rPr>
              <a:t>“</a:t>
            </a:r>
            <a:r>
              <a:rPr lang="zh-CN" altLang="en-US" sz="1600">
                <a:sym typeface="+mn-ea"/>
              </a:rPr>
              <a:t>芝麻开门</a:t>
            </a:r>
            <a:r>
              <a:rPr lang="en-US" altLang="zh-CN" sz="1600">
                <a:sym typeface="+mn-ea"/>
              </a:rPr>
              <a:t>”</a:t>
            </a:r>
            <a:r>
              <a:rPr lang="zh-CN" altLang="en-US" sz="1600">
                <a:sym typeface="+mn-ea"/>
              </a:rPr>
              <a:t>，就显示</a:t>
            </a:r>
            <a:r>
              <a:rPr lang="en-US" altLang="zh-CN" sz="1600">
                <a:sym typeface="+mn-ea"/>
              </a:rPr>
              <a:t>“</a:t>
            </a:r>
            <a:r>
              <a:rPr lang="zh-CN" altLang="en-US" sz="1600">
                <a:sym typeface="+mn-ea"/>
              </a:rPr>
              <a:t>有敌人入侵</a:t>
            </a:r>
            <a:r>
              <a:rPr lang="en-US" altLang="zh-CN" sz="1600">
                <a:sym typeface="+mn-ea"/>
              </a:rPr>
              <a:t>”</a:t>
            </a:r>
            <a:r>
              <a:rPr lang="zh-CN" altLang="en-US" sz="1600">
                <a:sym typeface="+mn-ea"/>
              </a:rPr>
              <a:t>，条件表达式可以这样写：</a:t>
            </a:r>
            <a:endParaRPr lang="zh-CN" altLang="en-US" sz="16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  <p:bldP spid="16" grpId="0"/>
      <p:bldP spid="17" grpId="0" animBg="1"/>
      <p:bldP spid="18" grpId="0" animBg="1"/>
      <p:bldP spid="1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104775"/>
            <a:ext cx="4325620" cy="1028700"/>
          </a:xfrm>
        </p:spPr>
        <p:txBody>
          <a:bodyPr/>
          <a:lstStyle/>
          <a:p>
            <a:r>
              <a:rPr lang="en-US" altLang="zh-CN" dirty="0"/>
              <a:t>python</a:t>
            </a:r>
            <a:r>
              <a:rPr lang="zh-CN" altLang="en-US" dirty="0"/>
              <a:t>的逻辑表达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8179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16</a:t>
            </a:fld>
            <a:endParaRPr lang="zh-CN" altLang="en-US"/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pic>
        <p:nvPicPr>
          <p:cNvPr id="63" name="图片 62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grpSp>
        <p:nvGrpSpPr>
          <p:cNvPr id="74" name="组合 73"/>
          <p:cNvGrpSpPr/>
          <p:nvPr/>
        </p:nvGrpSpPr>
        <p:grpSpPr>
          <a:xfrm>
            <a:off x="1397000" y="1279525"/>
            <a:ext cx="7703820" cy="5237480"/>
            <a:chOff x="3190" y="1895"/>
            <a:chExt cx="12132" cy="8248"/>
          </a:xfrm>
        </p:grpSpPr>
        <p:grpSp>
          <p:nvGrpSpPr>
            <p:cNvPr id="65" name="组合 64"/>
            <p:cNvGrpSpPr/>
            <p:nvPr/>
          </p:nvGrpSpPr>
          <p:grpSpPr>
            <a:xfrm>
              <a:off x="3354" y="2052"/>
              <a:ext cx="11758" cy="7846"/>
              <a:chOff x="5829" y="1896"/>
              <a:chExt cx="11758" cy="7846"/>
            </a:xfrm>
          </p:grpSpPr>
          <p:grpSp>
            <p:nvGrpSpPr>
              <p:cNvPr id="57" name="组合 56"/>
              <p:cNvGrpSpPr/>
              <p:nvPr/>
            </p:nvGrpSpPr>
            <p:grpSpPr>
              <a:xfrm>
                <a:off x="8709" y="1896"/>
                <a:ext cx="5393" cy="1859"/>
                <a:chOff x="6561" y="2134"/>
                <a:chExt cx="5393" cy="1859"/>
              </a:xfrm>
            </p:grpSpPr>
            <p:sp>
              <p:nvSpPr>
                <p:cNvPr id="31" name="流程图: 终止 30"/>
                <p:cNvSpPr/>
                <p:nvPr/>
              </p:nvSpPr>
              <p:spPr>
                <a:xfrm>
                  <a:off x="8291" y="2134"/>
                  <a:ext cx="1932" cy="521"/>
                </a:xfrm>
                <a:prstGeom prst="flowChartTerminator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600">
                      <a:solidFill>
                        <a:schemeClr val="tx1"/>
                      </a:solidFill>
                    </a:rPr>
                    <a:t>开始</a:t>
                  </a:r>
                </a:p>
              </p:txBody>
            </p:sp>
            <p:sp>
              <p:nvSpPr>
                <p:cNvPr id="32" name="流程图: 数据 31"/>
                <p:cNvSpPr/>
                <p:nvPr/>
              </p:nvSpPr>
              <p:spPr>
                <a:xfrm>
                  <a:off x="6561" y="3052"/>
                  <a:ext cx="5393" cy="573"/>
                </a:xfrm>
                <a:prstGeom prst="flowChartInputOutpu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buClrTx/>
                    <a:buSzTx/>
                    <a:buFontTx/>
                  </a:pPr>
                  <a:r>
                    <a:rPr lang="zh-CN" altLang="en-US" sz="1600">
                      <a:solidFill>
                        <a:schemeClr val="tx1"/>
                      </a:solidFill>
                    </a:rPr>
                    <a:t>输入边长a，b，c</a:t>
                  </a:r>
                </a:p>
              </p:txBody>
            </p:sp>
            <p:cxnSp>
              <p:nvCxnSpPr>
                <p:cNvPr id="38" name="直接箭头连接符 37"/>
                <p:cNvCxnSpPr/>
                <p:nvPr/>
              </p:nvCxnSpPr>
              <p:spPr>
                <a:xfrm>
                  <a:off x="9251" y="2669"/>
                  <a:ext cx="0" cy="397"/>
                </a:xfrm>
                <a:prstGeom prst="straightConnector1">
                  <a:avLst/>
                </a:prstGeom>
                <a:ln w="25400" cmpd="sng">
                  <a:solidFill>
                    <a:schemeClr val="tx1"/>
                  </a:solidFill>
                  <a:prstDash val="solid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箭头连接符 38"/>
                <p:cNvCxnSpPr/>
                <p:nvPr/>
              </p:nvCxnSpPr>
              <p:spPr>
                <a:xfrm>
                  <a:off x="9251" y="3596"/>
                  <a:ext cx="0" cy="397"/>
                </a:xfrm>
                <a:prstGeom prst="straightConnector1">
                  <a:avLst/>
                </a:prstGeom>
                <a:ln w="25400" cmpd="sng">
                  <a:solidFill>
                    <a:schemeClr val="tx1"/>
                  </a:solidFill>
                  <a:prstDash val="solid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" name="组合 59"/>
              <p:cNvGrpSpPr/>
              <p:nvPr/>
            </p:nvGrpSpPr>
            <p:grpSpPr>
              <a:xfrm>
                <a:off x="5829" y="3772"/>
                <a:ext cx="11758" cy="5970"/>
                <a:chOff x="3674" y="4100"/>
                <a:chExt cx="11758" cy="5970"/>
              </a:xfrm>
            </p:grpSpPr>
            <p:grpSp>
              <p:nvGrpSpPr>
                <p:cNvPr id="59" name="组合 58"/>
                <p:cNvGrpSpPr/>
                <p:nvPr/>
              </p:nvGrpSpPr>
              <p:grpSpPr>
                <a:xfrm>
                  <a:off x="3674" y="4100"/>
                  <a:ext cx="11758" cy="4456"/>
                  <a:chOff x="3674" y="4100"/>
                  <a:chExt cx="11758" cy="4456"/>
                </a:xfrm>
              </p:grpSpPr>
              <p:cxnSp>
                <p:nvCxnSpPr>
                  <p:cNvPr id="49" name="直接箭头连接符 48"/>
                  <p:cNvCxnSpPr/>
                  <p:nvPr/>
                </p:nvCxnSpPr>
                <p:spPr>
                  <a:xfrm>
                    <a:off x="12211" y="4627"/>
                    <a:ext cx="0" cy="1194"/>
                  </a:xfrm>
                  <a:prstGeom prst="straightConnector1">
                    <a:avLst/>
                  </a:prstGeom>
                  <a:ln w="31750">
                    <a:solidFill>
                      <a:srgbClr val="7030A0"/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58" name="组合 57"/>
                  <p:cNvGrpSpPr/>
                  <p:nvPr/>
                </p:nvGrpSpPr>
                <p:grpSpPr>
                  <a:xfrm>
                    <a:off x="3674" y="4100"/>
                    <a:ext cx="11758" cy="4456"/>
                    <a:chOff x="3674" y="4100"/>
                    <a:chExt cx="11758" cy="4456"/>
                  </a:xfrm>
                </p:grpSpPr>
                <p:grpSp>
                  <p:nvGrpSpPr>
                    <p:cNvPr id="43" name="组合 42"/>
                    <p:cNvGrpSpPr/>
                    <p:nvPr/>
                  </p:nvGrpSpPr>
                  <p:grpSpPr>
                    <a:xfrm>
                      <a:off x="3674" y="5803"/>
                      <a:ext cx="5232" cy="2753"/>
                      <a:chOff x="6641" y="4825"/>
                      <a:chExt cx="5232" cy="2753"/>
                    </a:xfrm>
                  </p:grpSpPr>
                  <p:sp>
                    <p:nvSpPr>
                      <p:cNvPr id="33" name="流程图: 过程 32"/>
                      <p:cNvSpPr/>
                      <p:nvPr/>
                    </p:nvSpPr>
                    <p:spPr>
                      <a:xfrm>
                        <a:off x="7412" y="4825"/>
                        <a:ext cx="3753" cy="463"/>
                      </a:xfrm>
                      <a:prstGeom prst="flowChartProcess">
                        <a:avLst/>
                      </a:prstGeom>
                      <a:noFill/>
                      <a:ln w="19050">
                        <a:solidFill>
                          <a:srgbClr val="002060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zh-CN" altLang="en-US" sz="1600">
                            <a:solidFill>
                              <a:schemeClr val="tx1"/>
                            </a:solidFill>
                          </a:rPr>
                          <a:t>p←(a+b+c)/2</a:t>
                        </a:r>
                      </a:p>
                    </p:txBody>
                  </p:sp>
                  <p:sp>
                    <p:nvSpPr>
                      <p:cNvPr id="34" name="流程图: 过程 33"/>
                      <p:cNvSpPr/>
                      <p:nvPr/>
                    </p:nvSpPr>
                    <p:spPr>
                      <a:xfrm>
                        <a:off x="6641" y="5763"/>
                        <a:ext cx="5232" cy="718"/>
                      </a:xfrm>
                      <a:prstGeom prst="flowChartProcess">
                        <a:avLst/>
                      </a:prstGeom>
                      <a:noFill/>
                      <a:ln w="19050">
                        <a:solidFill>
                          <a:srgbClr val="002060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zh-CN" altLang="en-US" sz="1600">
                            <a:solidFill>
                              <a:schemeClr val="tx1"/>
                            </a:solidFill>
                          </a:rPr>
                          <a:t>s←(p*(p-a)*(p-b)*(p-c))**0.5</a:t>
                        </a:r>
                      </a:p>
                    </p:txBody>
                  </p:sp>
                  <p:sp>
                    <p:nvSpPr>
                      <p:cNvPr id="36" name="流程图: 数据 35"/>
                      <p:cNvSpPr/>
                      <p:nvPr/>
                    </p:nvSpPr>
                    <p:spPr>
                      <a:xfrm>
                        <a:off x="7593" y="6955"/>
                        <a:ext cx="3315" cy="623"/>
                      </a:xfrm>
                      <a:prstGeom prst="flowChartInputOutput">
                        <a:avLst/>
                      </a:prstGeom>
                      <a:noFill/>
                      <a:ln w="19050">
                        <a:solidFill>
                          <a:srgbClr val="002060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zh-CN" altLang="en-US" sz="1600">
                            <a:solidFill>
                              <a:schemeClr val="tx1"/>
                            </a:solidFill>
                          </a:rPr>
                          <a:t>输出面积</a:t>
                        </a:r>
                      </a:p>
                    </p:txBody>
                  </p:sp>
                  <p:cxnSp>
                    <p:nvCxnSpPr>
                      <p:cNvPr id="40" name="直接箭头连接符 39"/>
                      <p:cNvCxnSpPr/>
                      <p:nvPr/>
                    </p:nvCxnSpPr>
                    <p:spPr>
                      <a:xfrm>
                        <a:off x="9288" y="5360"/>
                        <a:ext cx="0" cy="397"/>
                      </a:xfrm>
                      <a:prstGeom prst="straightConnector1">
                        <a:avLst/>
                      </a:prstGeom>
                      <a:ln w="31750" cmpd="sng">
                        <a:solidFill>
                          <a:srgbClr val="002060"/>
                        </a:solidFill>
                        <a:prstDash val="solid"/>
                        <a:tailEnd type="arrow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1" name="直接箭头连接符 40"/>
                      <p:cNvCxnSpPr/>
                      <p:nvPr/>
                    </p:nvCxnSpPr>
                    <p:spPr>
                      <a:xfrm>
                        <a:off x="9251" y="6524"/>
                        <a:ext cx="0" cy="397"/>
                      </a:xfrm>
                      <a:prstGeom prst="straightConnector1">
                        <a:avLst/>
                      </a:prstGeom>
                      <a:ln w="31750" cmpd="sng">
                        <a:solidFill>
                          <a:srgbClr val="002060"/>
                        </a:solidFill>
                        <a:prstDash val="solid"/>
                        <a:tailEnd type="arrow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sp>
                  <p:nvSpPr>
                    <p:cNvPr id="46" name="流程图: 决策 45"/>
                    <p:cNvSpPr/>
                    <p:nvPr/>
                  </p:nvSpPr>
                  <p:spPr>
                    <a:xfrm>
                      <a:off x="6321" y="4100"/>
                      <a:ext cx="5921" cy="1009"/>
                    </a:xfrm>
                    <a:prstGeom prst="flowChartDecision">
                      <a:avLst/>
                    </a:prstGeom>
                    <a:noFill/>
                    <a:ln w="25400" cmpd="sng">
                      <a:solidFill>
                        <a:srgbClr val="FF0000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zh-CN" altLang="en-US" sz="1600">
                          <a:solidFill>
                            <a:schemeClr val="tx1"/>
                          </a:solidFill>
                        </a:rPr>
                        <a:t>三角形是否成立</a:t>
                      </a:r>
                    </a:p>
                  </p:txBody>
                </p:sp>
                <p:cxnSp>
                  <p:nvCxnSpPr>
                    <p:cNvPr id="48" name="直接箭头连接符 47"/>
                    <p:cNvCxnSpPr/>
                    <p:nvPr/>
                  </p:nvCxnSpPr>
                  <p:spPr>
                    <a:xfrm>
                      <a:off x="6322" y="4616"/>
                      <a:ext cx="0" cy="1160"/>
                    </a:xfrm>
                    <a:prstGeom prst="straightConnector1">
                      <a:avLst/>
                    </a:prstGeom>
                    <a:ln w="31750">
                      <a:solidFill>
                        <a:srgbClr val="002060"/>
                      </a:solidFill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50" name="文本框 49"/>
                    <p:cNvSpPr txBox="1"/>
                    <p:nvPr/>
                  </p:nvSpPr>
                  <p:spPr>
                    <a:xfrm>
                      <a:off x="5674" y="4881"/>
                      <a:ext cx="648" cy="58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zh-CN" altLang="en-US" sz="1600"/>
                        <a:t>是</a:t>
                      </a:r>
                      <a:endParaRPr lang="zh-CN" altLang="en-US"/>
                    </a:p>
                  </p:txBody>
                </p:sp>
                <p:sp>
                  <p:nvSpPr>
                    <p:cNvPr id="51" name="文本框 50"/>
                    <p:cNvSpPr txBox="1"/>
                    <p:nvPr/>
                  </p:nvSpPr>
                  <p:spPr>
                    <a:xfrm>
                      <a:off x="12211" y="4930"/>
                      <a:ext cx="608" cy="53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zh-CN" altLang="en-US" sz="1600"/>
                        <a:t>否</a:t>
                      </a:r>
                    </a:p>
                  </p:txBody>
                </p:sp>
                <p:sp>
                  <p:nvSpPr>
                    <p:cNvPr id="52" name="流程图: 数据 51"/>
                    <p:cNvSpPr/>
                    <p:nvPr/>
                  </p:nvSpPr>
                  <p:spPr>
                    <a:xfrm>
                      <a:off x="9313" y="5821"/>
                      <a:ext cx="6119" cy="681"/>
                    </a:xfrm>
                    <a:prstGeom prst="flowChartInputOutput">
                      <a:avLst/>
                    </a:prstGeom>
                    <a:noFill/>
                    <a:ln w="19050">
                      <a:solidFill>
                        <a:srgbClr val="7030A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zh-CN" altLang="en-US" sz="1600">
                          <a:solidFill>
                            <a:schemeClr val="tx1"/>
                          </a:solidFill>
                        </a:rPr>
                        <a:t>输出“不能构成三角形”</a:t>
                      </a:r>
                    </a:p>
                  </p:txBody>
                </p:sp>
              </p:grpSp>
            </p:grpSp>
            <p:grpSp>
              <p:nvGrpSpPr>
                <p:cNvPr id="56" name="组合 55"/>
                <p:cNvGrpSpPr/>
                <p:nvPr/>
              </p:nvGrpSpPr>
              <p:grpSpPr>
                <a:xfrm>
                  <a:off x="6277" y="6476"/>
                  <a:ext cx="5933" cy="3594"/>
                  <a:chOff x="6277" y="6476"/>
                  <a:chExt cx="5933" cy="3594"/>
                </a:xfrm>
              </p:grpSpPr>
              <p:sp>
                <p:nvSpPr>
                  <p:cNvPr id="44" name="流程图: 终止 43"/>
                  <p:cNvSpPr/>
                  <p:nvPr/>
                </p:nvSpPr>
                <p:spPr>
                  <a:xfrm>
                    <a:off x="8198" y="9518"/>
                    <a:ext cx="1932" cy="552"/>
                  </a:xfrm>
                  <a:prstGeom prst="flowChartTerminator">
                    <a:avLst/>
                  </a:prstGeom>
                  <a:noFill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zh-CN" altLang="en-US" sz="1600">
                        <a:solidFill>
                          <a:schemeClr val="tx1"/>
                        </a:solidFill>
                      </a:rPr>
                      <a:t>结束</a:t>
                    </a:r>
                  </a:p>
                </p:txBody>
              </p:sp>
              <p:cxnSp>
                <p:nvCxnSpPr>
                  <p:cNvPr id="45" name="直接箭头连接符 44"/>
                  <p:cNvCxnSpPr/>
                  <p:nvPr/>
                </p:nvCxnSpPr>
                <p:spPr>
                  <a:xfrm>
                    <a:off x="9164" y="9121"/>
                    <a:ext cx="0" cy="397"/>
                  </a:xfrm>
                  <a:prstGeom prst="straightConnector1">
                    <a:avLst/>
                  </a:prstGeom>
                  <a:ln w="25400" cmpd="sng">
                    <a:solidFill>
                      <a:schemeClr val="tx1"/>
                    </a:solidFill>
                    <a:prstDash val="solid"/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" name="直接连接符 52"/>
                  <p:cNvCxnSpPr/>
                  <p:nvPr/>
                </p:nvCxnSpPr>
                <p:spPr>
                  <a:xfrm>
                    <a:off x="6290" y="8511"/>
                    <a:ext cx="0" cy="573"/>
                  </a:xfrm>
                  <a:prstGeom prst="line">
                    <a:avLst/>
                  </a:prstGeom>
                  <a:ln w="158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直接连接符 53"/>
                  <p:cNvCxnSpPr/>
                  <p:nvPr/>
                </p:nvCxnSpPr>
                <p:spPr>
                  <a:xfrm>
                    <a:off x="12167" y="6476"/>
                    <a:ext cx="14" cy="2608"/>
                  </a:xfrm>
                  <a:prstGeom prst="line">
                    <a:avLst/>
                  </a:prstGeom>
                  <a:ln w="158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" name="直接连接符 54"/>
                  <p:cNvCxnSpPr/>
                  <p:nvPr/>
                </p:nvCxnSpPr>
                <p:spPr>
                  <a:xfrm>
                    <a:off x="6277" y="9084"/>
                    <a:ext cx="5933" cy="0"/>
                  </a:xfrm>
                  <a:prstGeom prst="line">
                    <a:avLst/>
                  </a:prstGeom>
                  <a:ln w="158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sp>
          <p:nvSpPr>
            <p:cNvPr id="66" name="矩形 65"/>
            <p:cNvSpPr/>
            <p:nvPr/>
          </p:nvSpPr>
          <p:spPr>
            <a:xfrm>
              <a:off x="3190" y="1895"/>
              <a:ext cx="12132" cy="8248"/>
            </a:xfrm>
            <a:prstGeom prst="rect">
              <a:avLst/>
            </a:prstGeom>
            <a:noFill/>
            <a:ln w="50800" cmpd="sng">
              <a:solidFill>
                <a:srgbClr val="F4A229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9" name="组合 68"/>
          <p:cNvGrpSpPr/>
          <p:nvPr/>
        </p:nvGrpSpPr>
        <p:grpSpPr>
          <a:xfrm>
            <a:off x="484505" y="1378585"/>
            <a:ext cx="645795" cy="647700"/>
            <a:chOff x="17704" y="7751"/>
            <a:chExt cx="1382" cy="1386"/>
          </a:xfrm>
        </p:grpSpPr>
        <p:sp>
          <p:nvSpPr>
            <p:cNvPr id="70" name="ïsľiďê"/>
            <p:cNvSpPr/>
            <p:nvPr/>
          </p:nvSpPr>
          <p:spPr bwMode="auto">
            <a:xfrm>
              <a:off x="17704" y="7751"/>
              <a:ext cx="1383" cy="1386"/>
            </a:xfrm>
            <a:prstGeom prst="ellipse">
              <a:avLst/>
            </a:prstGeom>
            <a:solidFill>
              <a:srgbClr val="F4A229"/>
            </a:solidFill>
            <a:ln w="2857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ctr" anchorCtr="0" compatLnSpc="1">
              <a:normAutofit fontScale="7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dirty="0">
                <a:solidFill>
                  <a:srgbClr val="FFFFFF"/>
                </a:solidFill>
              </a:endParaRPr>
            </a:p>
          </p:txBody>
        </p:sp>
        <p:sp>
          <p:nvSpPr>
            <p:cNvPr id="71" name="íśľîde"/>
            <p:cNvSpPr/>
            <p:nvPr/>
          </p:nvSpPr>
          <p:spPr bwMode="auto">
            <a:xfrm>
              <a:off x="18070" y="8090"/>
              <a:ext cx="650" cy="708"/>
            </a:xfrm>
            <a:custGeom>
              <a:avLst/>
              <a:gdLst>
                <a:gd name="connsiteX0" fmla="*/ 176272 w 556267"/>
                <a:gd name="connsiteY0" fmla="*/ 555492 h 606087"/>
                <a:gd name="connsiteX1" fmla="*/ 380065 w 556267"/>
                <a:gd name="connsiteY1" fmla="*/ 555492 h 606087"/>
                <a:gd name="connsiteX2" fmla="*/ 379295 w 556267"/>
                <a:gd name="connsiteY2" fmla="*/ 574730 h 606087"/>
                <a:gd name="connsiteX3" fmla="*/ 379295 w 556267"/>
                <a:gd name="connsiteY3" fmla="*/ 606087 h 606087"/>
                <a:gd name="connsiteX4" fmla="*/ 177043 w 556267"/>
                <a:gd name="connsiteY4" fmla="*/ 606087 h 606087"/>
                <a:gd name="connsiteX5" fmla="*/ 177043 w 556267"/>
                <a:gd name="connsiteY5" fmla="*/ 580116 h 606087"/>
                <a:gd name="connsiteX6" fmla="*/ 176272 w 556267"/>
                <a:gd name="connsiteY6" fmla="*/ 555492 h 606087"/>
                <a:gd name="connsiteX7" fmla="*/ 170486 w 556267"/>
                <a:gd name="connsiteY7" fmla="*/ 504967 h 606087"/>
                <a:gd name="connsiteX8" fmla="*/ 386134 w 556267"/>
                <a:gd name="connsiteY8" fmla="*/ 504967 h 606087"/>
                <a:gd name="connsiteX9" fmla="*/ 382185 w 556267"/>
                <a:gd name="connsiteY9" fmla="*/ 530300 h 606087"/>
                <a:gd name="connsiteX10" fmla="*/ 174050 w 556267"/>
                <a:gd name="connsiteY10" fmla="*/ 530300 h 606087"/>
                <a:gd name="connsiteX11" fmla="*/ 170486 w 556267"/>
                <a:gd name="connsiteY11" fmla="*/ 504967 h 606087"/>
                <a:gd name="connsiteX12" fmla="*/ 481527 w 556267"/>
                <a:gd name="connsiteY12" fmla="*/ 380419 h 606087"/>
                <a:gd name="connsiteX13" fmla="*/ 525359 w 556267"/>
                <a:gd name="connsiteY13" fmla="*/ 405623 h 606087"/>
                <a:gd name="connsiteX14" fmla="*/ 512643 w 556267"/>
                <a:gd name="connsiteY14" fmla="*/ 427557 h 606087"/>
                <a:gd name="connsiteX15" fmla="*/ 468907 w 556267"/>
                <a:gd name="connsiteY15" fmla="*/ 402256 h 606087"/>
                <a:gd name="connsiteX16" fmla="*/ 74740 w 556267"/>
                <a:gd name="connsiteY16" fmla="*/ 380419 h 606087"/>
                <a:gd name="connsiteX17" fmla="*/ 87360 w 556267"/>
                <a:gd name="connsiteY17" fmla="*/ 402353 h 606087"/>
                <a:gd name="connsiteX18" fmla="*/ 43528 w 556267"/>
                <a:gd name="connsiteY18" fmla="*/ 427557 h 606087"/>
                <a:gd name="connsiteX19" fmla="*/ 30908 w 556267"/>
                <a:gd name="connsiteY19" fmla="*/ 405720 h 606087"/>
                <a:gd name="connsiteX20" fmla="*/ 505742 w 556267"/>
                <a:gd name="connsiteY20" fmla="*/ 265115 h 606087"/>
                <a:gd name="connsiteX21" fmla="*/ 556267 w 556267"/>
                <a:gd name="connsiteY21" fmla="*/ 265115 h 606087"/>
                <a:gd name="connsiteX22" fmla="*/ 556267 w 556267"/>
                <a:gd name="connsiteY22" fmla="*/ 290448 h 606087"/>
                <a:gd name="connsiteX23" fmla="*/ 505742 w 556267"/>
                <a:gd name="connsiteY23" fmla="*/ 290448 h 606087"/>
                <a:gd name="connsiteX24" fmla="*/ 0 w 556267"/>
                <a:gd name="connsiteY24" fmla="*/ 265115 h 606087"/>
                <a:gd name="connsiteX25" fmla="*/ 50525 w 556267"/>
                <a:gd name="connsiteY25" fmla="*/ 265115 h 606087"/>
                <a:gd name="connsiteX26" fmla="*/ 50525 w 556267"/>
                <a:gd name="connsiteY26" fmla="*/ 290448 h 606087"/>
                <a:gd name="connsiteX27" fmla="*/ 0 w 556267"/>
                <a:gd name="connsiteY27" fmla="*/ 290448 h 606087"/>
                <a:gd name="connsiteX28" fmla="*/ 512739 w 556267"/>
                <a:gd name="connsiteY28" fmla="*/ 128006 h 606087"/>
                <a:gd name="connsiteX29" fmla="*/ 525359 w 556267"/>
                <a:gd name="connsiteY29" fmla="*/ 149823 h 606087"/>
                <a:gd name="connsiteX30" fmla="*/ 481527 w 556267"/>
                <a:gd name="connsiteY30" fmla="*/ 175003 h 606087"/>
                <a:gd name="connsiteX31" fmla="*/ 468907 w 556267"/>
                <a:gd name="connsiteY31" fmla="*/ 153186 h 606087"/>
                <a:gd name="connsiteX32" fmla="*/ 43528 w 556267"/>
                <a:gd name="connsiteY32" fmla="*/ 127935 h 606087"/>
                <a:gd name="connsiteX33" fmla="*/ 87360 w 556267"/>
                <a:gd name="connsiteY33" fmla="*/ 153197 h 606087"/>
                <a:gd name="connsiteX34" fmla="*/ 74740 w 556267"/>
                <a:gd name="connsiteY34" fmla="*/ 175002 h 606087"/>
                <a:gd name="connsiteX35" fmla="*/ 30908 w 556267"/>
                <a:gd name="connsiteY35" fmla="*/ 149836 h 606087"/>
                <a:gd name="connsiteX36" fmla="*/ 297059 w 556267"/>
                <a:gd name="connsiteY36" fmla="*/ 76575 h 606087"/>
                <a:gd name="connsiteX37" fmla="*/ 404602 w 556267"/>
                <a:gd name="connsiteY37" fmla="*/ 124032 h 606087"/>
                <a:gd name="connsiteX38" fmla="*/ 467778 w 556267"/>
                <a:gd name="connsiteY38" fmla="*/ 265117 h 606087"/>
                <a:gd name="connsiteX39" fmla="*/ 441583 w 556267"/>
                <a:gd name="connsiteY39" fmla="*/ 361098 h 606087"/>
                <a:gd name="connsiteX40" fmla="*/ 391794 w 556267"/>
                <a:gd name="connsiteY40" fmla="*/ 479775 h 606087"/>
                <a:gd name="connsiteX41" fmla="*/ 165285 w 556267"/>
                <a:gd name="connsiteY41" fmla="*/ 479775 h 606087"/>
                <a:gd name="connsiteX42" fmla="*/ 118192 w 556267"/>
                <a:gd name="connsiteY42" fmla="*/ 366676 h 606087"/>
                <a:gd name="connsiteX43" fmla="*/ 89879 w 556267"/>
                <a:gd name="connsiteY43" fmla="*/ 242420 h 606087"/>
                <a:gd name="connsiteX44" fmla="*/ 256582 w 556267"/>
                <a:gd name="connsiteY44" fmla="*/ 76907 h 606087"/>
                <a:gd name="connsiteX45" fmla="*/ 297059 w 556267"/>
                <a:gd name="connsiteY45" fmla="*/ 76575 h 606087"/>
                <a:gd name="connsiteX46" fmla="*/ 150042 w 556267"/>
                <a:gd name="connsiteY46" fmla="*/ 30978 h 606087"/>
                <a:gd name="connsiteX47" fmla="*/ 175284 w 556267"/>
                <a:gd name="connsiteY47" fmla="*/ 74605 h 606087"/>
                <a:gd name="connsiteX48" fmla="*/ 153414 w 556267"/>
                <a:gd name="connsiteY48" fmla="*/ 87289 h 606087"/>
                <a:gd name="connsiteX49" fmla="*/ 128076 w 556267"/>
                <a:gd name="connsiteY49" fmla="*/ 43566 h 606087"/>
                <a:gd name="connsiteX50" fmla="*/ 406225 w 556267"/>
                <a:gd name="connsiteY50" fmla="*/ 30837 h 606087"/>
                <a:gd name="connsiteX51" fmla="*/ 428191 w 556267"/>
                <a:gd name="connsiteY51" fmla="*/ 43441 h 606087"/>
                <a:gd name="connsiteX52" fmla="*/ 402853 w 556267"/>
                <a:gd name="connsiteY52" fmla="*/ 87219 h 606087"/>
                <a:gd name="connsiteX53" fmla="*/ 380983 w 556267"/>
                <a:gd name="connsiteY53" fmla="*/ 74615 h 606087"/>
                <a:gd name="connsiteX54" fmla="*/ 265538 w 556267"/>
                <a:gd name="connsiteY54" fmla="*/ 0 h 606087"/>
                <a:gd name="connsiteX55" fmla="*/ 290730 w 556267"/>
                <a:gd name="connsiteY55" fmla="*/ 0 h 606087"/>
                <a:gd name="connsiteX56" fmla="*/ 290730 w 556267"/>
                <a:gd name="connsiteY56" fmla="*/ 50525 h 606087"/>
                <a:gd name="connsiteX57" fmla="*/ 265538 w 556267"/>
                <a:gd name="connsiteY57" fmla="*/ 50525 h 60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56267" h="606087">
                  <a:moveTo>
                    <a:pt x="176272" y="555492"/>
                  </a:moveTo>
                  <a:lnTo>
                    <a:pt x="380065" y="555492"/>
                  </a:lnTo>
                  <a:cubicBezTo>
                    <a:pt x="379680" y="561937"/>
                    <a:pt x="379295" y="568381"/>
                    <a:pt x="379295" y="574730"/>
                  </a:cubicBezTo>
                  <a:lnTo>
                    <a:pt x="379295" y="606087"/>
                  </a:lnTo>
                  <a:lnTo>
                    <a:pt x="177043" y="606087"/>
                  </a:lnTo>
                  <a:lnTo>
                    <a:pt x="177043" y="580116"/>
                  </a:lnTo>
                  <a:cubicBezTo>
                    <a:pt x="177043" y="571844"/>
                    <a:pt x="176657" y="563668"/>
                    <a:pt x="176272" y="555492"/>
                  </a:cubicBezTo>
                  <a:close/>
                  <a:moveTo>
                    <a:pt x="170486" y="504967"/>
                  </a:moveTo>
                  <a:lnTo>
                    <a:pt x="386134" y="504967"/>
                  </a:lnTo>
                  <a:cubicBezTo>
                    <a:pt x="384593" y="513443"/>
                    <a:pt x="383245" y="521824"/>
                    <a:pt x="382185" y="530300"/>
                  </a:cubicBezTo>
                  <a:lnTo>
                    <a:pt x="174050" y="530300"/>
                  </a:lnTo>
                  <a:cubicBezTo>
                    <a:pt x="173087" y="521727"/>
                    <a:pt x="171931" y="513347"/>
                    <a:pt x="170486" y="504967"/>
                  </a:cubicBezTo>
                  <a:close/>
                  <a:moveTo>
                    <a:pt x="481527" y="380419"/>
                  </a:moveTo>
                  <a:lnTo>
                    <a:pt x="525359" y="405623"/>
                  </a:lnTo>
                  <a:lnTo>
                    <a:pt x="512643" y="427557"/>
                  </a:lnTo>
                  <a:lnTo>
                    <a:pt x="468907" y="402256"/>
                  </a:lnTo>
                  <a:close/>
                  <a:moveTo>
                    <a:pt x="74740" y="380419"/>
                  </a:moveTo>
                  <a:lnTo>
                    <a:pt x="87360" y="402353"/>
                  </a:lnTo>
                  <a:lnTo>
                    <a:pt x="43528" y="427557"/>
                  </a:lnTo>
                  <a:lnTo>
                    <a:pt x="30908" y="405720"/>
                  </a:lnTo>
                  <a:close/>
                  <a:moveTo>
                    <a:pt x="505742" y="265115"/>
                  </a:moveTo>
                  <a:lnTo>
                    <a:pt x="556267" y="265115"/>
                  </a:lnTo>
                  <a:lnTo>
                    <a:pt x="556267" y="290448"/>
                  </a:lnTo>
                  <a:lnTo>
                    <a:pt x="505742" y="290448"/>
                  </a:lnTo>
                  <a:close/>
                  <a:moveTo>
                    <a:pt x="0" y="265115"/>
                  </a:moveTo>
                  <a:lnTo>
                    <a:pt x="50525" y="265115"/>
                  </a:lnTo>
                  <a:lnTo>
                    <a:pt x="50525" y="290448"/>
                  </a:lnTo>
                  <a:lnTo>
                    <a:pt x="0" y="290448"/>
                  </a:lnTo>
                  <a:close/>
                  <a:moveTo>
                    <a:pt x="512739" y="128006"/>
                  </a:moveTo>
                  <a:lnTo>
                    <a:pt x="525359" y="149823"/>
                  </a:lnTo>
                  <a:lnTo>
                    <a:pt x="481527" y="175003"/>
                  </a:lnTo>
                  <a:lnTo>
                    <a:pt x="468907" y="153186"/>
                  </a:lnTo>
                  <a:close/>
                  <a:moveTo>
                    <a:pt x="43528" y="127935"/>
                  </a:moveTo>
                  <a:lnTo>
                    <a:pt x="87360" y="153197"/>
                  </a:lnTo>
                  <a:lnTo>
                    <a:pt x="74740" y="175002"/>
                  </a:lnTo>
                  <a:lnTo>
                    <a:pt x="30908" y="149836"/>
                  </a:lnTo>
                  <a:close/>
                  <a:moveTo>
                    <a:pt x="297059" y="76575"/>
                  </a:moveTo>
                  <a:cubicBezTo>
                    <a:pt x="336834" y="80411"/>
                    <a:pt x="374049" y="96623"/>
                    <a:pt x="404602" y="124032"/>
                  </a:cubicBezTo>
                  <a:cubicBezTo>
                    <a:pt x="444761" y="159808"/>
                    <a:pt x="467778" y="211357"/>
                    <a:pt x="467778" y="265117"/>
                  </a:cubicBezTo>
                  <a:cubicBezTo>
                    <a:pt x="467778" y="298874"/>
                    <a:pt x="458726" y="332053"/>
                    <a:pt x="441583" y="361098"/>
                  </a:cubicBezTo>
                  <a:cubicBezTo>
                    <a:pt x="418567" y="400144"/>
                    <a:pt x="402002" y="439767"/>
                    <a:pt x="391794" y="479775"/>
                  </a:cubicBezTo>
                  <a:lnTo>
                    <a:pt x="165285" y="479775"/>
                  </a:lnTo>
                  <a:cubicBezTo>
                    <a:pt x="155462" y="438709"/>
                    <a:pt x="139861" y="400529"/>
                    <a:pt x="118192" y="366676"/>
                  </a:cubicBezTo>
                  <a:cubicBezTo>
                    <a:pt x="94405" y="329649"/>
                    <a:pt x="84678" y="286660"/>
                    <a:pt x="89879" y="242420"/>
                  </a:cubicBezTo>
                  <a:cubicBezTo>
                    <a:pt x="99894" y="156057"/>
                    <a:pt x="170100" y="86524"/>
                    <a:pt x="256582" y="76907"/>
                  </a:cubicBezTo>
                  <a:cubicBezTo>
                    <a:pt x="270258" y="75392"/>
                    <a:pt x="283800" y="75296"/>
                    <a:pt x="297059" y="76575"/>
                  </a:cubicBezTo>
                  <a:close/>
                  <a:moveTo>
                    <a:pt x="150042" y="30978"/>
                  </a:moveTo>
                  <a:lnTo>
                    <a:pt x="175284" y="74605"/>
                  </a:lnTo>
                  <a:lnTo>
                    <a:pt x="153414" y="87289"/>
                  </a:lnTo>
                  <a:lnTo>
                    <a:pt x="128076" y="43566"/>
                  </a:lnTo>
                  <a:close/>
                  <a:moveTo>
                    <a:pt x="406225" y="30837"/>
                  </a:moveTo>
                  <a:lnTo>
                    <a:pt x="428191" y="43441"/>
                  </a:lnTo>
                  <a:lnTo>
                    <a:pt x="402853" y="87219"/>
                  </a:lnTo>
                  <a:lnTo>
                    <a:pt x="380983" y="74615"/>
                  </a:lnTo>
                  <a:close/>
                  <a:moveTo>
                    <a:pt x="265538" y="0"/>
                  </a:moveTo>
                  <a:lnTo>
                    <a:pt x="290730" y="0"/>
                  </a:lnTo>
                  <a:lnTo>
                    <a:pt x="290730" y="50525"/>
                  </a:lnTo>
                  <a:lnTo>
                    <a:pt x="265538" y="505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90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73" name="文本框 72"/>
          <p:cNvSpPr txBox="1"/>
          <p:nvPr/>
        </p:nvSpPr>
        <p:spPr>
          <a:xfrm>
            <a:off x="671195" y="2177415"/>
            <a:ext cx="459740" cy="268160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dirty="0">
                <a:sym typeface="+mn-ea"/>
              </a:rPr>
              <a:t>海伦公式求三角形面积</a:t>
            </a:r>
            <a:endParaRPr lang="zh-CN" altLang="en-US"/>
          </a:p>
        </p:txBody>
      </p:sp>
      <p:grpSp>
        <p:nvGrpSpPr>
          <p:cNvPr id="79" name="组合 78"/>
          <p:cNvGrpSpPr/>
          <p:nvPr/>
        </p:nvGrpSpPr>
        <p:grpSpPr>
          <a:xfrm>
            <a:off x="9243695" y="2177415"/>
            <a:ext cx="2552065" cy="2326640"/>
            <a:chOff x="14557" y="3429"/>
            <a:chExt cx="4019" cy="3664"/>
          </a:xfrm>
        </p:grpSpPr>
        <p:sp>
          <p:nvSpPr>
            <p:cNvPr id="78" name="椭圆形标注 77"/>
            <p:cNvSpPr/>
            <p:nvPr/>
          </p:nvSpPr>
          <p:spPr>
            <a:xfrm>
              <a:off x="14557" y="3429"/>
              <a:ext cx="4019" cy="3664"/>
            </a:xfrm>
            <a:prstGeom prst="wedgeEllipseCallout">
              <a:avLst>
                <a:gd name="adj1" fmla="val 31636"/>
                <a:gd name="adj2" fmla="val 56993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14888" y="3805"/>
              <a:ext cx="3344" cy="2663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l" fontAlgn="auto">
                <a:lnSpc>
                  <a:spcPct val="130000"/>
                </a:lnSpc>
              </a:pPr>
              <a:r>
                <a:rPr lang="en-US" altLang="zh-CN" sz="1600">
                  <a:sym typeface="+mn-ea"/>
                </a:rPr>
                <a:t>   </a:t>
              </a:r>
              <a:r>
                <a:rPr lang="en-US" altLang="zh-CN" sz="1600">
                  <a:solidFill>
                    <a:schemeClr val="bg1"/>
                  </a:solidFill>
                  <a:sym typeface="+mn-ea"/>
                </a:rPr>
                <a:t> </a:t>
              </a:r>
              <a:r>
                <a:rPr lang="zh-CN" altLang="en-US" sz="1600">
                  <a:solidFill>
                    <a:schemeClr val="bg1"/>
                  </a:solidFill>
                  <a:sym typeface="+mn-ea"/>
                </a:rPr>
                <a:t>打开上节课</a:t>
              </a:r>
              <a:r>
                <a:rPr lang="en-US" altLang="zh-CN" sz="1600">
                  <a:solidFill>
                    <a:schemeClr val="bg1"/>
                  </a:solidFill>
                  <a:sym typeface="+mn-ea"/>
                </a:rPr>
                <a:t>“</a:t>
              </a:r>
              <a:r>
                <a:rPr lang="zh-CN" altLang="en-US" sz="1600">
                  <a:solidFill>
                    <a:schemeClr val="bg1"/>
                  </a:solidFill>
                  <a:sym typeface="+mn-ea"/>
                </a:rPr>
                <a:t>计算三角形面积</a:t>
              </a:r>
              <a:r>
                <a:rPr lang="en-US" altLang="zh-CN" sz="1600">
                  <a:solidFill>
                    <a:schemeClr val="bg1"/>
                  </a:solidFill>
                  <a:sym typeface="+mn-ea"/>
                </a:rPr>
                <a:t>”python</a:t>
              </a:r>
              <a:r>
                <a:rPr lang="zh-CN" altLang="en-US" sz="1600">
                  <a:solidFill>
                    <a:schemeClr val="bg1"/>
                  </a:solidFill>
                  <a:sym typeface="+mn-ea"/>
                </a:rPr>
                <a:t>程序，添加上分支选择，注意条件中逻辑表达式的用法。</a:t>
              </a:r>
            </a:p>
          </p:txBody>
        </p:sp>
      </p:grpSp>
      <p:grpSp>
        <p:nvGrpSpPr>
          <p:cNvPr id="80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0262996">
            <a:off x="10538460" y="4991100"/>
            <a:ext cx="1336675" cy="630555"/>
            <a:chOff x="3558970" y="2488798"/>
            <a:chExt cx="5067710" cy="2391582"/>
          </a:xfrm>
        </p:grpSpPr>
        <p:sp>
          <p:nvSpPr>
            <p:cNvPr id="81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/>
              <a:t>简单分支结构程序设计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595432" y="206647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í$ḷíḑe"/>
          <p:cNvSpPr/>
          <p:nvPr/>
        </p:nvSpPr>
        <p:spPr bwMode="auto">
          <a:xfrm>
            <a:off x="2429510" y="1358900"/>
            <a:ext cx="7352665" cy="5012055"/>
          </a:xfrm>
          <a:prstGeom prst="rect">
            <a:avLst/>
          </a:prstGeom>
          <a:solidFill>
            <a:schemeClr val="accent3">
              <a:alpha val="10000"/>
            </a:schemeClr>
          </a:solidFill>
          <a:ln w="38100">
            <a:solidFill>
              <a:srgbClr val="F4A229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lnSpc>
                <a:spcPct val="150000"/>
              </a:lnSpc>
              <a:spcBef>
                <a:spcPct val="0"/>
              </a:spcBef>
            </a:pPr>
            <a:endParaRPr lang="en-US" altLang="zh-CN" sz="1200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104775"/>
            <a:ext cx="4325620" cy="1028700"/>
          </a:xfrm>
        </p:spPr>
        <p:txBody>
          <a:bodyPr/>
          <a:lstStyle/>
          <a:p>
            <a:r>
              <a:rPr lang="zh-CN" altLang="en-US" dirty="0"/>
              <a:t>简单分支结构程序设计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8179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18</a:t>
            </a:fld>
            <a:endParaRPr lang="zh-CN" altLang="en-US"/>
          </a:p>
        </p:txBody>
      </p:sp>
      <p:sp>
        <p:nvSpPr>
          <p:cNvPr id="13" name="îṡlíḓè"/>
          <p:cNvSpPr/>
          <p:nvPr/>
        </p:nvSpPr>
        <p:spPr bwMode="auto">
          <a:xfrm>
            <a:off x="2429510" y="2377440"/>
            <a:ext cx="7352665" cy="486410"/>
          </a:xfrm>
          <a:prstGeom prst="rect">
            <a:avLst/>
          </a:prstGeom>
          <a:solidFill>
            <a:srgbClr val="F4A229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执行效果</a:t>
            </a: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67469"/>
            <a:ext cx="730160" cy="730160"/>
          </a:xfrm>
          <a:prstGeom prst="rect">
            <a:avLst/>
          </a:prstGeom>
        </p:spPr>
      </p:pic>
      <p:pic>
        <p:nvPicPr>
          <p:cNvPr id="63" name="图片 62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16" name="登录">
            <a:hlinkClick r:id="" action="ppaction://media"/>
          </p:cNvPr>
          <p:cNvPicPr/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2477135" y="2887980"/>
            <a:ext cx="7249795" cy="3406775"/>
          </a:xfrm>
          <a:prstGeom prst="rect">
            <a:avLst/>
          </a:prstGeom>
        </p:spPr>
      </p:pic>
      <p:sp>
        <p:nvSpPr>
          <p:cNvPr id="17" name="îṡlíḓè"/>
          <p:cNvSpPr/>
          <p:nvPr/>
        </p:nvSpPr>
        <p:spPr bwMode="auto">
          <a:xfrm>
            <a:off x="2420620" y="1320165"/>
            <a:ext cx="7352030" cy="419100"/>
          </a:xfrm>
          <a:prstGeom prst="rect">
            <a:avLst/>
          </a:prstGeom>
          <a:solidFill>
            <a:srgbClr val="F4A229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任务描述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2770505" y="1833245"/>
            <a:ext cx="7352030" cy="4508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30000"/>
              </a:lnSpc>
            </a:pPr>
            <a:r>
              <a:rPr lang="zh-CN" altLang="en-US"/>
              <a:t>编写一个</a:t>
            </a:r>
            <a:r>
              <a:rPr lang="en-US" altLang="zh-CN"/>
              <a:t>“</a:t>
            </a:r>
            <a:r>
              <a:rPr lang="zh-CN" altLang="en-US"/>
              <a:t>登录程序</a:t>
            </a:r>
            <a:r>
              <a:rPr lang="en-US" altLang="zh-CN"/>
              <a:t>”</a:t>
            </a:r>
            <a:r>
              <a:rPr lang="zh-CN" altLang="en-US"/>
              <a:t>，实现：输入帐号和密码，校验是否正确。</a:t>
            </a:r>
          </a:p>
        </p:txBody>
      </p:sp>
      <p:pic>
        <p:nvPicPr>
          <p:cNvPr id="19" name="图片 18" descr="C:/Users/ADMINI~1/AppData/Local/Temp/kaimatting/20200825205802/output_aiMatting_20200825205818.pngoutput_aiMatting_202008252058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1850" y="1739265"/>
            <a:ext cx="864870" cy="8693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video>
              <p:cMediaNode>
                <p:cTn id="2" fill="hold" display="1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6"/>
                </p:tgtEl>
              </p:cMediaNode>
            </p:video>
            <p:seq concurrent="1" nextAc="seek">
              <p:cTn id="3" restart="whenNotActive" fill="hold" evtFilter="cancelBubble" nodeType="interactiveSeq">
                <p:stCondLst>
                  <p:cond evt="onClick" delay="0">
                    <p:tgtEl>
                      <p:spTgt spid="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" fill="hold">
                      <p:stCondLst>
                        <p:cond delay="0"/>
                      </p:stCondLst>
                      <p:childTnLst>
                        <p:par>
                          <p:cTn id="5" fill="hold">
                            <p:stCondLst>
                              <p:cond delay="0"/>
                            </p:stCondLst>
                            <p:childTnLst>
                              <p:par>
                                <p:cTn id="6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 additive="base">
                                        <p:cTn id="7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"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143510"/>
            <a:ext cx="4041140" cy="808990"/>
          </a:xfrm>
        </p:spPr>
        <p:txBody>
          <a:bodyPr/>
          <a:lstStyle/>
          <a:p>
            <a:r>
              <a:rPr lang="zh-CN" altLang="en-US" dirty="0"/>
              <a:t>简单分支结构程序设计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9</a:t>
            </a:fld>
            <a:endParaRPr lang="zh-CN" altLang="en-US"/>
          </a:p>
        </p:txBody>
      </p:sp>
      <p:grpSp>
        <p:nvGrpSpPr>
          <p:cNvPr id="10" name="组合 9"/>
          <p:cNvGrpSpPr/>
          <p:nvPr/>
        </p:nvGrpSpPr>
        <p:grpSpPr>
          <a:xfrm>
            <a:off x="0" y="2299335"/>
            <a:ext cx="3290570" cy="2039620"/>
            <a:chOff x="0" y="3621"/>
            <a:chExt cx="5182" cy="3212"/>
          </a:xfrm>
        </p:grpSpPr>
        <p:sp>
          <p:nvSpPr>
            <p:cNvPr id="111" name="iš1îḍê"/>
            <p:cNvSpPr/>
            <p:nvPr/>
          </p:nvSpPr>
          <p:spPr>
            <a:xfrm>
              <a:off x="3461" y="4241"/>
              <a:ext cx="1026" cy="1024"/>
            </a:xfrm>
            <a:custGeom>
              <a:avLst/>
              <a:gdLst>
                <a:gd name="T0" fmla="*/ 4263 w 11343"/>
                <a:gd name="T1" fmla="*/ 150 h 11330"/>
                <a:gd name="T2" fmla="*/ 2928 w 11343"/>
                <a:gd name="T3" fmla="*/ 1540 h 11330"/>
                <a:gd name="T4" fmla="*/ 2928 w 11343"/>
                <a:gd name="T5" fmla="*/ 2557 h 11330"/>
                <a:gd name="T6" fmla="*/ 5600 w 11343"/>
                <a:gd name="T7" fmla="*/ 2557 h 11330"/>
                <a:gd name="T8" fmla="*/ 5600 w 11343"/>
                <a:gd name="T9" fmla="*/ 2897 h 11330"/>
                <a:gd name="T10" fmla="*/ 1925 w 11343"/>
                <a:gd name="T11" fmla="*/ 2897 h 11330"/>
                <a:gd name="T12" fmla="*/ 255 w 11343"/>
                <a:gd name="T13" fmla="*/ 4253 h 11330"/>
                <a:gd name="T14" fmla="*/ 255 w 11343"/>
                <a:gd name="T15" fmla="*/ 6968 h 11330"/>
                <a:gd name="T16" fmla="*/ 1675 w 11343"/>
                <a:gd name="T17" fmla="*/ 8323 h 11330"/>
                <a:gd name="T18" fmla="*/ 2593 w 11343"/>
                <a:gd name="T19" fmla="*/ 8323 h 11330"/>
                <a:gd name="T20" fmla="*/ 2593 w 11343"/>
                <a:gd name="T21" fmla="*/ 7103 h 11330"/>
                <a:gd name="T22" fmla="*/ 4263 w 11343"/>
                <a:gd name="T23" fmla="*/ 5443 h 11330"/>
                <a:gd name="T24" fmla="*/ 6933 w 11343"/>
                <a:gd name="T25" fmla="*/ 5443 h 11330"/>
                <a:gd name="T26" fmla="*/ 8268 w 11343"/>
                <a:gd name="T27" fmla="*/ 4085 h 11330"/>
                <a:gd name="T28" fmla="*/ 8268 w 11343"/>
                <a:gd name="T29" fmla="*/ 1538 h 11330"/>
                <a:gd name="T30" fmla="*/ 6933 w 11343"/>
                <a:gd name="T31" fmla="*/ 148 h 11330"/>
                <a:gd name="T32" fmla="*/ 4263 w 11343"/>
                <a:gd name="T33" fmla="*/ 150 h 11330"/>
                <a:gd name="T34" fmla="*/ 4095 w 11343"/>
                <a:gd name="T35" fmla="*/ 860 h 11330"/>
                <a:gd name="T36" fmla="*/ 4598 w 11343"/>
                <a:gd name="T37" fmla="*/ 1370 h 11330"/>
                <a:gd name="T38" fmla="*/ 4095 w 11343"/>
                <a:gd name="T39" fmla="*/ 1877 h 11330"/>
                <a:gd name="T40" fmla="*/ 3593 w 11343"/>
                <a:gd name="T41" fmla="*/ 1370 h 11330"/>
                <a:gd name="T42" fmla="*/ 4095 w 11343"/>
                <a:gd name="T43" fmla="*/ 860 h 11330"/>
                <a:gd name="T44" fmla="*/ 8725 w 11343"/>
                <a:gd name="T45" fmla="*/ 2895 h 11330"/>
                <a:gd name="T46" fmla="*/ 8725 w 11343"/>
                <a:gd name="T47" fmla="*/ 4083 h 11330"/>
                <a:gd name="T48" fmla="*/ 7055 w 11343"/>
                <a:gd name="T49" fmla="*/ 5778 h 11330"/>
                <a:gd name="T50" fmla="*/ 4385 w 11343"/>
                <a:gd name="T51" fmla="*/ 5778 h 11330"/>
                <a:gd name="T52" fmla="*/ 3050 w 11343"/>
                <a:gd name="T53" fmla="*/ 7135 h 11330"/>
                <a:gd name="T54" fmla="*/ 3050 w 11343"/>
                <a:gd name="T55" fmla="*/ 9680 h 11330"/>
                <a:gd name="T56" fmla="*/ 4385 w 11343"/>
                <a:gd name="T57" fmla="*/ 11038 h 11330"/>
                <a:gd name="T58" fmla="*/ 7055 w 11343"/>
                <a:gd name="T59" fmla="*/ 11038 h 11330"/>
                <a:gd name="T60" fmla="*/ 8390 w 11343"/>
                <a:gd name="T61" fmla="*/ 9680 h 11330"/>
                <a:gd name="T62" fmla="*/ 8390 w 11343"/>
                <a:gd name="T63" fmla="*/ 8663 h 11330"/>
                <a:gd name="T64" fmla="*/ 5723 w 11343"/>
                <a:gd name="T65" fmla="*/ 8663 h 11330"/>
                <a:gd name="T66" fmla="*/ 5723 w 11343"/>
                <a:gd name="T67" fmla="*/ 8323 h 11330"/>
                <a:gd name="T68" fmla="*/ 9728 w 11343"/>
                <a:gd name="T69" fmla="*/ 8323 h 11330"/>
                <a:gd name="T70" fmla="*/ 11063 w 11343"/>
                <a:gd name="T71" fmla="*/ 6968 h 11330"/>
                <a:gd name="T72" fmla="*/ 11063 w 11343"/>
                <a:gd name="T73" fmla="*/ 4253 h 11330"/>
                <a:gd name="T74" fmla="*/ 9728 w 11343"/>
                <a:gd name="T75" fmla="*/ 2898 h 11330"/>
                <a:gd name="T76" fmla="*/ 8725 w 11343"/>
                <a:gd name="T77" fmla="*/ 2898 h 11330"/>
                <a:gd name="T78" fmla="*/ 8725 w 11343"/>
                <a:gd name="T79" fmla="*/ 2895 h 11330"/>
                <a:gd name="T80" fmla="*/ 7223 w 11343"/>
                <a:gd name="T81" fmla="*/ 9340 h 11330"/>
                <a:gd name="T82" fmla="*/ 7725 w 11343"/>
                <a:gd name="T83" fmla="*/ 9848 h 11330"/>
                <a:gd name="T84" fmla="*/ 7223 w 11343"/>
                <a:gd name="T85" fmla="*/ 10358 h 11330"/>
                <a:gd name="T86" fmla="*/ 6720 w 11343"/>
                <a:gd name="T87" fmla="*/ 9848 h 11330"/>
                <a:gd name="T88" fmla="*/ 7223 w 11343"/>
                <a:gd name="T89" fmla="*/ 9340 h 1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343" h="11330">
                  <a:moveTo>
                    <a:pt x="4263" y="150"/>
                  </a:moveTo>
                  <a:cubicBezTo>
                    <a:pt x="3133" y="350"/>
                    <a:pt x="2928" y="767"/>
                    <a:pt x="2928" y="1540"/>
                  </a:cubicBezTo>
                  <a:lnTo>
                    <a:pt x="2928" y="2557"/>
                  </a:lnTo>
                  <a:lnTo>
                    <a:pt x="5600" y="2557"/>
                  </a:lnTo>
                  <a:lnTo>
                    <a:pt x="5600" y="2897"/>
                  </a:lnTo>
                  <a:lnTo>
                    <a:pt x="1925" y="2897"/>
                  </a:lnTo>
                  <a:cubicBezTo>
                    <a:pt x="1148" y="2897"/>
                    <a:pt x="468" y="3365"/>
                    <a:pt x="255" y="4253"/>
                  </a:cubicBezTo>
                  <a:cubicBezTo>
                    <a:pt x="10" y="5270"/>
                    <a:pt x="0" y="5905"/>
                    <a:pt x="255" y="6968"/>
                  </a:cubicBezTo>
                  <a:cubicBezTo>
                    <a:pt x="445" y="7758"/>
                    <a:pt x="898" y="8323"/>
                    <a:pt x="1675" y="8323"/>
                  </a:cubicBezTo>
                  <a:lnTo>
                    <a:pt x="2593" y="8323"/>
                  </a:lnTo>
                  <a:lnTo>
                    <a:pt x="2593" y="7103"/>
                  </a:lnTo>
                  <a:cubicBezTo>
                    <a:pt x="2593" y="6220"/>
                    <a:pt x="3355" y="5443"/>
                    <a:pt x="4263" y="5443"/>
                  </a:cubicBezTo>
                  <a:lnTo>
                    <a:pt x="6933" y="5443"/>
                  </a:lnTo>
                  <a:cubicBezTo>
                    <a:pt x="7675" y="5443"/>
                    <a:pt x="8268" y="4830"/>
                    <a:pt x="8268" y="4085"/>
                  </a:cubicBezTo>
                  <a:lnTo>
                    <a:pt x="8268" y="1538"/>
                  </a:lnTo>
                  <a:cubicBezTo>
                    <a:pt x="8268" y="813"/>
                    <a:pt x="7658" y="270"/>
                    <a:pt x="6933" y="148"/>
                  </a:cubicBezTo>
                  <a:cubicBezTo>
                    <a:pt x="6038" y="0"/>
                    <a:pt x="5065" y="8"/>
                    <a:pt x="4263" y="150"/>
                  </a:cubicBezTo>
                  <a:close/>
                  <a:moveTo>
                    <a:pt x="4095" y="860"/>
                  </a:moveTo>
                  <a:cubicBezTo>
                    <a:pt x="4370" y="860"/>
                    <a:pt x="4598" y="1090"/>
                    <a:pt x="4598" y="1370"/>
                  </a:cubicBezTo>
                  <a:cubicBezTo>
                    <a:pt x="4598" y="1650"/>
                    <a:pt x="4373" y="1877"/>
                    <a:pt x="4095" y="1877"/>
                  </a:cubicBezTo>
                  <a:cubicBezTo>
                    <a:pt x="3818" y="1877"/>
                    <a:pt x="3593" y="1650"/>
                    <a:pt x="3593" y="1370"/>
                  </a:cubicBezTo>
                  <a:cubicBezTo>
                    <a:pt x="3595" y="1087"/>
                    <a:pt x="3818" y="860"/>
                    <a:pt x="4095" y="860"/>
                  </a:cubicBezTo>
                  <a:close/>
                  <a:moveTo>
                    <a:pt x="8725" y="2895"/>
                  </a:moveTo>
                  <a:lnTo>
                    <a:pt x="8725" y="4083"/>
                  </a:lnTo>
                  <a:cubicBezTo>
                    <a:pt x="8725" y="5003"/>
                    <a:pt x="7945" y="5778"/>
                    <a:pt x="7055" y="5778"/>
                  </a:cubicBezTo>
                  <a:lnTo>
                    <a:pt x="4385" y="5778"/>
                  </a:lnTo>
                  <a:cubicBezTo>
                    <a:pt x="3655" y="5778"/>
                    <a:pt x="3050" y="6403"/>
                    <a:pt x="3050" y="7135"/>
                  </a:cubicBezTo>
                  <a:lnTo>
                    <a:pt x="3050" y="9680"/>
                  </a:lnTo>
                  <a:cubicBezTo>
                    <a:pt x="3050" y="10405"/>
                    <a:pt x="3680" y="10830"/>
                    <a:pt x="4385" y="11038"/>
                  </a:cubicBezTo>
                  <a:cubicBezTo>
                    <a:pt x="5230" y="11285"/>
                    <a:pt x="6043" y="11330"/>
                    <a:pt x="7055" y="11038"/>
                  </a:cubicBezTo>
                  <a:cubicBezTo>
                    <a:pt x="7728" y="10843"/>
                    <a:pt x="8390" y="10450"/>
                    <a:pt x="8390" y="9680"/>
                  </a:cubicBezTo>
                  <a:lnTo>
                    <a:pt x="8390" y="8663"/>
                  </a:lnTo>
                  <a:lnTo>
                    <a:pt x="5723" y="8663"/>
                  </a:lnTo>
                  <a:lnTo>
                    <a:pt x="5723" y="8323"/>
                  </a:lnTo>
                  <a:lnTo>
                    <a:pt x="9728" y="8323"/>
                  </a:lnTo>
                  <a:cubicBezTo>
                    <a:pt x="10505" y="8323"/>
                    <a:pt x="10793" y="7780"/>
                    <a:pt x="11063" y="6968"/>
                  </a:cubicBezTo>
                  <a:cubicBezTo>
                    <a:pt x="11343" y="6130"/>
                    <a:pt x="11330" y="5325"/>
                    <a:pt x="11063" y="4253"/>
                  </a:cubicBezTo>
                  <a:cubicBezTo>
                    <a:pt x="10870" y="3480"/>
                    <a:pt x="10505" y="2898"/>
                    <a:pt x="9728" y="2898"/>
                  </a:cubicBezTo>
                  <a:lnTo>
                    <a:pt x="8725" y="2898"/>
                  </a:lnTo>
                  <a:lnTo>
                    <a:pt x="8725" y="2895"/>
                  </a:lnTo>
                  <a:close/>
                  <a:moveTo>
                    <a:pt x="7223" y="9340"/>
                  </a:moveTo>
                  <a:cubicBezTo>
                    <a:pt x="7500" y="9340"/>
                    <a:pt x="7725" y="9568"/>
                    <a:pt x="7725" y="9848"/>
                  </a:cubicBezTo>
                  <a:cubicBezTo>
                    <a:pt x="7725" y="10130"/>
                    <a:pt x="7500" y="10358"/>
                    <a:pt x="7223" y="10358"/>
                  </a:cubicBezTo>
                  <a:cubicBezTo>
                    <a:pt x="6948" y="10358"/>
                    <a:pt x="6720" y="10128"/>
                    <a:pt x="6720" y="9848"/>
                  </a:cubicBezTo>
                  <a:cubicBezTo>
                    <a:pt x="6723" y="9565"/>
                    <a:pt x="6948" y="9340"/>
                    <a:pt x="7223" y="9340"/>
                  </a:cubicBezTo>
                  <a:close/>
                </a:path>
              </a:pathLst>
            </a:custGeom>
            <a:solidFill>
              <a:schemeClr val="accent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5" name="组合 4"/>
            <p:cNvGrpSpPr/>
            <p:nvPr/>
          </p:nvGrpSpPr>
          <p:grpSpPr>
            <a:xfrm>
              <a:off x="0" y="3621"/>
              <a:ext cx="5183" cy="3213"/>
              <a:chOff x="0" y="3621"/>
              <a:chExt cx="5183" cy="3213"/>
            </a:xfrm>
          </p:grpSpPr>
          <p:sp>
            <p:nvSpPr>
              <p:cNvPr id="110" name="iṡľîḋê"/>
              <p:cNvSpPr/>
              <p:nvPr/>
            </p:nvSpPr>
            <p:spPr>
              <a:xfrm>
                <a:off x="2842" y="3621"/>
                <a:ext cx="2265" cy="2265"/>
              </a:xfrm>
              <a:prstGeom prst="ellipse">
                <a:avLst/>
              </a:prstGeom>
              <a:noFill/>
              <a:ln w="6350" cap="rnd">
                <a:solidFill>
                  <a:schemeClr val="bg1">
                    <a:lumMod val="85000"/>
                  </a:schemeClr>
                </a:solidFill>
                <a:prstDash val="sysDash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118" name="直接连接符 117"/>
              <p:cNvCxnSpPr>
                <a:endCxn id="110" idx="2"/>
              </p:cNvCxnSpPr>
              <p:nvPr/>
            </p:nvCxnSpPr>
            <p:spPr>
              <a:xfrm>
                <a:off x="0" y="4753"/>
                <a:ext cx="2842" cy="0"/>
              </a:xfrm>
              <a:prstGeom prst="line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prstDash val="sysDash"/>
                <a:round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4" name="ísḷîḑê"/>
              <p:cNvSpPr/>
              <p:nvPr/>
            </p:nvSpPr>
            <p:spPr>
              <a:xfrm>
                <a:off x="2763" y="6218"/>
                <a:ext cx="2421" cy="617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id-ID" sz="2000" b="1" dirty="0">
                    <a:solidFill>
                      <a:schemeClr val="tx1"/>
                    </a:solidFill>
                  </a:rPr>
                  <a:t>问题分析</a:t>
                </a:r>
              </a:p>
            </p:txBody>
          </p:sp>
        </p:grpSp>
      </p:grpSp>
      <p:grpSp>
        <p:nvGrpSpPr>
          <p:cNvPr id="6" name="组合 5"/>
          <p:cNvGrpSpPr/>
          <p:nvPr/>
        </p:nvGrpSpPr>
        <p:grpSpPr>
          <a:xfrm>
            <a:off x="3242310" y="2299335"/>
            <a:ext cx="2426335" cy="2040255"/>
            <a:chOff x="5106" y="3621"/>
            <a:chExt cx="3821" cy="3213"/>
          </a:xfrm>
        </p:grpSpPr>
        <p:sp>
          <p:nvSpPr>
            <p:cNvPr id="112" name="ïṩ1îdé"/>
            <p:cNvSpPr/>
            <p:nvPr/>
          </p:nvSpPr>
          <p:spPr>
            <a:xfrm>
              <a:off x="6586" y="3621"/>
              <a:ext cx="2265" cy="2265"/>
            </a:xfrm>
            <a:prstGeom prst="ellipse">
              <a:avLst/>
            </a:prstGeom>
            <a:noFill/>
            <a:ln w="6350" cap="rnd">
              <a:solidFill>
                <a:schemeClr val="bg1">
                  <a:lumMod val="85000"/>
                </a:schemeClr>
              </a:solidFill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13" name="iŝ1iḑé"/>
            <p:cNvSpPr/>
            <p:nvPr/>
          </p:nvSpPr>
          <p:spPr>
            <a:xfrm>
              <a:off x="7205" y="4241"/>
              <a:ext cx="1026" cy="1024"/>
            </a:xfrm>
            <a:custGeom>
              <a:avLst/>
              <a:gdLst>
                <a:gd name="T0" fmla="*/ 4263 w 11343"/>
                <a:gd name="T1" fmla="*/ 150 h 11330"/>
                <a:gd name="T2" fmla="*/ 2928 w 11343"/>
                <a:gd name="T3" fmla="*/ 1540 h 11330"/>
                <a:gd name="T4" fmla="*/ 2928 w 11343"/>
                <a:gd name="T5" fmla="*/ 2557 h 11330"/>
                <a:gd name="T6" fmla="*/ 5600 w 11343"/>
                <a:gd name="T7" fmla="*/ 2557 h 11330"/>
                <a:gd name="T8" fmla="*/ 5600 w 11343"/>
                <a:gd name="T9" fmla="*/ 2897 h 11330"/>
                <a:gd name="T10" fmla="*/ 1925 w 11343"/>
                <a:gd name="T11" fmla="*/ 2897 h 11330"/>
                <a:gd name="T12" fmla="*/ 255 w 11343"/>
                <a:gd name="T13" fmla="*/ 4253 h 11330"/>
                <a:gd name="T14" fmla="*/ 255 w 11343"/>
                <a:gd name="T15" fmla="*/ 6968 h 11330"/>
                <a:gd name="T16" fmla="*/ 1675 w 11343"/>
                <a:gd name="T17" fmla="*/ 8323 h 11330"/>
                <a:gd name="T18" fmla="*/ 2593 w 11343"/>
                <a:gd name="T19" fmla="*/ 8323 h 11330"/>
                <a:gd name="T20" fmla="*/ 2593 w 11343"/>
                <a:gd name="T21" fmla="*/ 7103 h 11330"/>
                <a:gd name="T22" fmla="*/ 4263 w 11343"/>
                <a:gd name="T23" fmla="*/ 5443 h 11330"/>
                <a:gd name="T24" fmla="*/ 6933 w 11343"/>
                <a:gd name="T25" fmla="*/ 5443 h 11330"/>
                <a:gd name="T26" fmla="*/ 8268 w 11343"/>
                <a:gd name="T27" fmla="*/ 4085 h 11330"/>
                <a:gd name="T28" fmla="*/ 8268 w 11343"/>
                <a:gd name="T29" fmla="*/ 1538 h 11330"/>
                <a:gd name="T30" fmla="*/ 6933 w 11343"/>
                <a:gd name="T31" fmla="*/ 148 h 11330"/>
                <a:gd name="T32" fmla="*/ 4263 w 11343"/>
                <a:gd name="T33" fmla="*/ 150 h 11330"/>
                <a:gd name="T34" fmla="*/ 4095 w 11343"/>
                <a:gd name="T35" fmla="*/ 860 h 11330"/>
                <a:gd name="T36" fmla="*/ 4598 w 11343"/>
                <a:gd name="T37" fmla="*/ 1370 h 11330"/>
                <a:gd name="T38" fmla="*/ 4095 w 11343"/>
                <a:gd name="T39" fmla="*/ 1877 h 11330"/>
                <a:gd name="T40" fmla="*/ 3593 w 11343"/>
                <a:gd name="T41" fmla="*/ 1370 h 11330"/>
                <a:gd name="T42" fmla="*/ 4095 w 11343"/>
                <a:gd name="T43" fmla="*/ 860 h 11330"/>
                <a:gd name="T44" fmla="*/ 8725 w 11343"/>
                <a:gd name="T45" fmla="*/ 2895 h 11330"/>
                <a:gd name="T46" fmla="*/ 8725 w 11343"/>
                <a:gd name="T47" fmla="*/ 4083 h 11330"/>
                <a:gd name="T48" fmla="*/ 7055 w 11343"/>
                <a:gd name="T49" fmla="*/ 5778 h 11330"/>
                <a:gd name="T50" fmla="*/ 4385 w 11343"/>
                <a:gd name="T51" fmla="*/ 5778 h 11330"/>
                <a:gd name="T52" fmla="*/ 3050 w 11343"/>
                <a:gd name="T53" fmla="*/ 7135 h 11330"/>
                <a:gd name="T54" fmla="*/ 3050 w 11343"/>
                <a:gd name="T55" fmla="*/ 9680 h 11330"/>
                <a:gd name="T56" fmla="*/ 4385 w 11343"/>
                <a:gd name="T57" fmla="*/ 11038 h 11330"/>
                <a:gd name="T58" fmla="*/ 7055 w 11343"/>
                <a:gd name="T59" fmla="*/ 11038 h 11330"/>
                <a:gd name="T60" fmla="*/ 8390 w 11343"/>
                <a:gd name="T61" fmla="*/ 9680 h 11330"/>
                <a:gd name="T62" fmla="*/ 8390 w 11343"/>
                <a:gd name="T63" fmla="*/ 8663 h 11330"/>
                <a:gd name="T64" fmla="*/ 5723 w 11343"/>
                <a:gd name="T65" fmla="*/ 8663 h 11330"/>
                <a:gd name="T66" fmla="*/ 5723 w 11343"/>
                <a:gd name="T67" fmla="*/ 8323 h 11330"/>
                <a:gd name="T68" fmla="*/ 9728 w 11343"/>
                <a:gd name="T69" fmla="*/ 8323 h 11330"/>
                <a:gd name="T70" fmla="*/ 11063 w 11343"/>
                <a:gd name="T71" fmla="*/ 6968 h 11330"/>
                <a:gd name="T72" fmla="*/ 11063 w 11343"/>
                <a:gd name="T73" fmla="*/ 4253 h 11330"/>
                <a:gd name="T74" fmla="*/ 9728 w 11343"/>
                <a:gd name="T75" fmla="*/ 2898 h 11330"/>
                <a:gd name="T76" fmla="*/ 8725 w 11343"/>
                <a:gd name="T77" fmla="*/ 2898 h 11330"/>
                <a:gd name="T78" fmla="*/ 8725 w 11343"/>
                <a:gd name="T79" fmla="*/ 2895 h 11330"/>
                <a:gd name="T80" fmla="*/ 7223 w 11343"/>
                <a:gd name="T81" fmla="*/ 9340 h 11330"/>
                <a:gd name="T82" fmla="*/ 7725 w 11343"/>
                <a:gd name="T83" fmla="*/ 9848 h 11330"/>
                <a:gd name="T84" fmla="*/ 7223 w 11343"/>
                <a:gd name="T85" fmla="*/ 10358 h 11330"/>
                <a:gd name="T86" fmla="*/ 6720 w 11343"/>
                <a:gd name="T87" fmla="*/ 9848 h 11330"/>
                <a:gd name="T88" fmla="*/ 7223 w 11343"/>
                <a:gd name="T89" fmla="*/ 9340 h 1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343" h="11330">
                  <a:moveTo>
                    <a:pt x="4263" y="150"/>
                  </a:moveTo>
                  <a:cubicBezTo>
                    <a:pt x="3133" y="350"/>
                    <a:pt x="2928" y="767"/>
                    <a:pt x="2928" y="1540"/>
                  </a:cubicBezTo>
                  <a:lnTo>
                    <a:pt x="2928" y="2557"/>
                  </a:lnTo>
                  <a:lnTo>
                    <a:pt x="5600" y="2557"/>
                  </a:lnTo>
                  <a:lnTo>
                    <a:pt x="5600" y="2897"/>
                  </a:lnTo>
                  <a:lnTo>
                    <a:pt x="1925" y="2897"/>
                  </a:lnTo>
                  <a:cubicBezTo>
                    <a:pt x="1148" y="2897"/>
                    <a:pt x="468" y="3365"/>
                    <a:pt x="255" y="4253"/>
                  </a:cubicBezTo>
                  <a:cubicBezTo>
                    <a:pt x="10" y="5270"/>
                    <a:pt x="0" y="5905"/>
                    <a:pt x="255" y="6968"/>
                  </a:cubicBezTo>
                  <a:cubicBezTo>
                    <a:pt x="445" y="7758"/>
                    <a:pt x="898" y="8323"/>
                    <a:pt x="1675" y="8323"/>
                  </a:cubicBezTo>
                  <a:lnTo>
                    <a:pt x="2593" y="8323"/>
                  </a:lnTo>
                  <a:lnTo>
                    <a:pt x="2593" y="7103"/>
                  </a:lnTo>
                  <a:cubicBezTo>
                    <a:pt x="2593" y="6220"/>
                    <a:pt x="3355" y="5443"/>
                    <a:pt x="4263" y="5443"/>
                  </a:cubicBezTo>
                  <a:lnTo>
                    <a:pt x="6933" y="5443"/>
                  </a:lnTo>
                  <a:cubicBezTo>
                    <a:pt x="7675" y="5443"/>
                    <a:pt x="8268" y="4830"/>
                    <a:pt x="8268" y="4085"/>
                  </a:cubicBezTo>
                  <a:lnTo>
                    <a:pt x="8268" y="1538"/>
                  </a:lnTo>
                  <a:cubicBezTo>
                    <a:pt x="8268" y="813"/>
                    <a:pt x="7658" y="270"/>
                    <a:pt x="6933" y="148"/>
                  </a:cubicBezTo>
                  <a:cubicBezTo>
                    <a:pt x="6038" y="0"/>
                    <a:pt x="5065" y="8"/>
                    <a:pt x="4263" y="150"/>
                  </a:cubicBezTo>
                  <a:close/>
                  <a:moveTo>
                    <a:pt x="4095" y="860"/>
                  </a:moveTo>
                  <a:cubicBezTo>
                    <a:pt x="4370" y="860"/>
                    <a:pt x="4598" y="1090"/>
                    <a:pt x="4598" y="1370"/>
                  </a:cubicBezTo>
                  <a:cubicBezTo>
                    <a:pt x="4598" y="1650"/>
                    <a:pt x="4373" y="1877"/>
                    <a:pt x="4095" y="1877"/>
                  </a:cubicBezTo>
                  <a:cubicBezTo>
                    <a:pt x="3818" y="1877"/>
                    <a:pt x="3593" y="1650"/>
                    <a:pt x="3593" y="1370"/>
                  </a:cubicBezTo>
                  <a:cubicBezTo>
                    <a:pt x="3595" y="1087"/>
                    <a:pt x="3818" y="860"/>
                    <a:pt x="4095" y="860"/>
                  </a:cubicBezTo>
                  <a:close/>
                  <a:moveTo>
                    <a:pt x="8725" y="2895"/>
                  </a:moveTo>
                  <a:lnTo>
                    <a:pt x="8725" y="4083"/>
                  </a:lnTo>
                  <a:cubicBezTo>
                    <a:pt x="8725" y="5003"/>
                    <a:pt x="7945" y="5778"/>
                    <a:pt x="7055" y="5778"/>
                  </a:cubicBezTo>
                  <a:lnTo>
                    <a:pt x="4385" y="5778"/>
                  </a:lnTo>
                  <a:cubicBezTo>
                    <a:pt x="3655" y="5778"/>
                    <a:pt x="3050" y="6403"/>
                    <a:pt x="3050" y="7135"/>
                  </a:cubicBezTo>
                  <a:lnTo>
                    <a:pt x="3050" y="9680"/>
                  </a:lnTo>
                  <a:cubicBezTo>
                    <a:pt x="3050" y="10405"/>
                    <a:pt x="3680" y="10830"/>
                    <a:pt x="4385" y="11038"/>
                  </a:cubicBezTo>
                  <a:cubicBezTo>
                    <a:pt x="5230" y="11285"/>
                    <a:pt x="6043" y="11330"/>
                    <a:pt x="7055" y="11038"/>
                  </a:cubicBezTo>
                  <a:cubicBezTo>
                    <a:pt x="7728" y="10843"/>
                    <a:pt x="8390" y="10450"/>
                    <a:pt x="8390" y="9680"/>
                  </a:cubicBezTo>
                  <a:lnTo>
                    <a:pt x="8390" y="8663"/>
                  </a:lnTo>
                  <a:lnTo>
                    <a:pt x="5723" y="8663"/>
                  </a:lnTo>
                  <a:lnTo>
                    <a:pt x="5723" y="8323"/>
                  </a:lnTo>
                  <a:lnTo>
                    <a:pt x="9728" y="8323"/>
                  </a:lnTo>
                  <a:cubicBezTo>
                    <a:pt x="10505" y="8323"/>
                    <a:pt x="10793" y="7780"/>
                    <a:pt x="11063" y="6968"/>
                  </a:cubicBezTo>
                  <a:cubicBezTo>
                    <a:pt x="11343" y="6130"/>
                    <a:pt x="11330" y="5325"/>
                    <a:pt x="11063" y="4253"/>
                  </a:cubicBezTo>
                  <a:cubicBezTo>
                    <a:pt x="10870" y="3480"/>
                    <a:pt x="10505" y="2898"/>
                    <a:pt x="9728" y="2898"/>
                  </a:cubicBezTo>
                  <a:lnTo>
                    <a:pt x="8725" y="2898"/>
                  </a:lnTo>
                  <a:lnTo>
                    <a:pt x="8725" y="2895"/>
                  </a:lnTo>
                  <a:close/>
                  <a:moveTo>
                    <a:pt x="7223" y="9340"/>
                  </a:moveTo>
                  <a:cubicBezTo>
                    <a:pt x="7500" y="9340"/>
                    <a:pt x="7725" y="9568"/>
                    <a:pt x="7725" y="9848"/>
                  </a:cubicBezTo>
                  <a:cubicBezTo>
                    <a:pt x="7725" y="10130"/>
                    <a:pt x="7500" y="10358"/>
                    <a:pt x="7223" y="10358"/>
                  </a:cubicBezTo>
                  <a:cubicBezTo>
                    <a:pt x="6948" y="10358"/>
                    <a:pt x="6720" y="10128"/>
                    <a:pt x="6720" y="9848"/>
                  </a:cubicBezTo>
                  <a:cubicBezTo>
                    <a:pt x="6723" y="9565"/>
                    <a:pt x="6948" y="9340"/>
                    <a:pt x="7223" y="9340"/>
                  </a:cubicBezTo>
                  <a:close/>
                </a:path>
              </a:pathLst>
            </a:custGeom>
            <a:solidFill>
              <a:schemeClr val="accent2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cxnSp>
          <p:nvCxnSpPr>
            <p:cNvPr id="120" name="直接连接符 119"/>
            <p:cNvCxnSpPr>
              <a:stCxn id="110" idx="6"/>
              <a:endCxn id="112" idx="2"/>
            </p:cNvCxnSpPr>
            <p:nvPr/>
          </p:nvCxnSpPr>
          <p:spPr>
            <a:xfrm>
              <a:off x="5106" y="4753"/>
              <a:ext cx="1479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islîḋê"/>
            <p:cNvSpPr/>
            <p:nvPr/>
          </p:nvSpPr>
          <p:spPr>
            <a:xfrm>
              <a:off x="6507" y="6218"/>
              <a:ext cx="2421" cy="617"/>
            </a:xfrm>
            <a:prstGeom prst="rect">
              <a:avLst/>
            </a:prstGeom>
            <a:noFill/>
            <a:ln w="3175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id-ID" sz="2000" b="1" dirty="0">
                  <a:solidFill>
                    <a:schemeClr val="tx1"/>
                  </a:solidFill>
                </a:rPr>
                <a:t>算法设计</a:t>
              </a: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5619750" y="2299335"/>
            <a:ext cx="2426335" cy="2040255"/>
            <a:chOff x="8850" y="3621"/>
            <a:chExt cx="3821" cy="3213"/>
          </a:xfrm>
        </p:grpSpPr>
        <p:sp>
          <p:nvSpPr>
            <p:cNvPr id="114" name="ïślîḋe"/>
            <p:cNvSpPr/>
            <p:nvPr/>
          </p:nvSpPr>
          <p:spPr>
            <a:xfrm>
              <a:off x="10330" y="3621"/>
              <a:ext cx="2265" cy="2265"/>
            </a:xfrm>
            <a:prstGeom prst="ellipse">
              <a:avLst/>
            </a:prstGeom>
            <a:noFill/>
            <a:ln w="6350" cap="rnd">
              <a:solidFill>
                <a:schemeClr val="bg1">
                  <a:lumMod val="85000"/>
                </a:schemeClr>
              </a:solidFill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15" name="íśḻïḋé"/>
            <p:cNvSpPr/>
            <p:nvPr/>
          </p:nvSpPr>
          <p:spPr>
            <a:xfrm>
              <a:off x="10949" y="4241"/>
              <a:ext cx="1026" cy="1024"/>
            </a:xfrm>
            <a:custGeom>
              <a:avLst/>
              <a:gdLst>
                <a:gd name="T0" fmla="*/ 4263 w 11343"/>
                <a:gd name="T1" fmla="*/ 150 h 11330"/>
                <a:gd name="T2" fmla="*/ 2928 w 11343"/>
                <a:gd name="T3" fmla="*/ 1540 h 11330"/>
                <a:gd name="T4" fmla="*/ 2928 w 11343"/>
                <a:gd name="T5" fmla="*/ 2557 h 11330"/>
                <a:gd name="T6" fmla="*/ 5600 w 11343"/>
                <a:gd name="T7" fmla="*/ 2557 h 11330"/>
                <a:gd name="T8" fmla="*/ 5600 w 11343"/>
                <a:gd name="T9" fmla="*/ 2897 h 11330"/>
                <a:gd name="T10" fmla="*/ 1925 w 11343"/>
                <a:gd name="T11" fmla="*/ 2897 h 11330"/>
                <a:gd name="T12" fmla="*/ 255 w 11343"/>
                <a:gd name="T13" fmla="*/ 4253 h 11330"/>
                <a:gd name="T14" fmla="*/ 255 w 11343"/>
                <a:gd name="T15" fmla="*/ 6968 h 11330"/>
                <a:gd name="T16" fmla="*/ 1675 w 11343"/>
                <a:gd name="T17" fmla="*/ 8323 h 11330"/>
                <a:gd name="T18" fmla="*/ 2593 w 11343"/>
                <a:gd name="T19" fmla="*/ 8323 h 11330"/>
                <a:gd name="T20" fmla="*/ 2593 w 11343"/>
                <a:gd name="T21" fmla="*/ 7103 h 11330"/>
                <a:gd name="T22" fmla="*/ 4263 w 11343"/>
                <a:gd name="T23" fmla="*/ 5443 h 11330"/>
                <a:gd name="T24" fmla="*/ 6933 w 11343"/>
                <a:gd name="T25" fmla="*/ 5443 h 11330"/>
                <a:gd name="T26" fmla="*/ 8268 w 11343"/>
                <a:gd name="T27" fmla="*/ 4085 h 11330"/>
                <a:gd name="T28" fmla="*/ 8268 w 11343"/>
                <a:gd name="T29" fmla="*/ 1538 h 11330"/>
                <a:gd name="T30" fmla="*/ 6933 w 11343"/>
                <a:gd name="T31" fmla="*/ 148 h 11330"/>
                <a:gd name="T32" fmla="*/ 4263 w 11343"/>
                <a:gd name="T33" fmla="*/ 150 h 11330"/>
                <a:gd name="T34" fmla="*/ 4095 w 11343"/>
                <a:gd name="T35" fmla="*/ 860 h 11330"/>
                <a:gd name="T36" fmla="*/ 4598 w 11343"/>
                <a:gd name="T37" fmla="*/ 1370 h 11330"/>
                <a:gd name="T38" fmla="*/ 4095 w 11343"/>
                <a:gd name="T39" fmla="*/ 1877 h 11330"/>
                <a:gd name="T40" fmla="*/ 3593 w 11343"/>
                <a:gd name="T41" fmla="*/ 1370 h 11330"/>
                <a:gd name="T42" fmla="*/ 4095 w 11343"/>
                <a:gd name="T43" fmla="*/ 860 h 11330"/>
                <a:gd name="T44" fmla="*/ 8725 w 11343"/>
                <a:gd name="T45" fmla="*/ 2895 h 11330"/>
                <a:gd name="T46" fmla="*/ 8725 w 11343"/>
                <a:gd name="T47" fmla="*/ 4083 h 11330"/>
                <a:gd name="T48" fmla="*/ 7055 w 11343"/>
                <a:gd name="T49" fmla="*/ 5778 h 11330"/>
                <a:gd name="T50" fmla="*/ 4385 w 11343"/>
                <a:gd name="T51" fmla="*/ 5778 h 11330"/>
                <a:gd name="T52" fmla="*/ 3050 w 11343"/>
                <a:gd name="T53" fmla="*/ 7135 h 11330"/>
                <a:gd name="T54" fmla="*/ 3050 w 11343"/>
                <a:gd name="T55" fmla="*/ 9680 h 11330"/>
                <a:gd name="T56" fmla="*/ 4385 w 11343"/>
                <a:gd name="T57" fmla="*/ 11038 h 11330"/>
                <a:gd name="T58" fmla="*/ 7055 w 11343"/>
                <a:gd name="T59" fmla="*/ 11038 h 11330"/>
                <a:gd name="T60" fmla="*/ 8390 w 11343"/>
                <a:gd name="T61" fmla="*/ 9680 h 11330"/>
                <a:gd name="T62" fmla="*/ 8390 w 11343"/>
                <a:gd name="T63" fmla="*/ 8663 h 11330"/>
                <a:gd name="T64" fmla="*/ 5723 w 11343"/>
                <a:gd name="T65" fmla="*/ 8663 h 11330"/>
                <a:gd name="T66" fmla="*/ 5723 w 11343"/>
                <a:gd name="T67" fmla="*/ 8323 h 11330"/>
                <a:gd name="T68" fmla="*/ 9728 w 11343"/>
                <a:gd name="T69" fmla="*/ 8323 h 11330"/>
                <a:gd name="T70" fmla="*/ 11063 w 11343"/>
                <a:gd name="T71" fmla="*/ 6968 h 11330"/>
                <a:gd name="T72" fmla="*/ 11063 w 11343"/>
                <a:gd name="T73" fmla="*/ 4253 h 11330"/>
                <a:gd name="T74" fmla="*/ 9728 w 11343"/>
                <a:gd name="T75" fmla="*/ 2898 h 11330"/>
                <a:gd name="T76" fmla="*/ 8725 w 11343"/>
                <a:gd name="T77" fmla="*/ 2898 h 11330"/>
                <a:gd name="T78" fmla="*/ 8725 w 11343"/>
                <a:gd name="T79" fmla="*/ 2895 h 11330"/>
                <a:gd name="T80" fmla="*/ 7223 w 11343"/>
                <a:gd name="T81" fmla="*/ 9340 h 11330"/>
                <a:gd name="T82" fmla="*/ 7725 w 11343"/>
                <a:gd name="T83" fmla="*/ 9848 h 11330"/>
                <a:gd name="T84" fmla="*/ 7223 w 11343"/>
                <a:gd name="T85" fmla="*/ 10358 h 11330"/>
                <a:gd name="T86" fmla="*/ 6720 w 11343"/>
                <a:gd name="T87" fmla="*/ 9848 h 11330"/>
                <a:gd name="T88" fmla="*/ 7223 w 11343"/>
                <a:gd name="T89" fmla="*/ 9340 h 1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343" h="11330">
                  <a:moveTo>
                    <a:pt x="4263" y="150"/>
                  </a:moveTo>
                  <a:cubicBezTo>
                    <a:pt x="3133" y="350"/>
                    <a:pt x="2928" y="767"/>
                    <a:pt x="2928" y="1540"/>
                  </a:cubicBezTo>
                  <a:lnTo>
                    <a:pt x="2928" y="2557"/>
                  </a:lnTo>
                  <a:lnTo>
                    <a:pt x="5600" y="2557"/>
                  </a:lnTo>
                  <a:lnTo>
                    <a:pt x="5600" y="2897"/>
                  </a:lnTo>
                  <a:lnTo>
                    <a:pt x="1925" y="2897"/>
                  </a:lnTo>
                  <a:cubicBezTo>
                    <a:pt x="1148" y="2897"/>
                    <a:pt x="468" y="3365"/>
                    <a:pt x="255" y="4253"/>
                  </a:cubicBezTo>
                  <a:cubicBezTo>
                    <a:pt x="10" y="5270"/>
                    <a:pt x="0" y="5905"/>
                    <a:pt x="255" y="6968"/>
                  </a:cubicBezTo>
                  <a:cubicBezTo>
                    <a:pt x="445" y="7758"/>
                    <a:pt x="898" y="8323"/>
                    <a:pt x="1675" y="8323"/>
                  </a:cubicBezTo>
                  <a:lnTo>
                    <a:pt x="2593" y="8323"/>
                  </a:lnTo>
                  <a:lnTo>
                    <a:pt x="2593" y="7103"/>
                  </a:lnTo>
                  <a:cubicBezTo>
                    <a:pt x="2593" y="6220"/>
                    <a:pt x="3355" y="5443"/>
                    <a:pt x="4263" y="5443"/>
                  </a:cubicBezTo>
                  <a:lnTo>
                    <a:pt x="6933" y="5443"/>
                  </a:lnTo>
                  <a:cubicBezTo>
                    <a:pt x="7675" y="5443"/>
                    <a:pt x="8268" y="4830"/>
                    <a:pt x="8268" y="4085"/>
                  </a:cubicBezTo>
                  <a:lnTo>
                    <a:pt x="8268" y="1538"/>
                  </a:lnTo>
                  <a:cubicBezTo>
                    <a:pt x="8268" y="813"/>
                    <a:pt x="7658" y="270"/>
                    <a:pt x="6933" y="148"/>
                  </a:cubicBezTo>
                  <a:cubicBezTo>
                    <a:pt x="6038" y="0"/>
                    <a:pt x="5065" y="8"/>
                    <a:pt x="4263" y="150"/>
                  </a:cubicBezTo>
                  <a:close/>
                  <a:moveTo>
                    <a:pt x="4095" y="860"/>
                  </a:moveTo>
                  <a:cubicBezTo>
                    <a:pt x="4370" y="860"/>
                    <a:pt x="4598" y="1090"/>
                    <a:pt x="4598" y="1370"/>
                  </a:cubicBezTo>
                  <a:cubicBezTo>
                    <a:pt x="4598" y="1650"/>
                    <a:pt x="4373" y="1877"/>
                    <a:pt x="4095" y="1877"/>
                  </a:cubicBezTo>
                  <a:cubicBezTo>
                    <a:pt x="3818" y="1877"/>
                    <a:pt x="3593" y="1650"/>
                    <a:pt x="3593" y="1370"/>
                  </a:cubicBezTo>
                  <a:cubicBezTo>
                    <a:pt x="3595" y="1087"/>
                    <a:pt x="3818" y="860"/>
                    <a:pt x="4095" y="860"/>
                  </a:cubicBezTo>
                  <a:close/>
                  <a:moveTo>
                    <a:pt x="8725" y="2895"/>
                  </a:moveTo>
                  <a:lnTo>
                    <a:pt x="8725" y="4083"/>
                  </a:lnTo>
                  <a:cubicBezTo>
                    <a:pt x="8725" y="5003"/>
                    <a:pt x="7945" y="5778"/>
                    <a:pt x="7055" y="5778"/>
                  </a:cubicBezTo>
                  <a:lnTo>
                    <a:pt x="4385" y="5778"/>
                  </a:lnTo>
                  <a:cubicBezTo>
                    <a:pt x="3655" y="5778"/>
                    <a:pt x="3050" y="6403"/>
                    <a:pt x="3050" y="7135"/>
                  </a:cubicBezTo>
                  <a:lnTo>
                    <a:pt x="3050" y="9680"/>
                  </a:lnTo>
                  <a:cubicBezTo>
                    <a:pt x="3050" y="10405"/>
                    <a:pt x="3680" y="10830"/>
                    <a:pt x="4385" y="11038"/>
                  </a:cubicBezTo>
                  <a:cubicBezTo>
                    <a:pt x="5230" y="11285"/>
                    <a:pt x="6043" y="11330"/>
                    <a:pt x="7055" y="11038"/>
                  </a:cubicBezTo>
                  <a:cubicBezTo>
                    <a:pt x="7728" y="10843"/>
                    <a:pt x="8390" y="10450"/>
                    <a:pt x="8390" y="9680"/>
                  </a:cubicBezTo>
                  <a:lnTo>
                    <a:pt x="8390" y="8663"/>
                  </a:lnTo>
                  <a:lnTo>
                    <a:pt x="5723" y="8663"/>
                  </a:lnTo>
                  <a:lnTo>
                    <a:pt x="5723" y="8323"/>
                  </a:lnTo>
                  <a:lnTo>
                    <a:pt x="9728" y="8323"/>
                  </a:lnTo>
                  <a:cubicBezTo>
                    <a:pt x="10505" y="8323"/>
                    <a:pt x="10793" y="7780"/>
                    <a:pt x="11063" y="6968"/>
                  </a:cubicBezTo>
                  <a:cubicBezTo>
                    <a:pt x="11343" y="6130"/>
                    <a:pt x="11330" y="5325"/>
                    <a:pt x="11063" y="4253"/>
                  </a:cubicBezTo>
                  <a:cubicBezTo>
                    <a:pt x="10870" y="3480"/>
                    <a:pt x="10505" y="2898"/>
                    <a:pt x="9728" y="2898"/>
                  </a:cubicBezTo>
                  <a:lnTo>
                    <a:pt x="8725" y="2898"/>
                  </a:lnTo>
                  <a:lnTo>
                    <a:pt x="8725" y="2895"/>
                  </a:lnTo>
                  <a:close/>
                  <a:moveTo>
                    <a:pt x="7223" y="9340"/>
                  </a:moveTo>
                  <a:cubicBezTo>
                    <a:pt x="7500" y="9340"/>
                    <a:pt x="7725" y="9568"/>
                    <a:pt x="7725" y="9848"/>
                  </a:cubicBezTo>
                  <a:cubicBezTo>
                    <a:pt x="7725" y="10130"/>
                    <a:pt x="7500" y="10358"/>
                    <a:pt x="7223" y="10358"/>
                  </a:cubicBezTo>
                  <a:cubicBezTo>
                    <a:pt x="6948" y="10358"/>
                    <a:pt x="6720" y="10128"/>
                    <a:pt x="6720" y="9848"/>
                  </a:cubicBezTo>
                  <a:cubicBezTo>
                    <a:pt x="6723" y="9565"/>
                    <a:pt x="6948" y="9340"/>
                    <a:pt x="7223" y="9340"/>
                  </a:cubicBezTo>
                  <a:close/>
                </a:path>
              </a:pathLst>
            </a:custGeom>
            <a:solidFill>
              <a:schemeClr val="accent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cxnSp>
          <p:nvCxnSpPr>
            <p:cNvPr id="121" name="直接连接符 120"/>
            <p:cNvCxnSpPr>
              <a:stCxn id="112" idx="6"/>
              <a:endCxn id="114" idx="2"/>
            </p:cNvCxnSpPr>
            <p:nvPr/>
          </p:nvCxnSpPr>
          <p:spPr>
            <a:xfrm>
              <a:off x="8850" y="4753"/>
              <a:ext cx="1479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i$ḷïďe"/>
            <p:cNvSpPr/>
            <p:nvPr/>
          </p:nvSpPr>
          <p:spPr>
            <a:xfrm>
              <a:off x="10251" y="6218"/>
              <a:ext cx="2421" cy="617"/>
            </a:xfrm>
            <a:prstGeom prst="rect">
              <a:avLst/>
            </a:prstGeom>
            <a:noFill/>
            <a:ln w="3175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id-ID" sz="2000" b="1" dirty="0">
                  <a:solidFill>
                    <a:schemeClr val="tx1"/>
                  </a:solidFill>
                </a:rPr>
                <a:t>编写代码</a:t>
              </a: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7997190" y="2299335"/>
            <a:ext cx="4194810" cy="2040255"/>
            <a:chOff x="12594" y="3621"/>
            <a:chExt cx="6606" cy="3213"/>
          </a:xfrm>
        </p:grpSpPr>
        <p:sp>
          <p:nvSpPr>
            <p:cNvPr id="116" name="íśḷîdê"/>
            <p:cNvSpPr/>
            <p:nvPr/>
          </p:nvSpPr>
          <p:spPr>
            <a:xfrm>
              <a:off x="14074" y="3621"/>
              <a:ext cx="2265" cy="2265"/>
            </a:xfrm>
            <a:prstGeom prst="ellipse">
              <a:avLst/>
            </a:prstGeom>
            <a:noFill/>
            <a:ln w="6350" cap="rnd">
              <a:solidFill>
                <a:schemeClr val="bg1">
                  <a:lumMod val="85000"/>
                </a:schemeClr>
              </a:solidFill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17" name="îsļïḑè"/>
            <p:cNvSpPr/>
            <p:nvPr/>
          </p:nvSpPr>
          <p:spPr>
            <a:xfrm>
              <a:off x="14693" y="4241"/>
              <a:ext cx="1026" cy="1024"/>
            </a:xfrm>
            <a:custGeom>
              <a:avLst/>
              <a:gdLst>
                <a:gd name="T0" fmla="*/ 4263 w 11343"/>
                <a:gd name="T1" fmla="*/ 150 h 11330"/>
                <a:gd name="T2" fmla="*/ 2928 w 11343"/>
                <a:gd name="T3" fmla="*/ 1540 h 11330"/>
                <a:gd name="T4" fmla="*/ 2928 w 11343"/>
                <a:gd name="T5" fmla="*/ 2557 h 11330"/>
                <a:gd name="T6" fmla="*/ 5600 w 11343"/>
                <a:gd name="T7" fmla="*/ 2557 h 11330"/>
                <a:gd name="T8" fmla="*/ 5600 w 11343"/>
                <a:gd name="T9" fmla="*/ 2897 h 11330"/>
                <a:gd name="T10" fmla="*/ 1925 w 11343"/>
                <a:gd name="T11" fmla="*/ 2897 h 11330"/>
                <a:gd name="T12" fmla="*/ 255 w 11343"/>
                <a:gd name="T13" fmla="*/ 4253 h 11330"/>
                <a:gd name="T14" fmla="*/ 255 w 11343"/>
                <a:gd name="T15" fmla="*/ 6968 h 11330"/>
                <a:gd name="T16" fmla="*/ 1675 w 11343"/>
                <a:gd name="T17" fmla="*/ 8323 h 11330"/>
                <a:gd name="T18" fmla="*/ 2593 w 11343"/>
                <a:gd name="T19" fmla="*/ 8323 h 11330"/>
                <a:gd name="T20" fmla="*/ 2593 w 11343"/>
                <a:gd name="T21" fmla="*/ 7103 h 11330"/>
                <a:gd name="T22" fmla="*/ 4263 w 11343"/>
                <a:gd name="T23" fmla="*/ 5443 h 11330"/>
                <a:gd name="T24" fmla="*/ 6933 w 11343"/>
                <a:gd name="T25" fmla="*/ 5443 h 11330"/>
                <a:gd name="T26" fmla="*/ 8268 w 11343"/>
                <a:gd name="T27" fmla="*/ 4085 h 11330"/>
                <a:gd name="T28" fmla="*/ 8268 w 11343"/>
                <a:gd name="T29" fmla="*/ 1538 h 11330"/>
                <a:gd name="T30" fmla="*/ 6933 w 11343"/>
                <a:gd name="T31" fmla="*/ 148 h 11330"/>
                <a:gd name="T32" fmla="*/ 4263 w 11343"/>
                <a:gd name="T33" fmla="*/ 150 h 11330"/>
                <a:gd name="T34" fmla="*/ 4095 w 11343"/>
                <a:gd name="T35" fmla="*/ 860 h 11330"/>
                <a:gd name="T36" fmla="*/ 4598 w 11343"/>
                <a:gd name="T37" fmla="*/ 1370 h 11330"/>
                <a:gd name="T38" fmla="*/ 4095 w 11343"/>
                <a:gd name="T39" fmla="*/ 1877 h 11330"/>
                <a:gd name="T40" fmla="*/ 3593 w 11343"/>
                <a:gd name="T41" fmla="*/ 1370 h 11330"/>
                <a:gd name="T42" fmla="*/ 4095 w 11343"/>
                <a:gd name="T43" fmla="*/ 860 h 11330"/>
                <a:gd name="T44" fmla="*/ 8725 w 11343"/>
                <a:gd name="T45" fmla="*/ 2895 h 11330"/>
                <a:gd name="T46" fmla="*/ 8725 w 11343"/>
                <a:gd name="T47" fmla="*/ 4083 h 11330"/>
                <a:gd name="T48" fmla="*/ 7055 w 11343"/>
                <a:gd name="T49" fmla="*/ 5778 h 11330"/>
                <a:gd name="T50" fmla="*/ 4385 w 11343"/>
                <a:gd name="T51" fmla="*/ 5778 h 11330"/>
                <a:gd name="T52" fmla="*/ 3050 w 11343"/>
                <a:gd name="T53" fmla="*/ 7135 h 11330"/>
                <a:gd name="T54" fmla="*/ 3050 w 11343"/>
                <a:gd name="T55" fmla="*/ 9680 h 11330"/>
                <a:gd name="T56" fmla="*/ 4385 w 11343"/>
                <a:gd name="T57" fmla="*/ 11038 h 11330"/>
                <a:gd name="T58" fmla="*/ 7055 w 11343"/>
                <a:gd name="T59" fmla="*/ 11038 h 11330"/>
                <a:gd name="T60" fmla="*/ 8390 w 11343"/>
                <a:gd name="T61" fmla="*/ 9680 h 11330"/>
                <a:gd name="T62" fmla="*/ 8390 w 11343"/>
                <a:gd name="T63" fmla="*/ 8663 h 11330"/>
                <a:gd name="T64" fmla="*/ 5723 w 11343"/>
                <a:gd name="T65" fmla="*/ 8663 h 11330"/>
                <a:gd name="T66" fmla="*/ 5723 w 11343"/>
                <a:gd name="T67" fmla="*/ 8323 h 11330"/>
                <a:gd name="T68" fmla="*/ 9728 w 11343"/>
                <a:gd name="T69" fmla="*/ 8323 h 11330"/>
                <a:gd name="T70" fmla="*/ 11063 w 11343"/>
                <a:gd name="T71" fmla="*/ 6968 h 11330"/>
                <a:gd name="T72" fmla="*/ 11063 w 11343"/>
                <a:gd name="T73" fmla="*/ 4253 h 11330"/>
                <a:gd name="T74" fmla="*/ 9728 w 11343"/>
                <a:gd name="T75" fmla="*/ 2898 h 11330"/>
                <a:gd name="T76" fmla="*/ 8725 w 11343"/>
                <a:gd name="T77" fmla="*/ 2898 h 11330"/>
                <a:gd name="T78" fmla="*/ 8725 w 11343"/>
                <a:gd name="T79" fmla="*/ 2895 h 11330"/>
                <a:gd name="T80" fmla="*/ 7223 w 11343"/>
                <a:gd name="T81" fmla="*/ 9340 h 11330"/>
                <a:gd name="T82" fmla="*/ 7725 w 11343"/>
                <a:gd name="T83" fmla="*/ 9848 h 11330"/>
                <a:gd name="T84" fmla="*/ 7223 w 11343"/>
                <a:gd name="T85" fmla="*/ 10358 h 11330"/>
                <a:gd name="T86" fmla="*/ 6720 w 11343"/>
                <a:gd name="T87" fmla="*/ 9848 h 11330"/>
                <a:gd name="T88" fmla="*/ 7223 w 11343"/>
                <a:gd name="T89" fmla="*/ 9340 h 1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343" h="11330">
                  <a:moveTo>
                    <a:pt x="4263" y="150"/>
                  </a:moveTo>
                  <a:cubicBezTo>
                    <a:pt x="3133" y="350"/>
                    <a:pt x="2928" y="767"/>
                    <a:pt x="2928" y="1540"/>
                  </a:cubicBezTo>
                  <a:lnTo>
                    <a:pt x="2928" y="2557"/>
                  </a:lnTo>
                  <a:lnTo>
                    <a:pt x="5600" y="2557"/>
                  </a:lnTo>
                  <a:lnTo>
                    <a:pt x="5600" y="2897"/>
                  </a:lnTo>
                  <a:lnTo>
                    <a:pt x="1925" y="2897"/>
                  </a:lnTo>
                  <a:cubicBezTo>
                    <a:pt x="1148" y="2897"/>
                    <a:pt x="468" y="3365"/>
                    <a:pt x="255" y="4253"/>
                  </a:cubicBezTo>
                  <a:cubicBezTo>
                    <a:pt x="10" y="5270"/>
                    <a:pt x="0" y="5905"/>
                    <a:pt x="255" y="6968"/>
                  </a:cubicBezTo>
                  <a:cubicBezTo>
                    <a:pt x="445" y="7758"/>
                    <a:pt x="898" y="8323"/>
                    <a:pt x="1675" y="8323"/>
                  </a:cubicBezTo>
                  <a:lnTo>
                    <a:pt x="2593" y="8323"/>
                  </a:lnTo>
                  <a:lnTo>
                    <a:pt x="2593" y="7103"/>
                  </a:lnTo>
                  <a:cubicBezTo>
                    <a:pt x="2593" y="6220"/>
                    <a:pt x="3355" y="5443"/>
                    <a:pt x="4263" y="5443"/>
                  </a:cubicBezTo>
                  <a:lnTo>
                    <a:pt x="6933" y="5443"/>
                  </a:lnTo>
                  <a:cubicBezTo>
                    <a:pt x="7675" y="5443"/>
                    <a:pt x="8268" y="4830"/>
                    <a:pt x="8268" y="4085"/>
                  </a:cubicBezTo>
                  <a:lnTo>
                    <a:pt x="8268" y="1538"/>
                  </a:lnTo>
                  <a:cubicBezTo>
                    <a:pt x="8268" y="813"/>
                    <a:pt x="7658" y="270"/>
                    <a:pt x="6933" y="148"/>
                  </a:cubicBezTo>
                  <a:cubicBezTo>
                    <a:pt x="6038" y="0"/>
                    <a:pt x="5065" y="8"/>
                    <a:pt x="4263" y="150"/>
                  </a:cubicBezTo>
                  <a:close/>
                  <a:moveTo>
                    <a:pt x="4095" y="860"/>
                  </a:moveTo>
                  <a:cubicBezTo>
                    <a:pt x="4370" y="860"/>
                    <a:pt x="4598" y="1090"/>
                    <a:pt x="4598" y="1370"/>
                  </a:cubicBezTo>
                  <a:cubicBezTo>
                    <a:pt x="4598" y="1650"/>
                    <a:pt x="4373" y="1877"/>
                    <a:pt x="4095" y="1877"/>
                  </a:cubicBezTo>
                  <a:cubicBezTo>
                    <a:pt x="3818" y="1877"/>
                    <a:pt x="3593" y="1650"/>
                    <a:pt x="3593" y="1370"/>
                  </a:cubicBezTo>
                  <a:cubicBezTo>
                    <a:pt x="3595" y="1087"/>
                    <a:pt x="3818" y="860"/>
                    <a:pt x="4095" y="860"/>
                  </a:cubicBezTo>
                  <a:close/>
                  <a:moveTo>
                    <a:pt x="8725" y="2895"/>
                  </a:moveTo>
                  <a:lnTo>
                    <a:pt x="8725" y="4083"/>
                  </a:lnTo>
                  <a:cubicBezTo>
                    <a:pt x="8725" y="5003"/>
                    <a:pt x="7945" y="5778"/>
                    <a:pt x="7055" y="5778"/>
                  </a:cubicBezTo>
                  <a:lnTo>
                    <a:pt x="4385" y="5778"/>
                  </a:lnTo>
                  <a:cubicBezTo>
                    <a:pt x="3655" y="5778"/>
                    <a:pt x="3050" y="6403"/>
                    <a:pt x="3050" y="7135"/>
                  </a:cubicBezTo>
                  <a:lnTo>
                    <a:pt x="3050" y="9680"/>
                  </a:lnTo>
                  <a:cubicBezTo>
                    <a:pt x="3050" y="10405"/>
                    <a:pt x="3680" y="10830"/>
                    <a:pt x="4385" y="11038"/>
                  </a:cubicBezTo>
                  <a:cubicBezTo>
                    <a:pt x="5230" y="11285"/>
                    <a:pt x="6043" y="11330"/>
                    <a:pt x="7055" y="11038"/>
                  </a:cubicBezTo>
                  <a:cubicBezTo>
                    <a:pt x="7728" y="10843"/>
                    <a:pt x="8390" y="10450"/>
                    <a:pt x="8390" y="9680"/>
                  </a:cubicBezTo>
                  <a:lnTo>
                    <a:pt x="8390" y="8663"/>
                  </a:lnTo>
                  <a:lnTo>
                    <a:pt x="5723" y="8663"/>
                  </a:lnTo>
                  <a:lnTo>
                    <a:pt x="5723" y="8323"/>
                  </a:lnTo>
                  <a:lnTo>
                    <a:pt x="9728" y="8323"/>
                  </a:lnTo>
                  <a:cubicBezTo>
                    <a:pt x="10505" y="8323"/>
                    <a:pt x="10793" y="7780"/>
                    <a:pt x="11063" y="6968"/>
                  </a:cubicBezTo>
                  <a:cubicBezTo>
                    <a:pt x="11343" y="6130"/>
                    <a:pt x="11330" y="5325"/>
                    <a:pt x="11063" y="4253"/>
                  </a:cubicBezTo>
                  <a:cubicBezTo>
                    <a:pt x="10870" y="3480"/>
                    <a:pt x="10505" y="2898"/>
                    <a:pt x="9728" y="2898"/>
                  </a:cubicBezTo>
                  <a:lnTo>
                    <a:pt x="8725" y="2898"/>
                  </a:lnTo>
                  <a:lnTo>
                    <a:pt x="8725" y="2895"/>
                  </a:lnTo>
                  <a:close/>
                  <a:moveTo>
                    <a:pt x="7223" y="9340"/>
                  </a:moveTo>
                  <a:cubicBezTo>
                    <a:pt x="7500" y="9340"/>
                    <a:pt x="7725" y="9568"/>
                    <a:pt x="7725" y="9848"/>
                  </a:cubicBezTo>
                  <a:cubicBezTo>
                    <a:pt x="7725" y="10130"/>
                    <a:pt x="7500" y="10358"/>
                    <a:pt x="7223" y="10358"/>
                  </a:cubicBezTo>
                  <a:cubicBezTo>
                    <a:pt x="6948" y="10358"/>
                    <a:pt x="6720" y="10128"/>
                    <a:pt x="6720" y="9848"/>
                  </a:cubicBezTo>
                  <a:cubicBezTo>
                    <a:pt x="6723" y="9565"/>
                    <a:pt x="6948" y="9340"/>
                    <a:pt x="7223" y="9340"/>
                  </a:cubicBezTo>
                  <a:close/>
                </a:path>
              </a:pathLst>
            </a:custGeom>
            <a:solidFill>
              <a:schemeClr val="accent2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cxnSp>
          <p:nvCxnSpPr>
            <p:cNvPr id="119" name="直接连接符 118"/>
            <p:cNvCxnSpPr>
              <a:stCxn id="116" idx="6"/>
            </p:cNvCxnSpPr>
            <p:nvPr/>
          </p:nvCxnSpPr>
          <p:spPr>
            <a:xfrm>
              <a:off x="16338" y="4753"/>
              <a:ext cx="2862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直接连接符 121"/>
            <p:cNvCxnSpPr>
              <a:stCxn id="114" idx="6"/>
              <a:endCxn id="116" idx="2"/>
            </p:cNvCxnSpPr>
            <p:nvPr/>
          </p:nvCxnSpPr>
          <p:spPr>
            <a:xfrm>
              <a:off x="12594" y="4753"/>
              <a:ext cx="1479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ïṥḷïďé"/>
            <p:cNvSpPr/>
            <p:nvPr/>
          </p:nvSpPr>
          <p:spPr>
            <a:xfrm>
              <a:off x="13995" y="6218"/>
              <a:ext cx="2421" cy="617"/>
            </a:xfrm>
            <a:prstGeom prst="rect">
              <a:avLst/>
            </a:prstGeom>
            <a:noFill/>
            <a:ln w="3175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id-ID" sz="2000" b="1" dirty="0">
                  <a:solidFill>
                    <a:schemeClr val="tx1"/>
                  </a:solidFill>
                </a:rPr>
                <a:t>调试运行</a:t>
              </a:r>
            </a:p>
          </p:txBody>
        </p:sp>
      </p:grpSp>
      <p:pic>
        <p:nvPicPr>
          <p:cNvPr id="27" name="图片 26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38894"/>
            <a:ext cx="730160" cy="73016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t="5311" b="30832"/>
          <a:stretch>
            <a:fillRect/>
          </a:stretch>
        </p:blipFill>
        <p:spPr>
          <a:xfrm>
            <a:off x="9589770" y="4716145"/>
            <a:ext cx="2602230" cy="166179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4181475" y="1542415"/>
            <a:ext cx="3129915" cy="5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30000"/>
              </a:lnSpc>
            </a:pPr>
            <a:r>
              <a:rPr lang="zh-CN" altLang="en-US" sz="2400"/>
              <a:t>程序设计基本步骤</a:t>
            </a:r>
          </a:p>
        </p:txBody>
      </p:sp>
      <p:grpSp>
        <p:nvGrpSpPr>
          <p:cNvPr id="80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562995">
            <a:off x="2651125" y="1396365"/>
            <a:ext cx="1336675" cy="630555"/>
            <a:chOff x="3558970" y="2488798"/>
            <a:chExt cx="5067710" cy="2391582"/>
          </a:xfrm>
        </p:grpSpPr>
        <p:sp>
          <p:nvSpPr>
            <p:cNvPr id="81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1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  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8179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  <p:sp>
        <p:nvSpPr>
          <p:cNvPr id="6" name="îŝḻïḓe"/>
          <p:cNvSpPr/>
          <p:nvPr/>
        </p:nvSpPr>
        <p:spPr bwMode="auto">
          <a:xfrm>
            <a:off x="5464175" y="2214880"/>
            <a:ext cx="1164590" cy="2813050"/>
          </a:xfrm>
          <a:custGeom>
            <a:avLst/>
            <a:gdLst>
              <a:gd name="connsiteX0" fmla="*/ 0 w 1164872"/>
              <a:gd name="connsiteY0" fmla="*/ 0 h 2813048"/>
              <a:gd name="connsiteX1" fmla="*/ 59650 w 1164872"/>
              <a:gd name="connsiteY1" fmla="*/ 34659 h 2813048"/>
              <a:gd name="connsiteX2" fmla="*/ 117505 w 1164872"/>
              <a:gd name="connsiteY2" fmla="*/ 67941 h 2813048"/>
              <a:gd name="connsiteX3" fmla="*/ 173763 w 1164872"/>
              <a:gd name="connsiteY3" fmla="*/ 100535 h 2813048"/>
              <a:gd name="connsiteX4" fmla="*/ 228227 w 1164872"/>
              <a:gd name="connsiteY4" fmla="*/ 131981 h 2813048"/>
              <a:gd name="connsiteX5" fmla="*/ 281293 w 1164872"/>
              <a:gd name="connsiteY5" fmla="*/ 162738 h 2813048"/>
              <a:gd name="connsiteX6" fmla="*/ 332365 w 1164872"/>
              <a:gd name="connsiteY6" fmla="*/ 192348 h 2813048"/>
              <a:gd name="connsiteX7" fmla="*/ 382239 w 1164872"/>
              <a:gd name="connsiteY7" fmla="*/ 221269 h 2813048"/>
              <a:gd name="connsiteX8" fmla="*/ 430319 w 1164872"/>
              <a:gd name="connsiteY8" fmla="*/ 249042 h 2813048"/>
              <a:gd name="connsiteX9" fmla="*/ 477201 w 1164872"/>
              <a:gd name="connsiteY9" fmla="*/ 276127 h 2813048"/>
              <a:gd name="connsiteX10" fmla="*/ 522487 w 1164872"/>
              <a:gd name="connsiteY10" fmla="*/ 302293 h 2813048"/>
              <a:gd name="connsiteX11" fmla="*/ 566377 w 1164872"/>
              <a:gd name="connsiteY11" fmla="*/ 327772 h 2813048"/>
              <a:gd name="connsiteX12" fmla="*/ 608870 w 1164872"/>
              <a:gd name="connsiteY12" fmla="*/ 352331 h 2813048"/>
              <a:gd name="connsiteX13" fmla="*/ 649966 w 1164872"/>
              <a:gd name="connsiteY13" fmla="*/ 375973 h 2813048"/>
              <a:gd name="connsiteX14" fmla="*/ 689667 w 1164872"/>
              <a:gd name="connsiteY14" fmla="*/ 399156 h 2813048"/>
              <a:gd name="connsiteX15" fmla="*/ 728369 w 1164872"/>
              <a:gd name="connsiteY15" fmla="*/ 421421 h 2813048"/>
              <a:gd name="connsiteX16" fmla="*/ 765676 w 1164872"/>
              <a:gd name="connsiteY16" fmla="*/ 442997 h 2813048"/>
              <a:gd name="connsiteX17" fmla="*/ 794802 w 1164872"/>
              <a:gd name="connsiteY17" fmla="*/ 459982 h 2813048"/>
              <a:gd name="connsiteX18" fmla="*/ 823730 w 1164872"/>
              <a:gd name="connsiteY18" fmla="*/ 476508 h 2813048"/>
              <a:gd name="connsiteX19" fmla="*/ 851660 w 1164872"/>
              <a:gd name="connsiteY19" fmla="*/ 492805 h 2813048"/>
              <a:gd name="connsiteX20" fmla="*/ 879190 w 1164872"/>
              <a:gd name="connsiteY20" fmla="*/ 508643 h 2813048"/>
              <a:gd name="connsiteX21" fmla="*/ 906123 w 1164872"/>
              <a:gd name="connsiteY21" fmla="*/ 524251 h 2813048"/>
              <a:gd name="connsiteX22" fmla="*/ 932456 w 1164872"/>
              <a:gd name="connsiteY22" fmla="*/ 539400 h 2813048"/>
              <a:gd name="connsiteX23" fmla="*/ 957992 w 1164872"/>
              <a:gd name="connsiteY23" fmla="*/ 554320 h 2813048"/>
              <a:gd name="connsiteX24" fmla="*/ 983129 w 1164872"/>
              <a:gd name="connsiteY24" fmla="*/ 569010 h 2813048"/>
              <a:gd name="connsiteX25" fmla="*/ 1007667 w 1164872"/>
              <a:gd name="connsiteY25" fmla="*/ 583011 h 2813048"/>
              <a:gd name="connsiteX26" fmla="*/ 1031807 w 1164872"/>
              <a:gd name="connsiteY26" fmla="*/ 597013 h 2813048"/>
              <a:gd name="connsiteX27" fmla="*/ 1055148 w 1164872"/>
              <a:gd name="connsiteY27" fmla="*/ 610555 h 2813048"/>
              <a:gd name="connsiteX28" fmla="*/ 1078290 w 1164872"/>
              <a:gd name="connsiteY28" fmla="*/ 623868 h 2813048"/>
              <a:gd name="connsiteX29" fmla="*/ 1100634 w 1164872"/>
              <a:gd name="connsiteY29" fmla="*/ 636951 h 2813048"/>
              <a:gd name="connsiteX30" fmla="*/ 1122578 w 1164872"/>
              <a:gd name="connsiteY30" fmla="*/ 649346 h 2813048"/>
              <a:gd name="connsiteX31" fmla="*/ 1143925 w 1164872"/>
              <a:gd name="connsiteY31" fmla="*/ 661741 h 2813048"/>
              <a:gd name="connsiteX32" fmla="*/ 1164872 w 1164872"/>
              <a:gd name="connsiteY32" fmla="*/ 673906 h 2813048"/>
              <a:gd name="connsiteX33" fmla="*/ 1164872 w 1164872"/>
              <a:gd name="connsiteY33" fmla="*/ 689284 h 2813048"/>
              <a:gd name="connsiteX34" fmla="*/ 1164872 w 1164872"/>
              <a:gd name="connsiteY34" fmla="*/ 704433 h 2813048"/>
              <a:gd name="connsiteX35" fmla="*/ 1164872 w 1164872"/>
              <a:gd name="connsiteY35" fmla="*/ 719812 h 2813048"/>
              <a:gd name="connsiteX36" fmla="*/ 1164872 w 1164872"/>
              <a:gd name="connsiteY36" fmla="*/ 734961 h 2813048"/>
              <a:gd name="connsiteX37" fmla="*/ 1164872 w 1164872"/>
              <a:gd name="connsiteY37" fmla="*/ 750340 h 2813048"/>
              <a:gd name="connsiteX38" fmla="*/ 1164872 w 1164872"/>
              <a:gd name="connsiteY38" fmla="*/ 765719 h 2813048"/>
              <a:gd name="connsiteX39" fmla="*/ 1164872 w 1164872"/>
              <a:gd name="connsiteY39" fmla="*/ 781097 h 2813048"/>
              <a:gd name="connsiteX40" fmla="*/ 1164872 w 1164872"/>
              <a:gd name="connsiteY40" fmla="*/ 796476 h 2813048"/>
              <a:gd name="connsiteX41" fmla="*/ 1164872 w 1164872"/>
              <a:gd name="connsiteY41" fmla="*/ 811625 h 2813048"/>
              <a:gd name="connsiteX42" fmla="*/ 1164872 w 1164872"/>
              <a:gd name="connsiteY42" fmla="*/ 827004 h 2813048"/>
              <a:gd name="connsiteX43" fmla="*/ 1164872 w 1164872"/>
              <a:gd name="connsiteY43" fmla="*/ 842382 h 2813048"/>
              <a:gd name="connsiteX44" fmla="*/ 1164872 w 1164872"/>
              <a:gd name="connsiteY44" fmla="*/ 857531 h 2813048"/>
              <a:gd name="connsiteX45" fmla="*/ 1164872 w 1164872"/>
              <a:gd name="connsiteY45" fmla="*/ 872680 h 2813048"/>
              <a:gd name="connsiteX46" fmla="*/ 1164872 w 1164872"/>
              <a:gd name="connsiteY46" fmla="*/ 888059 h 2813048"/>
              <a:gd name="connsiteX47" fmla="*/ 1164872 w 1164872"/>
              <a:gd name="connsiteY47" fmla="*/ 903438 h 2813048"/>
              <a:gd name="connsiteX48" fmla="*/ 1164872 w 1164872"/>
              <a:gd name="connsiteY48" fmla="*/ 918587 h 2813048"/>
              <a:gd name="connsiteX49" fmla="*/ 1164872 w 1164872"/>
              <a:gd name="connsiteY49" fmla="*/ 933965 h 2813048"/>
              <a:gd name="connsiteX50" fmla="*/ 1164872 w 1164872"/>
              <a:gd name="connsiteY50" fmla="*/ 949115 h 2813048"/>
              <a:gd name="connsiteX51" fmla="*/ 1164872 w 1164872"/>
              <a:gd name="connsiteY51" fmla="*/ 964493 h 2813048"/>
              <a:gd name="connsiteX52" fmla="*/ 1164872 w 1164872"/>
              <a:gd name="connsiteY52" fmla="*/ 979642 h 2813048"/>
              <a:gd name="connsiteX53" fmla="*/ 1164872 w 1164872"/>
              <a:gd name="connsiteY53" fmla="*/ 994791 h 2813048"/>
              <a:gd name="connsiteX54" fmla="*/ 1164872 w 1164872"/>
              <a:gd name="connsiteY54" fmla="*/ 1010170 h 2813048"/>
              <a:gd name="connsiteX55" fmla="*/ 1164872 w 1164872"/>
              <a:gd name="connsiteY55" fmla="*/ 1025319 h 2813048"/>
              <a:gd name="connsiteX56" fmla="*/ 1164872 w 1164872"/>
              <a:gd name="connsiteY56" fmla="*/ 1040698 h 2813048"/>
              <a:gd name="connsiteX57" fmla="*/ 1164872 w 1164872"/>
              <a:gd name="connsiteY57" fmla="*/ 1055847 h 2813048"/>
              <a:gd name="connsiteX58" fmla="*/ 1164872 w 1164872"/>
              <a:gd name="connsiteY58" fmla="*/ 1071226 h 2813048"/>
              <a:gd name="connsiteX59" fmla="*/ 1164872 w 1164872"/>
              <a:gd name="connsiteY59" fmla="*/ 1086604 h 2813048"/>
              <a:gd name="connsiteX60" fmla="*/ 1164872 w 1164872"/>
              <a:gd name="connsiteY60" fmla="*/ 1101753 h 2813048"/>
              <a:gd name="connsiteX61" fmla="*/ 1164872 w 1164872"/>
              <a:gd name="connsiteY61" fmla="*/ 1117132 h 2813048"/>
              <a:gd name="connsiteX62" fmla="*/ 1164872 w 1164872"/>
              <a:gd name="connsiteY62" fmla="*/ 1132511 h 2813048"/>
              <a:gd name="connsiteX63" fmla="*/ 1164872 w 1164872"/>
              <a:gd name="connsiteY63" fmla="*/ 1147430 h 2813048"/>
              <a:gd name="connsiteX64" fmla="*/ 1164872 w 1164872"/>
              <a:gd name="connsiteY64" fmla="*/ 1162177 h 2813048"/>
              <a:gd name="connsiteX65" fmla="*/ 1164872 w 1164872"/>
              <a:gd name="connsiteY65" fmla="*/ 1162809 h 2813048"/>
              <a:gd name="connsiteX66" fmla="*/ 1164872 w 1164872"/>
              <a:gd name="connsiteY66" fmla="*/ 1177556 h 2813048"/>
              <a:gd name="connsiteX67" fmla="*/ 1164872 w 1164872"/>
              <a:gd name="connsiteY67" fmla="*/ 1192706 h 2813048"/>
              <a:gd name="connsiteX68" fmla="*/ 1164872 w 1164872"/>
              <a:gd name="connsiteY68" fmla="*/ 1208085 h 2813048"/>
              <a:gd name="connsiteX69" fmla="*/ 1164872 w 1164872"/>
              <a:gd name="connsiteY69" fmla="*/ 1223235 h 2813048"/>
              <a:gd name="connsiteX70" fmla="*/ 1164872 w 1164872"/>
              <a:gd name="connsiteY70" fmla="*/ 1238614 h 2813048"/>
              <a:gd name="connsiteX71" fmla="*/ 1164872 w 1164872"/>
              <a:gd name="connsiteY71" fmla="*/ 1253994 h 2813048"/>
              <a:gd name="connsiteX72" fmla="*/ 1164872 w 1164872"/>
              <a:gd name="connsiteY72" fmla="*/ 1269144 h 2813048"/>
              <a:gd name="connsiteX73" fmla="*/ 1164872 w 1164872"/>
              <a:gd name="connsiteY73" fmla="*/ 1284293 h 2813048"/>
              <a:gd name="connsiteX74" fmla="*/ 1164872 w 1164872"/>
              <a:gd name="connsiteY74" fmla="*/ 1299673 h 2813048"/>
              <a:gd name="connsiteX75" fmla="*/ 1164872 w 1164872"/>
              <a:gd name="connsiteY75" fmla="*/ 1314823 h 2813048"/>
              <a:gd name="connsiteX76" fmla="*/ 1164872 w 1164872"/>
              <a:gd name="connsiteY76" fmla="*/ 1330202 h 2813048"/>
              <a:gd name="connsiteX77" fmla="*/ 1164872 w 1164872"/>
              <a:gd name="connsiteY77" fmla="*/ 1345352 h 2813048"/>
              <a:gd name="connsiteX78" fmla="*/ 1164872 w 1164872"/>
              <a:gd name="connsiteY78" fmla="*/ 1360731 h 2813048"/>
              <a:gd name="connsiteX79" fmla="*/ 1164872 w 1164872"/>
              <a:gd name="connsiteY79" fmla="*/ 1376110 h 2813048"/>
              <a:gd name="connsiteX80" fmla="*/ 1164872 w 1164872"/>
              <a:gd name="connsiteY80" fmla="*/ 1391260 h 2813048"/>
              <a:gd name="connsiteX81" fmla="*/ 1164872 w 1164872"/>
              <a:gd name="connsiteY81" fmla="*/ 1406640 h 2813048"/>
              <a:gd name="connsiteX82" fmla="*/ 1164872 w 1164872"/>
              <a:gd name="connsiteY82" fmla="*/ 1421560 h 2813048"/>
              <a:gd name="connsiteX83" fmla="*/ 1164872 w 1164872"/>
              <a:gd name="connsiteY83" fmla="*/ 1436939 h 2813048"/>
              <a:gd name="connsiteX84" fmla="*/ 1164872 w 1164872"/>
              <a:gd name="connsiteY84" fmla="*/ 1452319 h 2813048"/>
              <a:gd name="connsiteX85" fmla="*/ 1164872 w 1164872"/>
              <a:gd name="connsiteY85" fmla="*/ 1467468 h 2813048"/>
              <a:gd name="connsiteX86" fmla="*/ 1164872 w 1164872"/>
              <a:gd name="connsiteY86" fmla="*/ 1482848 h 2813048"/>
              <a:gd name="connsiteX87" fmla="*/ 1164872 w 1164872"/>
              <a:gd name="connsiteY87" fmla="*/ 1497998 h 2813048"/>
              <a:gd name="connsiteX88" fmla="*/ 1164872 w 1164872"/>
              <a:gd name="connsiteY88" fmla="*/ 1513377 h 2813048"/>
              <a:gd name="connsiteX89" fmla="*/ 1164872 w 1164872"/>
              <a:gd name="connsiteY89" fmla="*/ 1528756 h 2813048"/>
              <a:gd name="connsiteX90" fmla="*/ 1164872 w 1164872"/>
              <a:gd name="connsiteY90" fmla="*/ 1543906 h 2813048"/>
              <a:gd name="connsiteX91" fmla="*/ 1164872 w 1164872"/>
              <a:gd name="connsiteY91" fmla="*/ 1559056 h 2813048"/>
              <a:gd name="connsiteX92" fmla="*/ 1164872 w 1164872"/>
              <a:gd name="connsiteY92" fmla="*/ 1574435 h 2813048"/>
              <a:gd name="connsiteX93" fmla="*/ 1164872 w 1164872"/>
              <a:gd name="connsiteY93" fmla="*/ 1589585 h 2813048"/>
              <a:gd name="connsiteX94" fmla="*/ 1164872 w 1164872"/>
              <a:gd name="connsiteY94" fmla="*/ 1604965 h 2813048"/>
              <a:gd name="connsiteX95" fmla="*/ 1164872 w 1164872"/>
              <a:gd name="connsiteY95" fmla="*/ 1620344 h 2813048"/>
              <a:gd name="connsiteX96" fmla="*/ 1164872 w 1164872"/>
              <a:gd name="connsiteY96" fmla="*/ 1635494 h 2813048"/>
              <a:gd name="connsiteX97" fmla="*/ 1164872 w 1164872"/>
              <a:gd name="connsiteY97" fmla="*/ 1650239 h 2813048"/>
              <a:gd name="connsiteX98" fmla="*/ 1164872 w 1164872"/>
              <a:gd name="connsiteY98" fmla="*/ 1650873 h 2813048"/>
              <a:gd name="connsiteX99" fmla="*/ 1164872 w 1164872"/>
              <a:gd name="connsiteY99" fmla="*/ 1665627 h 2813048"/>
              <a:gd name="connsiteX100" fmla="*/ 1164872 w 1164872"/>
              <a:gd name="connsiteY100" fmla="*/ 1680785 h 2813048"/>
              <a:gd name="connsiteX101" fmla="*/ 1164872 w 1164872"/>
              <a:gd name="connsiteY101" fmla="*/ 1696173 h 2813048"/>
              <a:gd name="connsiteX102" fmla="*/ 1164872 w 1164872"/>
              <a:gd name="connsiteY102" fmla="*/ 1711101 h 2813048"/>
              <a:gd name="connsiteX103" fmla="*/ 1164872 w 1164872"/>
              <a:gd name="connsiteY103" fmla="*/ 1726489 h 2813048"/>
              <a:gd name="connsiteX104" fmla="*/ 1164872 w 1164872"/>
              <a:gd name="connsiteY104" fmla="*/ 1741877 h 2813048"/>
              <a:gd name="connsiteX105" fmla="*/ 1164872 w 1164872"/>
              <a:gd name="connsiteY105" fmla="*/ 1757035 h 2813048"/>
              <a:gd name="connsiteX106" fmla="*/ 1164872 w 1164872"/>
              <a:gd name="connsiteY106" fmla="*/ 1772422 h 2813048"/>
              <a:gd name="connsiteX107" fmla="*/ 1164872 w 1164872"/>
              <a:gd name="connsiteY107" fmla="*/ 1787810 h 2813048"/>
              <a:gd name="connsiteX108" fmla="*/ 1164872 w 1164872"/>
              <a:gd name="connsiteY108" fmla="*/ 1802968 h 2813048"/>
              <a:gd name="connsiteX109" fmla="*/ 1164872 w 1164872"/>
              <a:gd name="connsiteY109" fmla="*/ 1818356 h 2813048"/>
              <a:gd name="connsiteX110" fmla="*/ 1164872 w 1164872"/>
              <a:gd name="connsiteY110" fmla="*/ 1833744 h 2813048"/>
              <a:gd name="connsiteX111" fmla="*/ 1164872 w 1164872"/>
              <a:gd name="connsiteY111" fmla="*/ 1848672 h 2813048"/>
              <a:gd name="connsiteX112" fmla="*/ 1164872 w 1164872"/>
              <a:gd name="connsiteY112" fmla="*/ 1864060 h 2813048"/>
              <a:gd name="connsiteX113" fmla="*/ 1164872 w 1164872"/>
              <a:gd name="connsiteY113" fmla="*/ 1879448 h 2813048"/>
              <a:gd name="connsiteX114" fmla="*/ 1164872 w 1164872"/>
              <a:gd name="connsiteY114" fmla="*/ 1894606 h 2813048"/>
              <a:gd name="connsiteX115" fmla="*/ 1164872 w 1164872"/>
              <a:gd name="connsiteY115" fmla="*/ 1909994 h 2813048"/>
              <a:gd name="connsiteX116" fmla="*/ 1164872 w 1164872"/>
              <a:gd name="connsiteY116" fmla="*/ 1925152 h 2813048"/>
              <a:gd name="connsiteX117" fmla="*/ 1164872 w 1164872"/>
              <a:gd name="connsiteY117" fmla="*/ 1940539 h 2813048"/>
              <a:gd name="connsiteX118" fmla="*/ 1164872 w 1164872"/>
              <a:gd name="connsiteY118" fmla="*/ 1955698 h 2813048"/>
              <a:gd name="connsiteX119" fmla="*/ 1164872 w 1164872"/>
              <a:gd name="connsiteY119" fmla="*/ 1971085 h 2813048"/>
              <a:gd name="connsiteX120" fmla="*/ 1164872 w 1164872"/>
              <a:gd name="connsiteY120" fmla="*/ 1986014 h 2813048"/>
              <a:gd name="connsiteX121" fmla="*/ 1164872 w 1164872"/>
              <a:gd name="connsiteY121" fmla="*/ 2001402 h 2813048"/>
              <a:gd name="connsiteX122" fmla="*/ 1164872 w 1164872"/>
              <a:gd name="connsiteY122" fmla="*/ 2016560 h 2813048"/>
              <a:gd name="connsiteX123" fmla="*/ 1164872 w 1164872"/>
              <a:gd name="connsiteY123" fmla="*/ 2031947 h 2813048"/>
              <a:gd name="connsiteX124" fmla="*/ 1164872 w 1164872"/>
              <a:gd name="connsiteY124" fmla="*/ 2047335 h 2813048"/>
              <a:gd name="connsiteX125" fmla="*/ 1164872 w 1164872"/>
              <a:gd name="connsiteY125" fmla="*/ 2062493 h 2813048"/>
              <a:gd name="connsiteX126" fmla="*/ 1164872 w 1164872"/>
              <a:gd name="connsiteY126" fmla="*/ 2077881 h 2813048"/>
              <a:gd name="connsiteX127" fmla="*/ 1164872 w 1164872"/>
              <a:gd name="connsiteY127" fmla="*/ 2093039 h 2813048"/>
              <a:gd name="connsiteX128" fmla="*/ 1164872 w 1164872"/>
              <a:gd name="connsiteY128" fmla="*/ 2108427 h 2813048"/>
              <a:gd name="connsiteX129" fmla="*/ 1164872 w 1164872"/>
              <a:gd name="connsiteY129" fmla="*/ 2123355 h 2813048"/>
              <a:gd name="connsiteX130" fmla="*/ 1164872 w 1164872"/>
              <a:gd name="connsiteY130" fmla="*/ 2138743 h 2813048"/>
              <a:gd name="connsiteX131" fmla="*/ 1144124 w 1164872"/>
              <a:gd name="connsiteY131" fmla="*/ 2150915 h 2813048"/>
              <a:gd name="connsiteX132" fmla="*/ 1122578 w 1164872"/>
              <a:gd name="connsiteY132" fmla="*/ 2163318 h 2813048"/>
              <a:gd name="connsiteX133" fmla="*/ 1100634 w 1164872"/>
              <a:gd name="connsiteY133" fmla="*/ 2175720 h 2813048"/>
              <a:gd name="connsiteX134" fmla="*/ 1078290 w 1164872"/>
              <a:gd name="connsiteY134" fmla="*/ 2188811 h 2813048"/>
              <a:gd name="connsiteX135" fmla="*/ 1055347 w 1164872"/>
              <a:gd name="connsiteY135" fmla="*/ 2202131 h 2813048"/>
              <a:gd name="connsiteX136" fmla="*/ 1031807 w 1164872"/>
              <a:gd name="connsiteY136" fmla="*/ 2215682 h 2813048"/>
              <a:gd name="connsiteX137" fmla="*/ 1007867 w 1164872"/>
              <a:gd name="connsiteY137" fmla="*/ 2229692 h 2813048"/>
              <a:gd name="connsiteX138" fmla="*/ 983329 w 1164872"/>
              <a:gd name="connsiteY138" fmla="*/ 2243701 h 2813048"/>
              <a:gd name="connsiteX139" fmla="*/ 958192 w 1164872"/>
              <a:gd name="connsiteY139" fmla="*/ 2258400 h 2813048"/>
              <a:gd name="connsiteX140" fmla="*/ 932456 w 1164872"/>
              <a:gd name="connsiteY140" fmla="*/ 2273328 h 2813048"/>
              <a:gd name="connsiteX141" fmla="*/ 906322 w 1164872"/>
              <a:gd name="connsiteY141" fmla="*/ 2288487 h 2813048"/>
              <a:gd name="connsiteX142" fmla="*/ 879190 w 1164872"/>
              <a:gd name="connsiteY142" fmla="*/ 2304104 h 2813048"/>
              <a:gd name="connsiteX143" fmla="*/ 851859 w 1164872"/>
              <a:gd name="connsiteY143" fmla="*/ 2319951 h 2813048"/>
              <a:gd name="connsiteX144" fmla="*/ 823929 w 1164872"/>
              <a:gd name="connsiteY144" fmla="*/ 2336257 h 2813048"/>
              <a:gd name="connsiteX145" fmla="*/ 795002 w 1164872"/>
              <a:gd name="connsiteY145" fmla="*/ 2352794 h 2813048"/>
              <a:gd name="connsiteX146" fmla="*/ 765875 w 1164872"/>
              <a:gd name="connsiteY146" fmla="*/ 2369789 h 2813048"/>
              <a:gd name="connsiteX147" fmla="*/ 728569 w 1164872"/>
              <a:gd name="connsiteY147" fmla="*/ 2391378 h 2813048"/>
              <a:gd name="connsiteX148" fmla="*/ 689866 w 1164872"/>
              <a:gd name="connsiteY148" fmla="*/ 2413656 h 2813048"/>
              <a:gd name="connsiteX149" fmla="*/ 650166 w 1164872"/>
              <a:gd name="connsiteY149" fmla="*/ 2436852 h 2813048"/>
              <a:gd name="connsiteX150" fmla="*/ 609069 w 1164872"/>
              <a:gd name="connsiteY150" fmla="*/ 2460508 h 2813048"/>
              <a:gd name="connsiteX151" fmla="*/ 566377 w 1164872"/>
              <a:gd name="connsiteY151" fmla="*/ 2485082 h 2813048"/>
              <a:gd name="connsiteX152" fmla="*/ 522487 w 1164872"/>
              <a:gd name="connsiteY152" fmla="*/ 2510575 h 2813048"/>
              <a:gd name="connsiteX153" fmla="*/ 477201 w 1164872"/>
              <a:gd name="connsiteY153" fmla="*/ 2536758 h 2813048"/>
              <a:gd name="connsiteX154" fmla="*/ 430518 w 1164872"/>
              <a:gd name="connsiteY154" fmla="*/ 2563858 h 2813048"/>
              <a:gd name="connsiteX155" fmla="*/ 382239 w 1164872"/>
              <a:gd name="connsiteY155" fmla="*/ 2591648 h 2813048"/>
              <a:gd name="connsiteX156" fmla="*/ 332564 w 1164872"/>
              <a:gd name="connsiteY156" fmla="*/ 2620586 h 2813048"/>
              <a:gd name="connsiteX157" fmla="*/ 281293 w 1164872"/>
              <a:gd name="connsiteY157" fmla="*/ 2650214 h 2813048"/>
              <a:gd name="connsiteX158" fmla="*/ 228227 w 1164872"/>
              <a:gd name="connsiteY158" fmla="*/ 2680989 h 2813048"/>
              <a:gd name="connsiteX159" fmla="*/ 173763 w 1164872"/>
              <a:gd name="connsiteY159" fmla="*/ 2712454 h 2813048"/>
              <a:gd name="connsiteX160" fmla="*/ 117505 w 1164872"/>
              <a:gd name="connsiteY160" fmla="*/ 2745066 h 2813048"/>
              <a:gd name="connsiteX161" fmla="*/ 59650 w 1164872"/>
              <a:gd name="connsiteY161" fmla="*/ 2778368 h 2813048"/>
              <a:gd name="connsiteX162" fmla="*/ 0 w 1164872"/>
              <a:gd name="connsiteY162" fmla="*/ 2813048 h 2813048"/>
              <a:gd name="connsiteX163" fmla="*/ 0 w 1164872"/>
              <a:gd name="connsiteY163" fmla="*/ 2783651 h 2813048"/>
              <a:gd name="connsiteX164" fmla="*/ 0 w 1164872"/>
              <a:gd name="connsiteY164" fmla="*/ 2754483 h 2813048"/>
              <a:gd name="connsiteX165" fmla="*/ 0 w 1164872"/>
              <a:gd name="connsiteY165" fmla="*/ 2725085 h 2813048"/>
              <a:gd name="connsiteX166" fmla="*/ 0 w 1164872"/>
              <a:gd name="connsiteY166" fmla="*/ 2695918 h 2813048"/>
              <a:gd name="connsiteX167" fmla="*/ 0 w 1164872"/>
              <a:gd name="connsiteY167" fmla="*/ 2666520 h 2813048"/>
              <a:gd name="connsiteX168" fmla="*/ 0 w 1164872"/>
              <a:gd name="connsiteY168" fmla="*/ 2637352 h 2813048"/>
              <a:gd name="connsiteX169" fmla="*/ 0 w 1164872"/>
              <a:gd name="connsiteY169" fmla="*/ 2607955 h 2813048"/>
              <a:gd name="connsiteX170" fmla="*/ 0 w 1164872"/>
              <a:gd name="connsiteY170" fmla="*/ 2578787 h 2813048"/>
              <a:gd name="connsiteX171" fmla="*/ 0 w 1164872"/>
              <a:gd name="connsiteY171" fmla="*/ 2549389 h 2813048"/>
              <a:gd name="connsiteX172" fmla="*/ 0 w 1164872"/>
              <a:gd name="connsiteY172" fmla="*/ 2520222 h 2813048"/>
              <a:gd name="connsiteX173" fmla="*/ 0 w 1164872"/>
              <a:gd name="connsiteY173" fmla="*/ 2490824 h 2813048"/>
              <a:gd name="connsiteX174" fmla="*/ 0 w 1164872"/>
              <a:gd name="connsiteY174" fmla="*/ 2461427 h 2813048"/>
              <a:gd name="connsiteX175" fmla="*/ 0 w 1164872"/>
              <a:gd name="connsiteY175" fmla="*/ 2432259 h 2813048"/>
              <a:gd name="connsiteX176" fmla="*/ 0 w 1164872"/>
              <a:gd name="connsiteY176" fmla="*/ 2402861 h 2813048"/>
              <a:gd name="connsiteX177" fmla="*/ 0 w 1164872"/>
              <a:gd name="connsiteY177" fmla="*/ 2373693 h 2813048"/>
              <a:gd name="connsiteX178" fmla="*/ 0 w 1164872"/>
              <a:gd name="connsiteY178" fmla="*/ 2344296 h 2813048"/>
              <a:gd name="connsiteX179" fmla="*/ 0 w 1164872"/>
              <a:gd name="connsiteY179" fmla="*/ 2315128 h 2813048"/>
              <a:gd name="connsiteX180" fmla="*/ 0 w 1164872"/>
              <a:gd name="connsiteY180" fmla="*/ 2285731 h 2813048"/>
              <a:gd name="connsiteX181" fmla="*/ 0 w 1164872"/>
              <a:gd name="connsiteY181" fmla="*/ 2256563 h 2813048"/>
              <a:gd name="connsiteX182" fmla="*/ 0 w 1164872"/>
              <a:gd name="connsiteY182" fmla="*/ 2227165 h 2813048"/>
              <a:gd name="connsiteX183" fmla="*/ 0 w 1164872"/>
              <a:gd name="connsiteY183" fmla="*/ 2197538 h 2813048"/>
              <a:gd name="connsiteX184" fmla="*/ 0 w 1164872"/>
              <a:gd name="connsiteY184" fmla="*/ 2168370 h 2813048"/>
              <a:gd name="connsiteX185" fmla="*/ 0 w 1164872"/>
              <a:gd name="connsiteY185" fmla="*/ 2138973 h 2813048"/>
              <a:gd name="connsiteX186" fmla="*/ 0 w 1164872"/>
              <a:gd name="connsiteY186" fmla="*/ 2109805 h 2813048"/>
              <a:gd name="connsiteX187" fmla="*/ 0 w 1164872"/>
              <a:gd name="connsiteY187" fmla="*/ 2080407 h 2813048"/>
              <a:gd name="connsiteX188" fmla="*/ 0 w 1164872"/>
              <a:gd name="connsiteY188" fmla="*/ 2051240 h 2813048"/>
              <a:gd name="connsiteX189" fmla="*/ 0 w 1164872"/>
              <a:gd name="connsiteY189" fmla="*/ 2021612 h 2813048"/>
              <a:gd name="connsiteX190" fmla="*/ 0 w 1164872"/>
              <a:gd name="connsiteY190" fmla="*/ 1992445 h 2813048"/>
              <a:gd name="connsiteX191" fmla="*/ 0 w 1164872"/>
              <a:gd name="connsiteY191" fmla="*/ 1963047 h 2813048"/>
              <a:gd name="connsiteX192" fmla="*/ 0 w 1164872"/>
              <a:gd name="connsiteY192" fmla="*/ 1933879 h 2813048"/>
              <a:gd name="connsiteX193" fmla="*/ 0 w 1164872"/>
              <a:gd name="connsiteY193" fmla="*/ 1904482 h 2813048"/>
              <a:gd name="connsiteX194" fmla="*/ 0 w 1164872"/>
              <a:gd name="connsiteY194" fmla="*/ 1875366 h 2813048"/>
              <a:gd name="connsiteX195" fmla="*/ 0 w 1164872"/>
              <a:gd name="connsiteY195" fmla="*/ 1874854 h 2813048"/>
              <a:gd name="connsiteX196" fmla="*/ 0 w 1164872"/>
              <a:gd name="connsiteY196" fmla="*/ 1846214 h 2813048"/>
              <a:gd name="connsiteX197" fmla="*/ 0 w 1164872"/>
              <a:gd name="connsiteY197" fmla="*/ 1816833 h 2813048"/>
              <a:gd name="connsiteX198" fmla="*/ 0 w 1164872"/>
              <a:gd name="connsiteY198" fmla="*/ 1787681 h 2813048"/>
              <a:gd name="connsiteX199" fmla="*/ 0 w 1164872"/>
              <a:gd name="connsiteY199" fmla="*/ 1758299 h 2813048"/>
              <a:gd name="connsiteX200" fmla="*/ 0 w 1164872"/>
              <a:gd name="connsiteY200" fmla="*/ 1729147 h 2813048"/>
              <a:gd name="connsiteX201" fmla="*/ 0 w 1164872"/>
              <a:gd name="connsiteY201" fmla="*/ 1699766 h 2813048"/>
              <a:gd name="connsiteX202" fmla="*/ 0 w 1164872"/>
              <a:gd name="connsiteY202" fmla="*/ 1670614 h 2813048"/>
              <a:gd name="connsiteX203" fmla="*/ 0 w 1164872"/>
              <a:gd name="connsiteY203" fmla="*/ 1641232 h 2813048"/>
              <a:gd name="connsiteX204" fmla="*/ 0 w 1164872"/>
              <a:gd name="connsiteY204" fmla="*/ 1611621 h 2813048"/>
              <a:gd name="connsiteX205" fmla="*/ 0 w 1164872"/>
              <a:gd name="connsiteY205" fmla="*/ 1582469 h 2813048"/>
              <a:gd name="connsiteX206" fmla="*/ 0 w 1164872"/>
              <a:gd name="connsiteY206" fmla="*/ 1553088 h 2813048"/>
              <a:gd name="connsiteX207" fmla="*/ 0 w 1164872"/>
              <a:gd name="connsiteY207" fmla="*/ 1523936 h 2813048"/>
              <a:gd name="connsiteX208" fmla="*/ 0 w 1164872"/>
              <a:gd name="connsiteY208" fmla="*/ 1494554 h 2813048"/>
              <a:gd name="connsiteX209" fmla="*/ 0 w 1164872"/>
              <a:gd name="connsiteY209" fmla="*/ 1465403 h 2813048"/>
              <a:gd name="connsiteX210" fmla="*/ 0 w 1164872"/>
              <a:gd name="connsiteY210" fmla="*/ 1436021 h 2813048"/>
              <a:gd name="connsiteX211" fmla="*/ 0 w 1164872"/>
              <a:gd name="connsiteY211" fmla="*/ 1406869 h 2813048"/>
              <a:gd name="connsiteX212" fmla="*/ 0 w 1164872"/>
              <a:gd name="connsiteY212" fmla="*/ 1377488 h 2813048"/>
              <a:gd name="connsiteX213" fmla="*/ 0 w 1164872"/>
              <a:gd name="connsiteY213" fmla="*/ 1348336 h 2813048"/>
              <a:gd name="connsiteX214" fmla="*/ 0 w 1164872"/>
              <a:gd name="connsiteY214" fmla="*/ 1318954 h 2813048"/>
              <a:gd name="connsiteX215" fmla="*/ 0 w 1164872"/>
              <a:gd name="connsiteY215" fmla="*/ 1289573 h 2813048"/>
              <a:gd name="connsiteX216" fmla="*/ 0 w 1164872"/>
              <a:gd name="connsiteY216" fmla="*/ 1260421 h 2813048"/>
              <a:gd name="connsiteX217" fmla="*/ 0 w 1164872"/>
              <a:gd name="connsiteY217" fmla="*/ 1230810 h 2813048"/>
              <a:gd name="connsiteX218" fmla="*/ 0 w 1164872"/>
              <a:gd name="connsiteY218" fmla="*/ 1201658 h 2813048"/>
              <a:gd name="connsiteX219" fmla="*/ 0 w 1164872"/>
              <a:gd name="connsiteY219" fmla="*/ 1172277 h 2813048"/>
              <a:gd name="connsiteX220" fmla="*/ 0 w 1164872"/>
              <a:gd name="connsiteY220" fmla="*/ 1143125 h 2813048"/>
              <a:gd name="connsiteX221" fmla="*/ 0 w 1164872"/>
              <a:gd name="connsiteY221" fmla="*/ 1113743 h 2813048"/>
              <a:gd name="connsiteX222" fmla="*/ 0 w 1164872"/>
              <a:gd name="connsiteY222" fmla="*/ 1084362 h 2813048"/>
              <a:gd name="connsiteX223" fmla="*/ 0 w 1164872"/>
              <a:gd name="connsiteY223" fmla="*/ 1054980 h 2813048"/>
              <a:gd name="connsiteX224" fmla="*/ 0 w 1164872"/>
              <a:gd name="connsiteY224" fmla="*/ 1025599 h 2813048"/>
              <a:gd name="connsiteX225" fmla="*/ 0 w 1164872"/>
              <a:gd name="connsiteY225" fmla="*/ 996447 h 2813048"/>
              <a:gd name="connsiteX226" fmla="*/ 0 w 1164872"/>
              <a:gd name="connsiteY226" fmla="*/ 967065 h 2813048"/>
              <a:gd name="connsiteX227" fmla="*/ 0 w 1164872"/>
              <a:gd name="connsiteY227" fmla="*/ 938327 h 2813048"/>
              <a:gd name="connsiteX228" fmla="*/ 0 w 1164872"/>
              <a:gd name="connsiteY228" fmla="*/ 937684 h 2813048"/>
              <a:gd name="connsiteX229" fmla="*/ 0 w 1164872"/>
              <a:gd name="connsiteY229" fmla="*/ 908946 h 2813048"/>
              <a:gd name="connsiteX230" fmla="*/ 0 w 1164872"/>
              <a:gd name="connsiteY230" fmla="*/ 879796 h 2813048"/>
              <a:gd name="connsiteX231" fmla="*/ 0 w 1164872"/>
              <a:gd name="connsiteY231" fmla="*/ 850416 h 2813048"/>
              <a:gd name="connsiteX232" fmla="*/ 0 w 1164872"/>
              <a:gd name="connsiteY232" fmla="*/ 821265 h 2813048"/>
              <a:gd name="connsiteX233" fmla="*/ 0 w 1164872"/>
              <a:gd name="connsiteY233" fmla="*/ 791885 h 2813048"/>
              <a:gd name="connsiteX234" fmla="*/ 0 w 1164872"/>
              <a:gd name="connsiteY234" fmla="*/ 762505 h 2813048"/>
              <a:gd name="connsiteX235" fmla="*/ 0 w 1164872"/>
              <a:gd name="connsiteY235" fmla="*/ 733355 h 2813048"/>
              <a:gd name="connsiteX236" fmla="*/ 0 w 1164872"/>
              <a:gd name="connsiteY236" fmla="*/ 703974 h 2813048"/>
              <a:gd name="connsiteX237" fmla="*/ 0 w 1164872"/>
              <a:gd name="connsiteY237" fmla="*/ 674824 h 2813048"/>
              <a:gd name="connsiteX238" fmla="*/ 0 w 1164872"/>
              <a:gd name="connsiteY238" fmla="*/ 645214 h 2813048"/>
              <a:gd name="connsiteX239" fmla="*/ 0 w 1164872"/>
              <a:gd name="connsiteY239" fmla="*/ 616064 h 2813048"/>
              <a:gd name="connsiteX240" fmla="*/ 0 w 1164872"/>
              <a:gd name="connsiteY240" fmla="*/ 586684 h 2813048"/>
              <a:gd name="connsiteX241" fmla="*/ 0 w 1164872"/>
              <a:gd name="connsiteY241" fmla="*/ 557533 h 2813048"/>
              <a:gd name="connsiteX242" fmla="*/ 0 w 1164872"/>
              <a:gd name="connsiteY242" fmla="*/ 528153 h 2813048"/>
              <a:gd name="connsiteX243" fmla="*/ 0 w 1164872"/>
              <a:gd name="connsiteY243" fmla="*/ 499002 h 2813048"/>
              <a:gd name="connsiteX244" fmla="*/ 0 w 1164872"/>
              <a:gd name="connsiteY244" fmla="*/ 469622 h 2813048"/>
              <a:gd name="connsiteX245" fmla="*/ 0 w 1164872"/>
              <a:gd name="connsiteY245" fmla="*/ 440242 h 2813048"/>
              <a:gd name="connsiteX246" fmla="*/ 0 w 1164872"/>
              <a:gd name="connsiteY246" fmla="*/ 411092 h 2813048"/>
              <a:gd name="connsiteX247" fmla="*/ 0 w 1164872"/>
              <a:gd name="connsiteY247" fmla="*/ 381712 h 2813048"/>
              <a:gd name="connsiteX248" fmla="*/ 0 w 1164872"/>
              <a:gd name="connsiteY248" fmla="*/ 352331 h 2813048"/>
              <a:gd name="connsiteX249" fmla="*/ 0 w 1164872"/>
              <a:gd name="connsiteY249" fmla="*/ 322951 h 2813048"/>
              <a:gd name="connsiteX250" fmla="*/ 0 w 1164872"/>
              <a:gd name="connsiteY250" fmla="*/ 293801 h 2813048"/>
              <a:gd name="connsiteX251" fmla="*/ 0 w 1164872"/>
              <a:gd name="connsiteY251" fmla="*/ 264421 h 2813048"/>
              <a:gd name="connsiteX252" fmla="*/ 0 w 1164872"/>
              <a:gd name="connsiteY252" fmla="*/ 235041 h 2813048"/>
              <a:gd name="connsiteX253" fmla="*/ 0 w 1164872"/>
              <a:gd name="connsiteY253" fmla="*/ 205661 h 2813048"/>
              <a:gd name="connsiteX254" fmla="*/ 0 w 1164872"/>
              <a:gd name="connsiteY254" fmla="*/ 176280 h 2813048"/>
              <a:gd name="connsiteX255" fmla="*/ 0 w 1164872"/>
              <a:gd name="connsiteY255" fmla="*/ 146900 h 2813048"/>
              <a:gd name="connsiteX256" fmla="*/ 0 w 1164872"/>
              <a:gd name="connsiteY256" fmla="*/ 117520 h 2813048"/>
              <a:gd name="connsiteX257" fmla="*/ 0 w 1164872"/>
              <a:gd name="connsiteY257" fmla="*/ 88140 h 2813048"/>
              <a:gd name="connsiteX258" fmla="*/ 0 w 1164872"/>
              <a:gd name="connsiteY258" fmla="*/ 58760 h 2813048"/>
              <a:gd name="connsiteX259" fmla="*/ 0 w 1164872"/>
              <a:gd name="connsiteY259" fmla="*/ 29380 h 2813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</a:cxnLst>
            <a:rect l="l" t="t" r="r" b="b"/>
            <a:pathLst>
              <a:path w="1164872" h="2813048">
                <a:moveTo>
                  <a:pt x="0" y="0"/>
                </a:moveTo>
                <a:lnTo>
                  <a:pt x="59650" y="34659"/>
                </a:lnTo>
                <a:lnTo>
                  <a:pt x="117505" y="67941"/>
                </a:lnTo>
                <a:lnTo>
                  <a:pt x="173763" y="100535"/>
                </a:lnTo>
                <a:lnTo>
                  <a:pt x="228227" y="131981"/>
                </a:lnTo>
                <a:lnTo>
                  <a:pt x="281293" y="162738"/>
                </a:lnTo>
                <a:lnTo>
                  <a:pt x="332365" y="192348"/>
                </a:lnTo>
                <a:lnTo>
                  <a:pt x="382239" y="221269"/>
                </a:lnTo>
                <a:lnTo>
                  <a:pt x="430319" y="249042"/>
                </a:lnTo>
                <a:lnTo>
                  <a:pt x="477201" y="276127"/>
                </a:lnTo>
                <a:lnTo>
                  <a:pt x="522487" y="302293"/>
                </a:lnTo>
                <a:lnTo>
                  <a:pt x="566377" y="327772"/>
                </a:lnTo>
                <a:lnTo>
                  <a:pt x="608870" y="352331"/>
                </a:lnTo>
                <a:lnTo>
                  <a:pt x="649966" y="375973"/>
                </a:lnTo>
                <a:lnTo>
                  <a:pt x="689667" y="399156"/>
                </a:lnTo>
                <a:lnTo>
                  <a:pt x="728369" y="421421"/>
                </a:lnTo>
                <a:lnTo>
                  <a:pt x="765676" y="442997"/>
                </a:lnTo>
                <a:lnTo>
                  <a:pt x="794802" y="459982"/>
                </a:lnTo>
                <a:lnTo>
                  <a:pt x="823730" y="476508"/>
                </a:lnTo>
                <a:lnTo>
                  <a:pt x="851660" y="492805"/>
                </a:lnTo>
                <a:lnTo>
                  <a:pt x="879190" y="508643"/>
                </a:lnTo>
                <a:lnTo>
                  <a:pt x="906123" y="524251"/>
                </a:lnTo>
                <a:lnTo>
                  <a:pt x="932456" y="539400"/>
                </a:lnTo>
                <a:lnTo>
                  <a:pt x="957992" y="554320"/>
                </a:lnTo>
                <a:lnTo>
                  <a:pt x="983129" y="569010"/>
                </a:lnTo>
                <a:lnTo>
                  <a:pt x="1007667" y="583011"/>
                </a:lnTo>
                <a:lnTo>
                  <a:pt x="1031807" y="597013"/>
                </a:lnTo>
                <a:lnTo>
                  <a:pt x="1055148" y="610555"/>
                </a:lnTo>
                <a:lnTo>
                  <a:pt x="1078290" y="623868"/>
                </a:lnTo>
                <a:lnTo>
                  <a:pt x="1100634" y="636951"/>
                </a:lnTo>
                <a:lnTo>
                  <a:pt x="1122578" y="649346"/>
                </a:lnTo>
                <a:lnTo>
                  <a:pt x="1143925" y="661741"/>
                </a:lnTo>
                <a:lnTo>
                  <a:pt x="1164872" y="673906"/>
                </a:lnTo>
                <a:lnTo>
                  <a:pt x="1164872" y="689284"/>
                </a:lnTo>
                <a:lnTo>
                  <a:pt x="1164872" y="704433"/>
                </a:lnTo>
                <a:lnTo>
                  <a:pt x="1164872" y="719812"/>
                </a:lnTo>
                <a:lnTo>
                  <a:pt x="1164872" y="734961"/>
                </a:lnTo>
                <a:lnTo>
                  <a:pt x="1164872" y="750340"/>
                </a:lnTo>
                <a:lnTo>
                  <a:pt x="1164872" y="765719"/>
                </a:lnTo>
                <a:lnTo>
                  <a:pt x="1164872" y="781097"/>
                </a:lnTo>
                <a:lnTo>
                  <a:pt x="1164872" y="796476"/>
                </a:lnTo>
                <a:lnTo>
                  <a:pt x="1164872" y="811625"/>
                </a:lnTo>
                <a:lnTo>
                  <a:pt x="1164872" y="827004"/>
                </a:lnTo>
                <a:lnTo>
                  <a:pt x="1164872" y="842382"/>
                </a:lnTo>
                <a:lnTo>
                  <a:pt x="1164872" y="857531"/>
                </a:lnTo>
                <a:lnTo>
                  <a:pt x="1164872" y="872680"/>
                </a:lnTo>
                <a:lnTo>
                  <a:pt x="1164872" y="888059"/>
                </a:lnTo>
                <a:lnTo>
                  <a:pt x="1164872" y="903438"/>
                </a:lnTo>
                <a:lnTo>
                  <a:pt x="1164872" y="918587"/>
                </a:lnTo>
                <a:lnTo>
                  <a:pt x="1164872" y="933965"/>
                </a:lnTo>
                <a:lnTo>
                  <a:pt x="1164872" y="949115"/>
                </a:lnTo>
                <a:lnTo>
                  <a:pt x="1164872" y="964493"/>
                </a:lnTo>
                <a:lnTo>
                  <a:pt x="1164872" y="979642"/>
                </a:lnTo>
                <a:lnTo>
                  <a:pt x="1164872" y="994791"/>
                </a:lnTo>
                <a:lnTo>
                  <a:pt x="1164872" y="1010170"/>
                </a:lnTo>
                <a:lnTo>
                  <a:pt x="1164872" y="1025319"/>
                </a:lnTo>
                <a:lnTo>
                  <a:pt x="1164872" y="1040698"/>
                </a:lnTo>
                <a:lnTo>
                  <a:pt x="1164872" y="1055847"/>
                </a:lnTo>
                <a:lnTo>
                  <a:pt x="1164872" y="1071226"/>
                </a:lnTo>
                <a:lnTo>
                  <a:pt x="1164872" y="1086604"/>
                </a:lnTo>
                <a:lnTo>
                  <a:pt x="1164872" y="1101753"/>
                </a:lnTo>
                <a:lnTo>
                  <a:pt x="1164872" y="1117132"/>
                </a:lnTo>
                <a:lnTo>
                  <a:pt x="1164872" y="1132511"/>
                </a:lnTo>
                <a:lnTo>
                  <a:pt x="1164872" y="1147430"/>
                </a:lnTo>
                <a:lnTo>
                  <a:pt x="1164872" y="1162177"/>
                </a:lnTo>
                <a:lnTo>
                  <a:pt x="1164872" y="1162809"/>
                </a:lnTo>
                <a:lnTo>
                  <a:pt x="1164872" y="1177556"/>
                </a:lnTo>
                <a:lnTo>
                  <a:pt x="1164872" y="1192706"/>
                </a:lnTo>
                <a:lnTo>
                  <a:pt x="1164872" y="1208085"/>
                </a:lnTo>
                <a:lnTo>
                  <a:pt x="1164872" y="1223235"/>
                </a:lnTo>
                <a:lnTo>
                  <a:pt x="1164872" y="1238614"/>
                </a:lnTo>
                <a:lnTo>
                  <a:pt x="1164872" y="1253994"/>
                </a:lnTo>
                <a:lnTo>
                  <a:pt x="1164872" y="1269144"/>
                </a:lnTo>
                <a:lnTo>
                  <a:pt x="1164872" y="1284293"/>
                </a:lnTo>
                <a:lnTo>
                  <a:pt x="1164872" y="1299673"/>
                </a:lnTo>
                <a:lnTo>
                  <a:pt x="1164872" y="1314823"/>
                </a:lnTo>
                <a:lnTo>
                  <a:pt x="1164872" y="1330202"/>
                </a:lnTo>
                <a:lnTo>
                  <a:pt x="1164872" y="1345352"/>
                </a:lnTo>
                <a:lnTo>
                  <a:pt x="1164872" y="1360731"/>
                </a:lnTo>
                <a:lnTo>
                  <a:pt x="1164872" y="1376110"/>
                </a:lnTo>
                <a:lnTo>
                  <a:pt x="1164872" y="1391260"/>
                </a:lnTo>
                <a:lnTo>
                  <a:pt x="1164872" y="1406640"/>
                </a:lnTo>
                <a:lnTo>
                  <a:pt x="1164872" y="1421560"/>
                </a:lnTo>
                <a:lnTo>
                  <a:pt x="1164872" y="1436939"/>
                </a:lnTo>
                <a:lnTo>
                  <a:pt x="1164872" y="1452319"/>
                </a:lnTo>
                <a:lnTo>
                  <a:pt x="1164872" y="1467468"/>
                </a:lnTo>
                <a:lnTo>
                  <a:pt x="1164872" y="1482848"/>
                </a:lnTo>
                <a:lnTo>
                  <a:pt x="1164872" y="1497998"/>
                </a:lnTo>
                <a:lnTo>
                  <a:pt x="1164872" y="1513377"/>
                </a:lnTo>
                <a:lnTo>
                  <a:pt x="1164872" y="1528756"/>
                </a:lnTo>
                <a:lnTo>
                  <a:pt x="1164872" y="1543906"/>
                </a:lnTo>
                <a:lnTo>
                  <a:pt x="1164872" y="1559056"/>
                </a:lnTo>
                <a:lnTo>
                  <a:pt x="1164872" y="1574435"/>
                </a:lnTo>
                <a:lnTo>
                  <a:pt x="1164872" y="1589585"/>
                </a:lnTo>
                <a:lnTo>
                  <a:pt x="1164872" y="1604965"/>
                </a:lnTo>
                <a:lnTo>
                  <a:pt x="1164872" y="1620344"/>
                </a:lnTo>
                <a:lnTo>
                  <a:pt x="1164872" y="1635494"/>
                </a:lnTo>
                <a:lnTo>
                  <a:pt x="1164872" y="1650239"/>
                </a:lnTo>
                <a:lnTo>
                  <a:pt x="1164872" y="1650873"/>
                </a:lnTo>
                <a:lnTo>
                  <a:pt x="1164872" y="1665627"/>
                </a:lnTo>
                <a:lnTo>
                  <a:pt x="1164872" y="1680785"/>
                </a:lnTo>
                <a:lnTo>
                  <a:pt x="1164872" y="1696173"/>
                </a:lnTo>
                <a:lnTo>
                  <a:pt x="1164872" y="1711101"/>
                </a:lnTo>
                <a:lnTo>
                  <a:pt x="1164872" y="1726489"/>
                </a:lnTo>
                <a:lnTo>
                  <a:pt x="1164872" y="1741877"/>
                </a:lnTo>
                <a:lnTo>
                  <a:pt x="1164872" y="1757035"/>
                </a:lnTo>
                <a:lnTo>
                  <a:pt x="1164872" y="1772422"/>
                </a:lnTo>
                <a:lnTo>
                  <a:pt x="1164872" y="1787810"/>
                </a:lnTo>
                <a:lnTo>
                  <a:pt x="1164872" y="1802968"/>
                </a:lnTo>
                <a:lnTo>
                  <a:pt x="1164872" y="1818356"/>
                </a:lnTo>
                <a:lnTo>
                  <a:pt x="1164872" y="1833744"/>
                </a:lnTo>
                <a:lnTo>
                  <a:pt x="1164872" y="1848672"/>
                </a:lnTo>
                <a:lnTo>
                  <a:pt x="1164872" y="1864060"/>
                </a:lnTo>
                <a:lnTo>
                  <a:pt x="1164872" y="1879448"/>
                </a:lnTo>
                <a:lnTo>
                  <a:pt x="1164872" y="1894606"/>
                </a:lnTo>
                <a:lnTo>
                  <a:pt x="1164872" y="1909994"/>
                </a:lnTo>
                <a:lnTo>
                  <a:pt x="1164872" y="1925152"/>
                </a:lnTo>
                <a:lnTo>
                  <a:pt x="1164872" y="1940539"/>
                </a:lnTo>
                <a:lnTo>
                  <a:pt x="1164872" y="1955698"/>
                </a:lnTo>
                <a:lnTo>
                  <a:pt x="1164872" y="1971085"/>
                </a:lnTo>
                <a:lnTo>
                  <a:pt x="1164872" y="1986014"/>
                </a:lnTo>
                <a:lnTo>
                  <a:pt x="1164872" y="2001402"/>
                </a:lnTo>
                <a:lnTo>
                  <a:pt x="1164872" y="2016560"/>
                </a:lnTo>
                <a:lnTo>
                  <a:pt x="1164872" y="2031947"/>
                </a:lnTo>
                <a:lnTo>
                  <a:pt x="1164872" y="2047335"/>
                </a:lnTo>
                <a:lnTo>
                  <a:pt x="1164872" y="2062493"/>
                </a:lnTo>
                <a:lnTo>
                  <a:pt x="1164872" y="2077881"/>
                </a:lnTo>
                <a:lnTo>
                  <a:pt x="1164872" y="2093039"/>
                </a:lnTo>
                <a:lnTo>
                  <a:pt x="1164872" y="2108427"/>
                </a:lnTo>
                <a:lnTo>
                  <a:pt x="1164872" y="2123355"/>
                </a:lnTo>
                <a:lnTo>
                  <a:pt x="1164872" y="2138743"/>
                </a:lnTo>
                <a:lnTo>
                  <a:pt x="1144124" y="2150915"/>
                </a:lnTo>
                <a:lnTo>
                  <a:pt x="1122578" y="2163318"/>
                </a:lnTo>
                <a:lnTo>
                  <a:pt x="1100634" y="2175720"/>
                </a:lnTo>
                <a:lnTo>
                  <a:pt x="1078290" y="2188811"/>
                </a:lnTo>
                <a:lnTo>
                  <a:pt x="1055347" y="2202131"/>
                </a:lnTo>
                <a:lnTo>
                  <a:pt x="1031807" y="2215682"/>
                </a:lnTo>
                <a:lnTo>
                  <a:pt x="1007867" y="2229692"/>
                </a:lnTo>
                <a:lnTo>
                  <a:pt x="983329" y="2243701"/>
                </a:lnTo>
                <a:lnTo>
                  <a:pt x="958192" y="2258400"/>
                </a:lnTo>
                <a:lnTo>
                  <a:pt x="932456" y="2273328"/>
                </a:lnTo>
                <a:lnTo>
                  <a:pt x="906322" y="2288487"/>
                </a:lnTo>
                <a:lnTo>
                  <a:pt x="879190" y="2304104"/>
                </a:lnTo>
                <a:lnTo>
                  <a:pt x="851859" y="2319951"/>
                </a:lnTo>
                <a:lnTo>
                  <a:pt x="823929" y="2336257"/>
                </a:lnTo>
                <a:lnTo>
                  <a:pt x="795002" y="2352794"/>
                </a:lnTo>
                <a:lnTo>
                  <a:pt x="765875" y="2369789"/>
                </a:lnTo>
                <a:lnTo>
                  <a:pt x="728569" y="2391378"/>
                </a:lnTo>
                <a:lnTo>
                  <a:pt x="689866" y="2413656"/>
                </a:lnTo>
                <a:lnTo>
                  <a:pt x="650166" y="2436852"/>
                </a:lnTo>
                <a:lnTo>
                  <a:pt x="609069" y="2460508"/>
                </a:lnTo>
                <a:lnTo>
                  <a:pt x="566377" y="2485082"/>
                </a:lnTo>
                <a:lnTo>
                  <a:pt x="522487" y="2510575"/>
                </a:lnTo>
                <a:lnTo>
                  <a:pt x="477201" y="2536758"/>
                </a:lnTo>
                <a:lnTo>
                  <a:pt x="430518" y="2563858"/>
                </a:lnTo>
                <a:lnTo>
                  <a:pt x="382239" y="2591648"/>
                </a:lnTo>
                <a:lnTo>
                  <a:pt x="332564" y="2620586"/>
                </a:lnTo>
                <a:lnTo>
                  <a:pt x="281293" y="2650214"/>
                </a:lnTo>
                <a:lnTo>
                  <a:pt x="228227" y="2680989"/>
                </a:lnTo>
                <a:lnTo>
                  <a:pt x="173763" y="2712454"/>
                </a:lnTo>
                <a:lnTo>
                  <a:pt x="117505" y="2745066"/>
                </a:lnTo>
                <a:lnTo>
                  <a:pt x="59650" y="2778368"/>
                </a:lnTo>
                <a:lnTo>
                  <a:pt x="0" y="2813048"/>
                </a:lnTo>
                <a:lnTo>
                  <a:pt x="0" y="2783651"/>
                </a:lnTo>
                <a:lnTo>
                  <a:pt x="0" y="2754483"/>
                </a:lnTo>
                <a:lnTo>
                  <a:pt x="0" y="2725085"/>
                </a:lnTo>
                <a:lnTo>
                  <a:pt x="0" y="2695918"/>
                </a:lnTo>
                <a:lnTo>
                  <a:pt x="0" y="2666520"/>
                </a:lnTo>
                <a:lnTo>
                  <a:pt x="0" y="2637352"/>
                </a:lnTo>
                <a:lnTo>
                  <a:pt x="0" y="2607955"/>
                </a:lnTo>
                <a:lnTo>
                  <a:pt x="0" y="2578787"/>
                </a:lnTo>
                <a:lnTo>
                  <a:pt x="0" y="2549389"/>
                </a:lnTo>
                <a:lnTo>
                  <a:pt x="0" y="2520222"/>
                </a:lnTo>
                <a:lnTo>
                  <a:pt x="0" y="2490824"/>
                </a:lnTo>
                <a:lnTo>
                  <a:pt x="0" y="2461427"/>
                </a:lnTo>
                <a:lnTo>
                  <a:pt x="0" y="2432259"/>
                </a:lnTo>
                <a:lnTo>
                  <a:pt x="0" y="2402861"/>
                </a:lnTo>
                <a:lnTo>
                  <a:pt x="0" y="2373693"/>
                </a:lnTo>
                <a:lnTo>
                  <a:pt x="0" y="2344296"/>
                </a:lnTo>
                <a:lnTo>
                  <a:pt x="0" y="2315128"/>
                </a:lnTo>
                <a:lnTo>
                  <a:pt x="0" y="2285731"/>
                </a:lnTo>
                <a:lnTo>
                  <a:pt x="0" y="2256563"/>
                </a:lnTo>
                <a:lnTo>
                  <a:pt x="0" y="2227165"/>
                </a:lnTo>
                <a:lnTo>
                  <a:pt x="0" y="2197538"/>
                </a:lnTo>
                <a:lnTo>
                  <a:pt x="0" y="2168370"/>
                </a:lnTo>
                <a:lnTo>
                  <a:pt x="0" y="2138973"/>
                </a:lnTo>
                <a:lnTo>
                  <a:pt x="0" y="2109805"/>
                </a:lnTo>
                <a:lnTo>
                  <a:pt x="0" y="2080407"/>
                </a:lnTo>
                <a:lnTo>
                  <a:pt x="0" y="2051240"/>
                </a:lnTo>
                <a:lnTo>
                  <a:pt x="0" y="2021612"/>
                </a:lnTo>
                <a:lnTo>
                  <a:pt x="0" y="1992445"/>
                </a:lnTo>
                <a:lnTo>
                  <a:pt x="0" y="1963047"/>
                </a:lnTo>
                <a:lnTo>
                  <a:pt x="0" y="1933879"/>
                </a:lnTo>
                <a:lnTo>
                  <a:pt x="0" y="1904482"/>
                </a:lnTo>
                <a:lnTo>
                  <a:pt x="0" y="1875366"/>
                </a:lnTo>
                <a:lnTo>
                  <a:pt x="0" y="1874854"/>
                </a:lnTo>
                <a:lnTo>
                  <a:pt x="0" y="1846214"/>
                </a:lnTo>
                <a:lnTo>
                  <a:pt x="0" y="1816833"/>
                </a:lnTo>
                <a:lnTo>
                  <a:pt x="0" y="1787681"/>
                </a:lnTo>
                <a:lnTo>
                  <a:pt x="0" y="1758299"/>
                </a:lnTo>
                <a:lnTo>
                  <a:pt x="0" y="1729147"/>
                </a:lnTo>
                <a:lnTo>
                  <a:pt x="0" y="1699766"/>
                </a:lnTo>
                <a:lnTo>
                  <a:pt x="0" y="1670614"/>
                </a:lnTo>
                <a:lnTo>
                  <a:pt x="0" y="1641232"/>
                </a:lnTo>
                <a:lnTo>
                  <a:pt x="0" y="1611621"/>
                </a:lnTo>
                <a:lnTo>
                  <a:pt x="0" y="1582469"/>
                </a:lnTo>
                <a:lnTo>
                  <a:pt x="0" y="1553088"/>
                </a:lnTo>
                <a:lnTo>
                  <a:pt x="0" y="1523936"/>
                </a:lnTo>
                <a:lnTo>
                  <a:pt x="0" y="1494554"/>
                </a:lnTo>
                <a:lnTo>
                  <a:pt x="0" y="1465403"/>
                </a:lnTo>
                <a:lnTo>
                  <a:pt x="0" y="1436021"/>
                </a:lnTo>
                <a:lnTo>
                  <a:pt x="0" y="1406869"/>
                </a:lnTo>
                <a:lnTo>
                  <a:pt x="0" y="1377488"/>
                </a:lnTo>
                <a:lnTo>
                  <a:pt x="0" y="1348336"/>
                </a:lnTo>
                <a:lnTo>
                  <a:pt x="0" y="1318954"/>
                </a:lnTo>
                <a:lnTo>
                  <a:pt x="0" y="1289573"/>
                </a:lnTo>
                <a:lnTo>
                  <a:pt x="0" y="1260421"/>
                </a:lnTo>
                <a:lnTo>
                  <a:pt x="0" y="1230810"/>
                </a:lnTo>
                <a:lnTo>
                  <a:pt x="0" y="1201658"/>
                </a:lnTo>
                <a:lnTo>
                  <a:pt x="0" y="1172277"/>
                </a:lnTo>
                <a:lnTo>
                  <a:pt x="0" y="1143125"/>
                </a:lnTo>
                <a:lnTo>
                  <a:pt x="0" y="1113743"/>
                </a:lnTo>
                <a:lnTo>
                  <a:pt x="0" y="1084362"/>
                </a:lnTo>
                <a:lnTo>
                  <a:pt x="0" y="1054980"/>
                </a:lnTo>
                <a:lnTo>
                  <a:pt x="0" y="1025599"/>
                </a:lnTo>
                <a:lnTo>
                  <a:pt x="0" y="996447"/>
                </a:lnTo>
                <a:lnTo>
                  <a:pt x="0" y="967065"/>
                </a:lnTo>
                <a:lnTo>
                  <a:pt x="0" y="938327"/>
                </a:lnTo>
                <a:lnTo>
                  <a:pt x="0" y="937684"/>
                </a:lnTo>
                <a:lnTo>
                  <a:pt x="0" y="908946"/>
                </a:lnTo>
                <a:lnTo>
                  <a:pt x="0" y="879796"/>
                </a:lnTo>
                <a:lnTo>
                  <a:pt x="0" y="850416"/>
                </a:lnTo>
                <a:lnTo>
                  <a:pt x="0" y="821265"/>
                </a:lnTo>
                <a:lnTo>
                  <a:pt x="0" y="791885"/>
                </a:lnTo>
                <a:lnTo>
                  <a:pt x="0" y="762505"/>
                </a:lnTo>
                <a:lnTo>
                  <a:pt x="0" y="733355"/>
                </a:lnTo>
                <a:lnTo>
                  <a:pt x="0" y="703974"/>
                </a:lnTo>
                <a:lnTo>
                  <a:pt x="0" y="674824"/>
                </a:lnTo>
                <a:lnTo>
                  <a:pt x="0" y="645214"/>
                </a:lnTo>
                <a:lnTo>
                  <a:pt x="0" y="616064"/>
                </a:lnTo>
                <a:lnTo>
                  <a:pt x="0" y="586684"/>
                </a:lnTo>
                <a:lnTo>
                  <a:pt x="0" y="557533"/>
                </a:lnTo>
                <a:lnTo>
                  <a:pt x="0" y="528153"/>
                </a:lnTo>
                <a:lnTo>
                  <a:pt x="0" y="499002"/>
                </a:lnTo>
                <a:lnTo>
                  <a:pt x="0" y="469622"/>
                </a:lnTo>
                <a:lnTo>
                  <a:pt x="0" y="440242"/>
                </a:lnTo>
                <a:lnTo>
                  <a:pt x="0" y="411092"/>
                </a:lnTo>
                <a:lnTo>
                  <a:pt x="0" y="381712"/>
                </a:lnTo>
                <a:lnTo>
                  <a:pt x="0" y="352331"/>
                </a:lnTo>
                <a:lnTo>
                  <a:pt x="0" y="322951"/>
                </a:lnTo>
                <a:lnTo>
                  <a:pt x="0" y="293801"/>
                </a:lnTo>
                <a:lnTo>
                  <a:pt x="0" y="264421"/>
                </a:lnTo>
                <a:lnTo>
                  <a:pt x="0" y="235041"/>
                </a:lnTo>
                <a:lnTo>
                  <a:pt x="0" y="205661"/>
                </a:lnTo>
                <a:lnTo>
                  <a:pt x="0" y="176280"/>
                </a:lnTo>
                <a:lnTo>
                  <a:pt x="0" y="146900"/>
                </a:lnTo>
                <a:lnTo>
                  <a:pt x="0" y="117520"/>
                </a:lnTo>
                <a:lnTo>
                  <a:pt x="0" y="88140"/>
                </a:lnTo>
                <a:lnTo>
                  <a:pt x="0" y="58760"/>
                </a:lnTo>
                <a:lnTo>
                  <a:pt x="0" y="29380"/>
                </a:lnTo>
                <a:close/>
              </a:path>
            </a:pathLst>
          </a:cu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lang="en-US"/>
          </a:p>
        </p:txBody>
      </p:sp>
      <p:grpSp>
        <p:nvGrpSpPr>
          <p:cNvPr id="7" name="íṣliďê"/>
          <p:cNvGrpSpPr/>
          <p:nvPr/>
        </p:nvGrpSpPr>
        <p:grpSpPr>
          <a:xfrm>
            <a:off x="660400" y="2097405"/>
            <a:ext cx="4806315" cy="4036695"/>
            <a:chOff x="660402" y="2097342"/>
            <a:chExt cx="4806410" cy="4036758"/>
          </a:xfrm>
        </p:grpSpPr>
        <p:sp>
          <p:nvSpPr>
            <p:cNvPr id="28" name="ïṧļïḓe"/>
            <p:cNvSpPr/>
            <p:nvPr/>
          </p:nvSpPr>
          <p:spPr bwMode="auto">
            <a:xfrm>
              <a:off x="2193010" y="6108444"/>
              <a:ext cx="1765734" cy="25656"/>
            </a:xfrm>
            <a:custGeom>
              <a:avLst/>
              <a:gdLst>
                <a:gd name="T0" fmla="*/ 6776 w 6981"/>
                <a:gd name="T1" fmla="*/ 0 h 103"/>
                <a:gd name="T2" fmla="*/ 6776 w 6981"/>
                <a:gd name="T3" fmla="*/ 0 h 103"/>
                <a:gd name="T4" fmla="*/ 203 w 6981"/>
                <a:gd name="T5" fmla="*/ 0 h 103"/>
                <a:gd name="T6" fmla="*/ 0 w 6981"/>
                <a:gd name="T7" fmla="*/ 46 h 103"/>
                <a:gd name="T8" fmla="*/ 0 w 6981"/>
                <a:gd name="T9" fmla="*/ 55 h 103"/>
                <a:gd name="T10" fmla="*/ 203 w 6981"/>
                <a:gd name="T11" fmla="*/ 102 h 103"/>
                <a:gd name="T12" fmla="*/ 6776 w 6981"/>
                <a:gd name="T13" fmla="*/ 102 h 103"/>
                <a:gd name="T14" fmla="*/ 6980 w 6981"/>
                <a:gd name="T15" fmla="*/ 55 h 103"/>
                <a:gd name="T16" fmla="*/ 6980 w 6981"/>
                <a:gd name="T17" fmla="*/ 46 h 103"/>
                <a:gd name="T18" fmla="*/ 6776 w 6981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81" h="103">
                  <a:moveTo>
                    <a:pt x="6776" y="0"/>
                  </a:moveTo>
                  <a:lnTo>
                    <a:pt x="6776" y="0"/>
                  </a:lnTo>
                  <a:cubicBezTo>
                    <a:pt x="203" y="0"/>
                    <a:pt x="203" y="0"/>
                    <a:pt x="203" y="0"/>
                  </a:cubicBezTo>
                  <a:cubicBezTo>
                    <a:pt x="92" y="0"/>
                    <a:pt x="0" y="18"/>
                    <a:pt x="0" y="4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83"/>
                    <a:pt x="92" y="102"/>
                    <a:pt x="203" y="102"/>
                  </a:cubicBezTo>
                  <a:cubicBezTo>
                    <a:pt x="6776" y="102"/>
                    <a:pt x="6776" y="102"/>
                    <a:pt x="6776" y="102"/>
                  </a:cubicBezTo>
                  <a:cubicBezTo>
                    <a:pt x="6887" y="102"/>
                    <a:pt x="6980" y="83"/>
                    <a:pt x="6980" y="55"/>
                  </a:cubicBezTo>
                  <a:cubicBezTo>
                    <a:pt x="6980" y="46"/>
                    <a:pt x="6980" y="46"/>
                    <a:pt x="6980" y="46"/>
                  </a:cubicBezTo>
                  <a:cubicBezTo>
                    <a:pt x="6980" y="18"/>
                    <a:pt x="6887" y="0"/>
                    <a:pt x="6776" y="0"/>
                  </a:cubicBezTo>
                </a:path>
              </a:pathLst>
            </a:custGeom>
            <a:solidFill>
              <a:srgbClr val="BCBDC0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9" name="iṩļiďê"/>
            <p:cNvSpPr/>
            <p:nvPr/>
          </p:nvSpPr>
          <p:spPr bwMode="auto">
            <a:xfrm>
              <a:off x="660402" y="2097342"/>
              <a:ext cx="4806410" cy="2909055"/>
            </a:xfrm>
            <a:custGeom>
              <a:avLst/>
              <a:gdLst>
                <a:gd name="T0" fmla="*/ 18999 w 19000"/>
                <a:gd name="T1" fmla="*/ 11499 h 11500"/>
                <a:gd name="T2" fmla="*/ 18999 w 19000"/>
                <a:gd name="T3" fmla="*/ 11499 h 11500"/>
                <a:gd name="T4" fmla="*/ 18999 w 19000"/>
                <a:gd name="T5" fmla="*/ 630 h 11500"/>
                <a:gd name="T6" fmla="*/ 18369 w 19000"/>
                <a:gd name="T7" fmla="*/ 0 h 11500"/>
                <a:gd name="T8" fmla="*/ 630 w 19000"/>
                <a:gd name="T9" fmla="*/ 0 h 11500"/>
                <a:gd name="T10" fmla="*/ 0 w 19000"/>
                <a:gd name="T11" fmla="*/ 630 h 11500"/>
                <a:gd name="T12" fmla="*/ 0 w 19000"/>
                <a:gd name="T13" fmla="*/ 11499 h 11500"/>
                <a:gd name="T14" fmla="*/ 18999 w 19000"/>
                <a:gd name="T15" fmla="*/ 11499 h 11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000" h="11500">
                  <a:moveTo>
                    <a:pt x="18999" y="11499"/>
                  </a:moveTo>
                  <a:lnTo>
                    <a:pt x="18999" y="11499"/>
                  </a:lnTo>
                  <a:cubicBezTo>
                    <a:pt x="18999" y="630"/>
                    <a:pt x="18999" y="630"/>
                    <a:pt x="18999" y="630"/>
                  </a:cubicBezTo>
                  <a:cubicBezTo>
                    <a:pt x="18999" y="287"/>
                    <a:pt x="18712" y="0"/>
                    <a:pt x="18369" y="0"/>
                  </a:cubicBezTo>
                  <a:cubicBezTo>
                    <a:pt x="630" y="0"/>
                    <a:pt x="630" y="0"/>
                    <a:pt x="630" y="0"/>
                  </a:cubicBezTo>
                  <a:cubicBezTo>
                    <a:pt x="278" y="0"/>
                    <a:pt x="0" y="287"/>
                    <a:pt x="0" y="630"/>
                  </a:cubicBezTo>
                  <a:cubicBezTo>
                    <a:pt x="0" y="11499"/>
                    <a:pt x="0" y="11499"/>
                    <a:pt x="0" y="11499"/>
                  </a:cubicBezTo>
                  <a:lnTo>
                    <a:pt x="18999" y="11499"/>
                  </a:ln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0" name="íṧḻîde"/>
            <p:cNvSpPr/>
            <p:nvPr/>
          </p:nvSpPr>
          <p:spPr bwMode="auto">
            <a:xfrm>
              <a:off x="2193010" y="5537341"/>
              <a:ext cx="1765734" cy="585604"/>
            </a:xfrm>
            <a:custGeom>
              <a:avLst/>
              <a:gdLst>
                <a:gd name="T0" fmla="*/ 6924 w 6981"/>
                <a:gd name="T1" fmla="*/ 2138 h 2315"/>
                <a:gd name="T2" fmla="*/ 6924 w 6981"/>
                <a:gd name="T3" fmla="*/ 2138 h 2315"/>
                <a:gd name="T4" fmla="*/ 6249 w 6981"/>
                <a:gd name="T5" fmla="*/ 2000 h 2315"/>
                <a:gd name="T6" fmla="*/ 6036 w 6981"/>
                <a:gd name="T7" fmla="*/ 1712 h 2315"/>
                <a:gd name="T8" fmla="*/ 5897 w 6981"/>
                <a:gd name="T9" fmla="*/ 0 h 2315"/>
                <a:gd name="T10" fmla="*/ 1074 w 6981"/>
                <a:gd name="T11" fmla="*/ 0 h 2315"/>
                <a:gd name="T12" fmla="*/ 944 w 6981"/>
                <a:gd name="T13" fmla="*/ 1712 h 2315"/>
                <a:gd name="T14" fmla="*/ 731 w 6981"/>
                <a:gd name="T15" fmla="*/ 2000 h 2315"/>
                <a:gd name="T16" fmla="*/ 37 w 6981"/>
                <a:gd name="T17" fmla="*/ 2148 h 2315"/>
                <a:gd name="T18" fmla="*/ 0 w 6981"/>
                <a:gd name="T19" fmla="*/ 2185 h 2315"/>
                <a:gd name="T20" fmla="*/ 0 w 6981"/>
                <a:gd name="T21" fmla="*/ 2314 h 2315"/>
                <a:gd name="T22" fmla="*/ 18 w 6981"/>
                <a:gd name="T23" fmla="*/ 2314 h 2315"/>
                <a:gd name="T24" fmla="*/ 6961 w 6981"/>
                <a:gd name="T25" fmla="*/ 2314 h 2315"/>
                <a:gd name="T26" fmla="*/ 6980 w 6981"/>
                <a:gd name="T27" fmla="*/ 2314 h 2315"/>
                <a:gd name="T28" fmla="*/ 6980 w 6981"/>
                <a:gd name="T29" fmla="*/ 2185 h 2315"/>
                <a:gd name="T30" fmla="*/ 6924 w 6981"/>
                <a:gd name="T31" fmla="*/ 2138 h 2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981" h="2315">
                  <a:moveTo>
                    <a:pt x="6924" y="2138"/>
                  </a:moveTo>
                  <a:lnTo>
                    <a:pt x="6924" y="2138"/>
                  </a:lnTo>
                  <a:cubicBezTo>
                    <a:pt x="6795" y="2111"/>
                    <a:pt x="6443" y="2037"/>
                    <a:pt x="6249" y="2000"/>
                  </a:cubicBezTo>
                  <a:cubicBezTo>
                    <a:pt x="6008" y="1944"/>
                    <a:pt x="6036" y="1712"/>
                    <a:pt x="6036" y="1712"/>
                  </a:cubicBezTo>
                  <a:cubicBezTo>
                    <a:pt x="5897" y="0"/>
                    <a:pt x="5897" y="0"/>
                    <a:pt x="5897" y="0"/>
                  </a:cubicBezTo>
                  <a:cubicBezTo>
                    <a:pt x="1074" y="0"/>
                    <a:pt x="1074" y="0"/>
                    <a:pt x="1074" y="0"/>
                  </a:cubicBezTo>
                  <a:cubicBezTo>
                    <a:pt x="944" y="1712"/>
                    <a:pt x="944" y="1712"/>
                    <a:pt x="944" y="1712"/>
                  </a:cubicBezTo>
                  <a:cubicBezTo>
                    <a:pt x="944" y="1712"/>
                    <a:pt x="972" y="1944"/>
                    <a:pt x="731" y="2000"/>
                  </a:cubicBezTo>
                  <a:cubicBezTo>
                    <a:pt x="527" y="2046"/>
                    <a:pt x="148" y="2120"/>
                    <a:pt x="37" y="2148"/>
                  </a:cubicBezTo>
                  <a:cubicBezTo>
                    <a:pt x="0" y="2157"/>
                    <a:pt x="0" y="2185"/>
                    <a:pt x="0" y="2185"/>
                  </a:cubicBezTo>
                  <a:cubicBezTo>
                    <a:pt x="0" y="2314"/>
                    <a:pt x="0" y="2314"/>
                    <a:pt x="0" y="2314"/>
                  </a:cubicBezTo>
                  <a:cubicBezTo>
                    <a:pt x="18" y="2314"/>
                    <a:pt x="18" y="2314"/>
                    <a:pt x="18" y="2314"/>
                  </a:cubicBezTo>
                  <a:cubicBezTo>
                    <a:pt x="6961" y="2314"/>
                    <a:pt x="6961" y="2314"/>
                    <a:pt x="6961" y="2314"/>
                  </a:cubicBezTo>
                  <a:cubicBezTo>
                    <a:pt x="6980" y="2314"/>
                    <a:pt x="6980" y="2314"/>
                    <a:pt x="6980" y="2314"/>
                  </a:cubicBezTo>
                  <a:cubicBezTo>
                    <a:pt x="6980" y="2185"/>
                    <a:pt x="6980" y="2185"/>
                    <a:pt x="6980" y="2185"/>
                  </a:cubicBezTo>
                  <a:cubicBezTo>
                    <a:pt x="6980" y="2185"/>
                    <a:pt x="6980" y="2157"/>
                    <a:pt x="6924" y="2138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1" name="iş1ídé"/>
            <p:cNvSpPr/>
            <p:nvPr/>
          </p:nvSpPr>
          <p:spPr bwMode="auto">
            <a:xfrm>
              <a:off x="660402" y="5006397"/>
              <a:ext cx="4806410" cy="532063"/>
            </a:xfrm>
            <a:custGeom>
              <a:avLst/>
              <a:gdLst>
                <a:gd name="T0" fmla="*/ 0 w 19000"/>
                <a:gd name="T1" fmla="*/ 0 h 2103"/>
                <a:gd name="T2" fmla="*/ 0 w 19000"/>
                <a:gd name="T3" fmla="*/ 0 h 2103"/>
                <a:gd name="T4" fmla="*/ 0 w 19000"/>
                <a:gd name="T5" fmla="*/ 1472 h 2103"/>
                <a:gd name="T6" fmla="*/ 630 w 19000"/>
                <a:gd name="T7" fmla="*/ 2102 h 2103"/>
                <a:gd name="T8" fmla="*/ 18369 w 19000"/>
                <a:gd name="T9" fmla="*/ 2102 h 2103"/>
                <a:gd name="T10" fmla="*/ 18999 w 19000"/>
                <a:gd name="T11" fmla="*/ 1472 h 2103"/>
                <a:gd name="T12" fmla="*/ 18999 w 19000"/>
                <a:gd name="T13" fmla="*/ 0 h 2103"/>
                <a:gd name="T14" fmla="*/ 0 w 19000"/>
                <a:gd name="T15" fmla="*/ 0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000" h="2103">
                  <a:moveTo>
                    <a:pt x="0" y="0"/>
                  </a:moveTo>
                  <a:lnTo>
                    <a:pt x="0" y="0"/>
                  </a:lnTo>
                  <a:cubicBezTo>
                    <a:pt x="0" y="1472"/>
                    <a:pt x="0" y="1472"/>
                    <a:pt x="0" y="1472"/>
                  </a:cubicBezTo>
                  <a:cubicBezTo>
                    <a:pt x="0" y="1824"/>
                    <a:pt x="278" y="2102"/>
                    <a:pt x="630" y="2102"/>
                  </a:cubicBezTo>
                  <a:cubicBezTo>
                    <a:pt x="18369" y="2102"/>
                    <a:pt x="18369" y="2102"/>
                    <a:pt x="18369" y="2102"/>
                  </a:cubicBezTo>
                  <a:cubicBezTo>
                    <a:pt x="18712" y="2102"/>
                    <a:pt x="18999" y="1824"/>
                    <a:pt x="18999" y="1472"/>
                  </a:cubicBezTo>
                  <a:cubicBezTo>
                    <a:pt x="18999" y="0"/>
                    <a:pt x="18999" y="0"/>
                    <a:pt x="18999" y="0"/>
                  </a:cubicBez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32" name="ïšlîďe"/>
            <p:cNvSpPr/>
            <p:nvPr/>
          </p:nvSpPr>
          <p:spPr bwMode="auto">
            <a:xfrm>
              <a:off x="2193012" y="6080559"/>
              <a:ext cx="1765734" cy="42386"/>
            </a:xfrm>
            <a:custGeom>
              <a:avLst/>
              <a:gdLst>
                <a:gd name="T0" fmla="*/ 6943 w 6981"/>
                <a:gd name="T1" fmla="*/ 0 h 167"/>
                <a:gd name="T2" fmla="*/ 6943 w 6981"/>
                <a:gd name="T3" fmla="*/ 0 h 167"/>
                <a:gd name="T4" fmla="*/ 27 w 6981"/>
                <a:gd name="T5" fmla="*/ 0 h 167"/>
                <a:gd name="T6" fmla="*/ 0 w 6981"/>
                <a:gd name="T7" fmla="*/ 37 h 167"/>
                <a:gd name="T8" fmla="*/ 0 w 6981"/>
                <a:gd name="T9" fmla="*/ 166 h 167"/>
                <a:gd name="T10" fmla="*/ 18 w 6981"/>
                <a:gd name="T11" fmla="*/ 166 h 167"/>
                <a:gd name="T12" fmla="*/ 6961 w 6981"/>
                <a:gd name="T13" fmla="*/ 166 h 167"/>
                <a:gd name="T14" fmla="*/ 6980 w 6981"/>
                <a:gd name="T15" fmla="*/ 166 h 167"/>
                <a:gd name="T16" fmla="*/ 6980 w 6981"/>
                <a:gd name="T17" fmla="*/ 37 h 167"/>
                <a:gd name="T18" fmla="*/ 6943 w 6981"/>
                <a:gd name="T19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81" h="167">
                  <a:moveTo>
                    <a:pt x="6943" y="0"/>
                  </a:moveTo>
                  <a:lnTo>
                    <a:pt x="6943" y="0"/>
                  </a:lnTo>
                  <a:cubicBezTo>
                    <a:pt x="27" y="0"/>
                    <a:pt x="27" y="0"/>
                    <a:pt x="27" y="0"/>
                  </a:cubicBezTo>
                  <a:cubicBezTo>
                    <a:pt x="0" y="9"/>
                    <a:pt x="0" y="37"/>
                    <a:pt x="0" y="37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6961" y="166"/>
                    <a:pt x="6961" y="166"/>
                    <a:pt x="6961" y="166"/>
                  </a:cubicBezTo>
                  <a:cubicBezTo>
                    <a:pt x="6980" y="166"/>
                    <a:pt x="6980" y="166"/>
                    <a:pt x="6980" y="166"/>
                  </a:cubicBezTo>
                  <a:cubicBezTo>
                    <a:pt x="6980" y="37"/>
                    <a:pt x="6980" y="37"/>
                    <a:pt x="6980" y="37"/>
                  </a:cubicBezTo>
                  <a:cubicBezTo>
                    <a:pt x="6980" y="37"/>
                    <a:pt x="6980" y="18"/>
                    <a:pt x="6943" y="0"/>
                  </a:cubicBezTo>
                </a:path>
              </a:pathLst>
            </a:custGeom>
            <a:solidFill>
              <a:srgbClr val="D1D2D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3" name="îṧ1îḋê"/>
            <p:cNvSpPr/>
            <p:nvPr/>
          </p:nvSpPr>
          <p:spPr bwMode="auto">
            <a:xfrm>
              <a:off x="885719" y="2308160"/>
              <a:ext cx="4353544" cy="2466226"/>
            </a:xfrm>
            <a:custGeom>
              <a:avLst/>
              <a:gdLst>
                <a:gd name="T0" fmla="*/ 17212 w 17213"/>
                <a:gd name="T1" fmla="*/ 9749 h 9750"/>
                <a:gd name="T2" fmla="*/ 0 w 17213"/>
                <a:gd name="T3" fmla="*/ 9749 h 9750"/>
                <a:gd name="T4" fmla="*/ 0 w 17213"/>
                <a:gd name="T5" fmla="*/ 0 h 9750"/>
                <a:gd name="T6" fmla="*/ 17212 w 17213"/>
                <a:gd name="T7" fmla="*/ 0 h 9750"/>
                <a:gd name="T8" fmla="*/ 17212 w 17213"/>
                <a:gd name="T9" fmla="*/ 9749 h 9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13" h="9750">
                  <a:moveTo>
                    <a:pt x="17212" y="9749"/>
                  </a:moveTo>
                  <a:lnTo>
                    <a:pt x="0" y="9749"/>
                  </a:lnTo>
                  <a:lnTo>
                    <a:pt x="0" y="0"/>
                  </a:lnTo>
                  <a:lnTo>
                    <a:pt x="17212" y="0"/>
                  </a:lnTo>
                  <a:lnTo>
                    <a:pt x="17212" y="9749"/>
                  </a:lnTo>
                </a:path>
              </a:pathLst>
            </a:custGeom>
            <a:blipFill dpi="0"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400"/>
              <a:endParaRPr lang="en-US" dirty="0"/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6927215" y="1388745"/>
            <a:ext cx="4644390" cy="687705"/>
            <a:chOff x="10826" y="2238"/>
            <a:chExt cx="7314" cy="1083"/>
          </a:xfrm>
        </p:grpSpPr>
        <p:grpSp>
          <p:nvGrpSpPr>
            <p:cNvPr id="8" name="íŝ1ïḋe"/>
            <p:cNvGrpSpPr/>
            <p:nvPr/>
          </p:nvGrpSpPr>
          <p:grpSpPr>
            <a:xfrm>
              <a:off x="10826" y="2238"/>
              <a:ext cx="7314" cy="1046"/>
              <a:chOff x="6874195" y="1212262"/>
              <a:chExt cx="4644704" cy="664164"/>
            </a:xfrm>
          </p:grpSpPr>
          <p:sp>
            <p:nvSpPr>
              <p:cNvPr id="26" name="ïśļiḑé"/>
              <p:cNvSpPr/>
              <p:nvPr/>
            </p:nvSpPr>
            <p:spPr bwMode="auto">
              <a:xfrm>
                <a:off x="7667624" y="1212262"/>
                <a:ext cx="3851275" cy="664164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vert="horz" wrap="square" lIns="91440" tIns="45720" rIns="91440" bIns="45720" numCol="1" anchor="ctr" anchorCtr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2000" dirty="0">
                    <a:sym typeface="+mn-ea"/>
                  </a:rPr>
                  <a:t>认识分支结构</a:t>
                </a:r>
                <a:endParaRPr lang="en-US" altLang="zh-CN" sz="2000" dirty="0"/>
              </a:p>
            </p:txBody>
          </p:sp>
          <p:sp>
            <p:nvSpPr>
              <p:cNvPr id="27" name="i$1ide"/>
              <p:cNvSpPr/>
              <p:nvPr/>
            </p:nvSpPr>
            <p:spPr>
              <a:xfrm>
                <a:off x="6874195" y="1212262"/>
                <a:ext cx="793430" cy="664164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>
                        <a:lumMod val="65000"/>
                      </a:schemeClr>
                    </a:solidFill>
                  </a:rPr>
                  <a:t>01.</a:t>
                </a:r>
                <a:endParaRPr lang="zh-CN" altLang="en-US" sz="2800" b="1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p:grpSp>
        <p:cxnSp>
          <p:nvCxnSpPr>
            <p:cNvPr id="13" name="直接连接符 12"/>
            <p:cNvCxnSpPr/>
            <p:nvPr/>
          </p:nvCxnSpPr>
          <p:spPr>
            <a:xfrm>
              <a:off x="12240" y="3321"/>
              <a:ext cx="5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组合 36"/>
          <p:cNvGrpSpPr/>
          <p:nvPr/>
        </p:nvGrpSpPr>
        <p:grpSpPr>
          <a:xfrm>
            <a:off x="6927215" y="2174875"/>
            <a:ext cx="4655820" cy="675640"/>
            <a:chOff x="10826" y="3483"/>
            <a:chExt cx="7332" cy="1064"/>
          </a:xfrm>
        </p:grpSpPr>
        <p:grpSp>
          <p:nvGrpSpPr>
            <p:cNvPr id="9" name="iṥľîdè"/>
            <p:cNvGrpSpPr/>
            <p:nvPr/>
          </p:nvGrpSpPr>
          <p:grpSpPr>
            <a:xfrm>
              <a:off x="10826" y="3483"/>
              <a:ext cx="7314" cy="1064"/>
              <a:chOff x="6874251" y="1063289"/>
              <a:chExt cx="4644648" cy="675404"/>
            </a:xfrm>
          </p:grpSpPr>
          <p:sp>
            <p:nvSpPr>
              <p:cNvPr id="24" name="îSḷîḓé"/>
              <p:cNvSpPr/>
              <p:nvPr/>
            </p:nvSpPr>
            <p:spPr bwMode="auto">
              <a:xfrm>
                <a:off x="7667624" y="1074529"/>
                <a:ext cx="3851275" cy="664164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vert="horz" wrap="square" lIns="91440" tIns="45720" rIns="91440" bIns="45720" numCol="1" anchor="ctr" anchorCtr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dirty="0">
                    <a:sym typeface="+mn-ea"/>
                  </a:rPr>
                  <a:t>if</a:t>
                </a:r>
                <a:r>
                  <a:rPr lang="zh-CN" altLang="en-US" sz="2000" dirty="0">
                    <a:sym typeface="+mn-ea"/>
                  </a:rPr>
                  <a:t>条件语句</a:t>
                </a:r>
              </a:p>
            </p:txBody>
          </p:sp>
          <p:sp>
            <p:nvSpPr>
              <p:cNvPr id="25" name="iṡḷïḓê"/>
              <p:cNvSpPr/>
              <p:nvPr/>
            </p:nvSpPr>
            <p:spPr>
              <a:xfrm>
                <a:off x="6874251" y="1063289"/>
                <a:ext cx="793430" cy="664164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>
                        <a:lumMod val="65000"/>
                      </a:schemeClr>
                    </a:solidFill>
                  </a:rPr>
                  <a:t>02.</a:t>
                </a:r>
                <a:endParaRPr lang="zh-CN" altLang="en-US" sz="2800" b="1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p:grpSp>
        <p:cxnSp>
          <p:nvCxnSpPr>
            <p:cNvPr id="14" name="直接连接符 13"/>
            <p:cNvCxnSpPr/>
            <p:nvPr/>
          </p:nvCxnSpPr>
          <p:spPr>
            <a:xfrm>
              <a:off x="12258" y="4512"/>
              <a:ext cx="5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组合 37"/>
          <p:cNvGrpSpPr/>
          <p:nvPr/>
        </p:nvGrpSpPr>
        <p:grpSpPr>
          <a:xfrm>
            <a:off x="6927215" y="2927350"/>
            <a:ext cx="4644390" cy="859155"/>
            <a:chOff x="10826" y="5107"/>
            <a:chExt cx="7314" cy="1353"/>
          </a:xfrm>
        </p:grpSpPr>
        <p:grpSp>
          <p:nvGrpSpPr>
            <p:cNvPr id="10" name="iślïḓé"/>
            <p:cNvGrpSpPr/>
            <p:nvPr/>
          </p:nvGrpSpPr>
          <p:grpSpPr>
            <a:xfrm>
              <a:off x="10826" y="5107"/>
              <a:ext cx="7314" cy="1064"/>
              <a:chOff x="6874195" y="1155316"/>
              <a:chExt cx="4644704" cy="675400"/>
            </a:xfrm>
          </p:grpSpPr>
          <p:sp>
            <p:nvSpPr>
              <p:cNvPr id="22" name="ïṥļíḍe"/>
              <p:cNvSpPr/>
              <p:nvPr/>
            </p:nvSpPr>
            <p:spPr bwMode="auto">
              <a:xfrm>
                <a:off x="7667624" y="1166552"/>
                <a:ext cx="3851275" cy="664164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vert="horz" wrap="square" lIns="91440" tIns="45720" rIns="91440" bIns="45720" numCol="1" anchor="ctr" anchorCtr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dirty="0">
                    <a:sym typeface="+mn-ea"/>
                  </a:rPr>
                  <a:t>python</a:t>
                </a:r>
                <a:r>
                  <a:rPr lang="zh-CN" altLang="en-US" sz="2000" dirty="0">
                    <a:sym typeface="+mn-ea"/>
                  </a:rPr>
                  <a:t>的关系表达式</a:t>
                </a:r>
                <a:endParaRPr lang="en-US" altLang="zh-CN" sz="2000" dirty="0"/>
              </a:p>
            </p:txBody>
          </p:sp>
          <p:sp>
            <p:nvSpPr>
              <p:cNvPr id="23" name="îṧļiḓé"/>
              <p:cNvSpPr/>
              <p:nvPr/>
            </p:nvSpPr>
            <p:spPr>
              <a:xfrm>
                <a:off x="6874195" y="1155316"/>
                <a:ext cx="793430" cy="664164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>
                        <a:lumMod val="65000"/>
                      </a:schemeClr>
                    </a:solidFill>
                  </a:rPr>
                  <a:t>03.</a:t>
                </a:r>
                <a:endParaRPr lang="zh-CN" altLang="en-US" sz="2800" b="1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p:grpSp>
        <p:cxnSp>
          <p:nvCxnSpPr>
            <p:cNvPr id="15" name="直接连接符 14"/>
            <p:cNvCxnSpPr/>
            <p:nvPr/>
          </p:nvCxnSpPr>
          <p:spPr>
            <a:xfrm>
              <a:off x="12240" y="6460"/>
              <a:ext cx="5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组合 38"/>
          <p:cNvGrpSpPr/>
          <p:nvPr/>
        </p:nvGrpSpPr>
        <p:grpSpPr>
          <a:xfrm>
            <a:off x="6927215" y="3874135"/>
            <a:ext cx="4644390" cy="802005"/>
            <a:chOff x="10826" y="6676"/>
            <a:chExt cx="7314" cy="1263"/>
          </a:xfrm>
        </p:grpSpPr>
        <p:grpSp>
          <p:nvGrpSpPr>
            <p:cNvPr id="11" name="iSľíḍé"/>
            <p:cNvGrpSpPr/>
            <p:nvPr/>
          </p:nvGrpSpPr>
          <p:grpSpPr>
            <a:xfrm>
              <a:off x="10826" y="6676"/>
              <a:ext cx="7314" cy="1046"/>
              <a:chOff x="6874195" y="1212262"/>
              <a:chExt cx="4644704" cy="664164"/>
            </a:xfrm>
          </p:grpSpPr>
          <p:sp>
            <p:nvSpPr>
              <p:cNvPr id="20" name="îşľíḋê"/>
              <p:cNvSpPr/>
              <p:nvPr/>
            </p:nvSpPr>
            <p:spPr bwMode="auto">
              <a:xfrm>
                <a:off x="7667624" y="1212262"/>
                <a:ext cx="3851275" cy="664164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vert="horz" wrap="square" lIns="91440" tIns="45720" rIns="91440" bIns="45720" numCol="1" anchor="ctr" anchorCtr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dirty="0">
                    <a:sym typeface="+mn-ea"/>
                  </a:rPr>
                  <a:t>python</a:t>
                </a:r>
                <a:r>
                  <a:rPr lang="zh-CN" altLang="en-US" sz="2000" dirty="0">
                    <a:sym typeface="+mn-ea"/>
                  </a:rPr>
                  <a:t>的逻辑表达式</a:t>
                </a:r>
              </a:p>
            </p:txBody>
          </p:sp>
          <p:sp>
            <p:nvSpPr>
              <p:cNvPr id="21" name="îṧḷídê"/>
              <p:cNvSpPr/>
              <p:nvPr/>
            </p:nvSpPr>
            <p:spPr>
              <a:xfrm>
                <a:off x="6874195" y="1212262"/>
                <a:ext cx="793430" cy="664164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>
                        <a:lumMod val="65000"/>
                      </a:schemeClr>
                    </a:solidFill>
                  </a:rPr>
                  <a:t>04.</a:t>
                </a:r>
                <a:endParaRPr lang="zh-CN" altLang="en-US" sz="2800" b="1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p:grpSp>
        <p:cxnSp>
          <p:nvCxnSpPr>
            <p:cNvPr id="16" name="直接连接符 15"/>
            <p:cNvCxnSpPr/>
            <p:nvPr/>
          </p:nvCxnSpPr>
          <p:spPr>
            <a:xfrm>
              <a:off x="12240" y="7939"/>
              <a:ext cx="5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grpSp>
        <p:nvGrpSpPr>
          <p:cNvPr id="40" name="组合 39"/>
          <p:cNvGrpSpPr/>
          <p:nvPr/>
        </p:nvGrpSpPr>
        <p:grpSpPr>
          <a:xfrm>
            <a:off x="6927215" y="4752975"/>
            <a:ext cx="4697095" cy="670560"/>
            <a:chOff x="10826" y="8156"/>
            <a:chExt cx="7397" cy="1056"/>
          </a:xfrm>
        </p:grpSpPr>
        <p:grpSp>
          <p:nvGrpSpPr>
            <p:cNvPr id="12" name="iṥlíďè"/>
            <p:cNvGrpSpPr/>
            <p:nvPr/>
          </p:nvGrpSpPr>
          <p:grpSpPr>
            <a:xfrm>
              <a:off x="10826" y="8156"/>
              <a:ext cx="7314" cy="1046"/>
              <a:chOff x="6874195" y="1212262"/>
              <a:chExt cx="4644704" cy="664164"/>
            </a:xfrm>
          </p:grpSpPr>
          <p:sp>
            <p:nvSpPr>
              <p:cNvPr id="18" name="íşḻíḍê"/>
              <p:cNvSpPr/>
              <p:nvPr/>
            </p:nvSpPr>
            <p:spPr bwMode="auto">
              <a:xfrm>
                <a:off x="7667624" y="1212262"/>
                <a:ext cx="3851275" cy="664164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vert="horz" wrap="square" lIns="91440" tIns="45720" rIns="91440" bIns="45720" numCol="1" anchor="ctr" anchorCtr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2000" dirty="0">
                    <a:sym typeface="+mn-ea"/>
                  </a:rPr>
                  <a:t>简单分支结构程序设计</a:t>
                </a:r>
                <a:endParaRPr lang="en-US" altLang="zh-CN" sz="2000" dirty="0"/>
              </a:p>
            </p:txBody>
          </p:sp>
          <p:sp>
            <p:nvSpPr>
              <p:cNvPr id="19" name="iSļîḍe"/>
              <p:cNvSpPr/>
              <p:nvPr/>
            </p:nvSpPr>
            <p:spPr>
              <a:xfrm>
                <a:off x="6874195" y="1212262"/>
                <a:ext cx="793430" cy="664164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>
                        <a:lumMod val="65000"/>
                      </a:schemeClr>
                    </a:solidFill>
                  </a:rPr>
                  <a:t>05.</a:t>
                </a:r>
                <a:endParaRPr lang="zh-CN" altLang="en-US" sz="2800" b="1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p:grpSp>
        <p:cxnSp>
          <p:nvCxnSpPr>
            <p:cNvPr id="35" name="直接连接符 34"/>
            <p:cNvCxnSpPr/>
            <p:nvPr/>
          </p:nvCxnSpPr>
          <p:spPr>
            <a:xfrm>
              <a:off x="12323" y="9212"/>
              <a:ext cx="5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组合 41"/>
          <p:cNvGrpSpPr/>
          <p:nvPr/>
        </p:nvGrpSpPr>
        <p:grpSpPr>
          <a:xfrm>
            <a:off x="6927215" y="5500370"/>
            <a:ext cx="4644390" cy="664210"/>
            <a:chOff x="10909" y="9429"/>
            <a:chExt cx="7314" cy="1046"/>
          </a:xfrm>
        </p:grpSpPr>
        <p:sp>
          <p:nvSpPr>
            <p:cNvPr id="17" name="íşḻíḍê"/>
            <p:cNvSpPr/>
            <p:nvPr/>
          </p:nvSpPr>
          <p:spPr bwMode="auto">
            <a:xfrm>
              <a:off x="12158" y="9429"/>
              <a:ext cx="6065" cy="1046"/>
            </a:xfrm>
            <a:prstGeom prst="rect">
              <a:avLst/>
            </a:prstGeom>
            <a:noFill/>
            <a:ln w="3175">
              <a:noFill/>
            </a:ln>
          </p:spPr>
          <p:txBody>
            <a:bodyPr vert="horz" wrap="square" lIns="91440" tIns="45720" rIns="91440" bIns="45720" numCol="1" anchor="ctr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000" dirty="0"/>
                <a:t>随堂练习</a:t>
              </a:r>
            </a:p>
          </p:txBody>
        </p:sp>
        <p:sp>
          <p:nvSpPr>
            <p:cNvPr id="34" name="iSļîḍe"/>
            <p:cNvSpPr/>
            <p:nvPr/>
          </p:nvSpPr>
          <p:spPr>
            <a:xfrm>
              <a:off x="10909" y="9429"/>
              <a:ext cx="1249" cy="1046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>
                      <a:lumMod val="65000"/>
                    </a:schemeClr>
                  </a:solidFill>
                </a:rPr>
                <a:t>06.</a:t>
              </a:r>
              <a:endParaRPr lang="zh-CN" altLang="en-US" sz="28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cxnSp>
          <p:nvCxnSpPr>
            <p:cNvPr id="41" name="直接连接符 40"/>
            <p:cNvCxnSpPr/>
            <p:nvPr/>
          </p:nvCxnSpPr>
          <p:spPr>
            <a:xfrm>
              <a:off x="12323" y="10475"/>
              <a:ext cx="5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143510"/>
            <a:ext cx="6177280" cy="808990"/>
          </a:xfrm>
        </p:spPr>
        <p:txBody>
          <a:bodyPr>
            <a:normAutofit/>
          </a:bodyPr>
          <a:lstStyle/>
          <a:p>
            <a:r>
              <a:rPr lang="zh-CN" altLang="en-US" dirty="0"/>
              <a:t>简单分支结构程序设计</a:t>
            </a:r>
            <a:r>
              <a:rPr lang="en-US" altLang="zh-CN" dirty="0"/>
              <a:t>——</a:t>
            </a:r>
            <a:r>
              <a:rPr lang="zh-CN" altLang="en-US" dirty="0">
                <a:solidFill>
                  <a:schemeClr val="bg1"/>
                </a:solidFill>
              </a:rPr>
              <a:t>问题分析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8179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20</a:t>
            </a:fld>
            <a:endParaRPr lang="zh-CN" altLang="en-US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38894"/>
            <a:ext cx="730160" cy="730160"/>
          </a:xfrm>
          <a:prstGeom prst="rect">
            <a:avLst/>
          </a:prstGeom>
        </p:spPr>
      </p:pic>
      <p:sp>
        <p:nvSpPr>
          <p:cNvPr id="3" name="ísḷîḑê"/>
          <p:cNvSpPr/>
          <p:nvPr/>
        </p:nvSpPr>
        <p:spPr>
          <a:xfrm>
            <a:off x="660642" y="1044930"/>
            <a:ext cx="1537486" cy="39183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bg1"/>
                </a:solidFill>
              </a:rPr>
              <a:t>问题分析</a:t>
            </a:r>
          </a:p>
        </p:txBody>
      </p:sp>
      <p:sp>
        <p:nvSpPr>
          <p:cNvPr id="5" name="islîḋê"/>
          <p:cNvSpPr/>
          <p:nvPr/>
        </p:nvSpPr>
        <p:spPr>
          <a:xfrm>
            <a:off x="3038082" y="1044930"/>
            <a:ext cx="1537486" cy="3918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tx1"/>
                </a:solidFill>
              </a:rPr>
              <a:t>算法设计</a:t>
            </a:r>
          </a:p>
        </p:txBody>
      </p:sp>
      <p:sp>
        <p:nvSpPr>
          <p:cNvPr id="6" name="i$ḷïďe"/>
          <p:cNvSpPr/>
          <p:nvPr/>
        </p:nvSpPr>
        <p:spPr>
          <a:xfrm>
            <a:off x="5415522" y="1044930"/>
            <a:ext cx="1537486" cy="3918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tx1"/>
                </a:solidFill>
              </a:rPr>
              <a:t>编写代码</a:t>
            </a:r>
          </a:p>
        </p:txBody>
      </p:sp>
      <p:sp>
        <p:nvSpPr>
          <p:cNvPr id="7" name="ïṥḷïďé"/>
          <p:cNvSpPr/>
          <p:nvPr/>
        </p:nvSpPr>
        <p:spPr>
          <a:xfrm>
            <a:off x="7792963" y="1044930"/>
            <a:ext cx="1537486" cy="3918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tx1"/>
                </a:solidFill>
              </a:rPr>
              <a:t>调试运行</a:t>
            </a:r>
          </a:p>
        </p:txBody>
      </p:sp>
      <p:sp>
        <p:nvSpPr>
          <p:cNvPr id="8" name="îSľîḑé"/>
          <p:cNvSpPr/>
          <p:nvPr/>
        </p:nvSpPr>
        <p:spPr bwMode="auto">
          <a:xfrm>
            <a:off x="7078980" y="2927985"/>
            <a:ext cx="4467860" cy="62484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  <a:spcBef>
                <a:spcPct val="0"/>
              </a:spcBef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“登录程序”需要已知什么内容？</a:t>
            </a:r>
            <a:endParaRPr lang="zh-CN" altLang="en-US" sz="2000"/>
          </a:p>
          <a:p>
            <a:pPr algn="l">
              <a:lnSpc>
                <a:spcPct val="150000"/>
              </a:lnSpc>
              <a:spcBef>
                <a:spcPct val="0"/>
              </a:spcBef>
            </a:pP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170940" y="2165985"/>
            <a:ext cx="4650740" cy="49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30000"/>
              </a:lnSpc>
            </a:pPr>
            <a:r>
              <a:rPr lang="zh-CN" altLang="en-US" sz="2000"/>
              <a:t>根据程序功能展示，思考下列问题</a:t>
            </a:r>
          </a:p>
        </p:txBody>
      </p:sp>
      <p:sp>
        <p:nvSpPr>
          <p:cNvPr id="10" name="îSľîḑé"/>
          <p:cNvSpPr/>
          <p:nvPr/>
        </p:nvSpPr>
        <p:spPr bwMode="auto">
          <a:xfrm>
            <a:off x="7078980" y="4314825"/>
            <a:ext cx="4531995" cy="62484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  <a:spcBef>
                <a:spcPct val="0"/>
              </a:spcBef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、判断能否登录的条件是什么？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2" name="îSľîḑé"/>
          <p:cNvSpPr/>
          <p:nvPr/>
        </p:nvSpPr>
        <p:spPr bwMode="auto">
          <a:xfrm>
            <a:off x="7078980" y="5008245"/>
            <a:ext cx="4467225" cy="62484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  <a:spcBef>
                <a:spcPct val="0"/>
              </a:spcBef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、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不同的分支会得到什么样的结果</a:t>
            </a:r>
          </a:p>
        </p:txBody>
      </p:sp>
      <p:pic>
        <p:nvPicPr>
          <p:cNvPr id="17" name="登录">
            <a:hlinkClick r:id="" action="ppaction://media"/>
          </p:cNvPr>
          <p:cNvPicPr/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110"/>
                </p14:media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591185" y="3604895"/>
            <a:ext cx="5230495" cy="2458085"/>
          </a:xfrm>
          <a:prstGeom prst="rect">
            <a:avLst/>
          </a:prstGeom>
          <a:ln w="53975">
            <a:solidFill>
              <a:schemeClr val="accent2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grpSp>
        <p:nvGrpSpPr>
          <p:cNvPr id="16" name="组合 15"/>
          <p:cNvGrpSpPr/>
          <p:nvPr/>
        </p:nvGrpSpPr>
        <p:grpSpPr>
          <a:xfrm>
            <a:off x="6189345" y="1786255"/>
            <a:ext cx="5326380" cy="4276725"/>
            <a:chOff x="9747" y="2813"/>
            <a:chExt cx="8388" cy="6735"/>
          </a:xfrm>
        </p:grpSpPr>
        <p:sp>
          <p:nvSpPr>
            <p:cNvPr id="18" name="流程图: 卡片 17"/>
            <p:cNvSpPr/>
            <p:nvPr/>
          </p:nvSpPr>
          <p:spPr>
            <a:xfrm>
              <a:off x="9747" y="3699"/>
              <a:ext cx="8388" cy="5849"/>
            </a:xfrm>
            <a:prstGeom prst="flowChartPunchedCard">
              <a:avLst/>
            </a:prstGeom>
            <a:noFill/>
            <a:ln w="50800">
              <a:solidFill>
                <a:srgbClr val="F4A229"/>
              </a:solidFill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9" name="组合 18"/>
            <p:cNvGrpSpPr/>
            <p:nvPr/>
          </p:nvGrpSpPr>
          <p:grpSpPr>
            <a:xfrm rot="19560000">
              <a:off x="16120" y="2813"/>
              <a:ext cx="1382" cy="1386"/>
              <a:chOff x="17704" y="7751"/>
              <a:chExt cx="1382" cy="1386"/>
            </a:xfrm>
          </p:grpSpPr>
          <p:sp>
            <p:nvSpPr>
              <p:cNvPr id="20" name="ïsľiďê"/>
              <p:cNvSpPr/>
              <p:nvPr/>
            </p:nvSpPr>
            <p:spPr bwMode="auto">
              <a:xfrm>
                <a:off x="17704" y="7751"/>
                <a:ext cx="1383" cy="1386"/>
              </a:xfrm>
              <a:prstGeom prst="ellipse">
                <a:avLst/>
              </a:prstGeom>
              <a:solidFill>
                <a:srgbClr val="F4A229"/>
              </a:solidFill>
              <a:ln w="2857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3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íśľîde"/>
              <p:cNvSpPr/>
              <p:nvPr/>
            </p:nvSpPr>
            <p:spPr bwMode="auto">
              <a:xfrm>
                <a:off x="18070" y="8090"/>
                <a:ext cx="650" cy="708"/>
              </a:xfrm>
              <a:custGeom>
                <a:avLst/>
                <a:gdLst>
                  <a:gd name="connsiteX0" fmla="*/ 176272 w 556267"/>
                  <a:gd name="connsiteY0" fmla="*/ 555492 h 606087"/>
                  <a:gd name="connsiteX1" fmla="*/ 380065 w 556267"/>
                  <a:gd name="connsiteY1" fmla="*/ 555492 h 606087"/>
                  <a:gd name="connsiteX2" fmla="*/ 379295 w 556267"/>
                  <a:gd name="connsiteY2" fmla="*/ 574730 h 606087"/>
                  <a:gd name="connsiteX3" fmla="*/ 379295 w 556267"/>
                  <a:gd name="connsiteY3" fmla="*/ 606087 h 606087"/>
                  <a:gd name="connsiteX4" fmla="*/ 177043 w 556267"/>
                  <a:gd name="connsiteY4" fmla="*/ 606087 h 606087"/>
                  <a:gd name="connsiteX5" fmla="*/ 177043 w 556267"/>
                  <a:gd name="connsiteY5" fmla="*/ 580116 h 606087"/>
                  <a:gd name="connsiteX6" fmla="*/ 176272 w 556267"/>
                  <a:gd name="connsiteY6" fmla="*/ 555492 h 606087"/>
                  <a:gd name="connsiteX7" fmla="*/ 170486 w 556267"/>
                  <a:gd name="connsiteY7" fmla="*/ 504967 h 606087"/>
                  <a:gd name="connsiteX8" fmla="*/ 386134 w 556267"/>
                  <a:gd name="connsiteY8" fmla="*/ 504967 h 606087"/>
                  <a:gd name="connsiteX9" fmla="*/ 382185 w 556267"/>
                  <a:gd name="connsiteY9" fmla="*/ 530300 h 606087"/>
                  <a:gd name="connsiteX10" fmla="*/ 174050 w 556267"/>
                  <a:gd name="connsiteY10" fmla="*/ 530300 h 606087"/>
                  <a:gd name="connsiteX11" fmla="*/ 170486 w 556267"/>
                  <a:gd name="connsiteY11" fmla="*/ 504967 h 606087"/>
                  <a:gd name="connsiteX12" fmla="*/ 481527 w 556267"/>
                  <a:gd name="connsiteY12" fmla="*/ 380419 h 606087"/>
                  <a:gd name="connsiteX13" fmla="*/ 525359 w 556267"/>
                  <a:gd name="connsiteY13" fmla="*/ 405623 h 606087"/>
                  <a:gd name="connsiteX14" fmla="*/ 512643 w 556267"/>
                  <a:gd name="connsiteY14" fmla="*/ 427557 h 606087"/>
                  <a:gd name="connsiteX15" fmla="*/ 468907 w 556267"/>
                  <a:gd name="connsiteY15" fmla="*/ 402256 h 606087"/>
                  <a:gd name="connsiteX16" fmla="*/ 74740 w 556267"/>
                  <a:gd name="connsiteY16" fmla="*/ 380419 h 606087"/>
                  <a:gd name="connsiteX17" fmla="*/ 87360 w 556267"/>
                  <a:gd name="connsiteY17" fmla="*/ 402353 h 606087"/>
                  <a:gd name="connsiteX18" fmla="*/ 43528 w 556267"/>
                  <a:gd name="connsiteY18" fmla="*/ 427557 h 606087"/>
                  <a:gd name="connsiteX19" fmla="*/ 30908 w 556267"/>
                  <a:gd name="connsiteY19" fmla="*/ 405720 h 606087"/>
                  <a:gd name="connsiteX20" fmla="*/ 505742 w 556267"/>
                  <a:gd name="connsiteY20" fmla="*/ 265115 h 606087"/>
                  <a:gd name="connsiteX21" fmla="*/ 556267 w 556267"/>
                  <a:gd name="connsiteY21" fmla="*/ 265115 h 606087"/>
                  <a:gd name="connsiteX22" fmla="*/ 556267 w 556267"/>
                  <a:gd name="connsiteY22" fmla="*/ 290448 h 606087"/>
                  <a:gd name="connsiteX23" fmla="*/ 505742 w 556267"/>
                  <a:gd name="connsiteY23" fmla="*/ 290448 h 606087"/>
                  <a:gd name="connsiteX24" fmla="*/ 0 w 556267"/>
                  <a:gd name="connsiteY24" fmla="*/ 265115 h 606087"/>
                  <a:gd name="connsiteX25" fmla="*/ 50525 w 556267"/>
                  <a:gd name="connsiteY25" fmla="*/ 265115 h 606087"/>
                  <a:gd name="connsiteX26" fmla="*/ 50525 w 556267"/>
                  <a:gd name="connsiteY26" fmla="*/ 290448 h 606087"/>
                  <a:gd name="connsiteX27" fmla="*/ 0 w 556267"/>
                  <a:gd name="connsiteY27" fmla="*/ 290448 h 606087"/>
                  <a:gd name="connsiteX28" fmla="*/ 512739 w 556267"/>
                  <a:gd name="connsiteY28" fmla="*/ 128006 h 606087"/>
                  <a:gd name="connsiteX29" fmla="*/ 525359 w 556267"/>
                  <a:gd name="connsiteY29" fmla="*/ 149823 h 606087"/>
                  <a:gd name="connsiteX30" fmla="*/ 481527 w 556267"/>
                  <a:gd name="connsiteY30" fmla="*/ 175003 h 606087"/>
                  <a:gd name="connsiteX31" fmla="*/ 468907 w 556267"/>
                  <a:gd name="connsiteY31" fmla="*/ 153186 h 606087"/>
                  <a:gd name="connsiteX32" fmla="*/ 43528 w 556267"/>
                  <a:gd name="connsiteY32" fmla="*/ 127935 h 606087"/>
                  <a:gd name="connsiteX33" fmla="*/ 87360 w 556267"/>
                  <a:gd name="connsiteY33" fmla="*/ 153197 h 606087"/>
                  <a:gd name="connsiteX34" fmla="*/ 74740 w 556267"/>
                  <a:gd name="connsiteY34" fmla="*/ 175002 h 606087"/>
                  <a:gd name="connsiteX35" fmla="*/ 30908 w 556267"/>
                  <a:gd name="connsiteY35" fmla="*/ 149836 h 606087"/>
                  <a:gd name="connsiteX36" fmla="*/ 297059 w 556267"/>
                  <a:gd name="connsiteY36" fmla="*/ 76575 h 606087"/>
                  <a:gd name="connsiteX37" fmla="*/ 404602 w 556267"/>
                  <a:gd name="connsiteY37" fmla="*/ 124032 h 606087"/>
                  <a:gd name="connsiteX38" fmla="*/ 467778 w 556267"/>
                  <a:gd name="connsiteY38" fmla="*/ 265117 h 606087"/>
                  <a:gd name="connsiteX39" fmla="*/ 441583 w 556267"/>
                  <a:gd name="connsiteY39" fmla="*/ 361098 h 606087"/>
                  <a:gd name="connsiteX40" fmla="*/ 391794 w 556267"/>
                  <a:gd name="connsiteY40" fmla="*/ 479775 h 606087"/>
                  <a:gd name="connsiteX41" fmla="*/ 165285 w 556267"/>
                  <a:gd name="connsiteY41" fmla="*/ 479775 h 606087"/>
                  <a:gd name="connsiteX42" fmla="*/ 118192 w 556267"/>
                  <a:gd name="connsiteY42" fmla="*/ 366676 h 606087"/>
                  <a:gd name="connsiteX43" fmla="*/ 89879 w 556267"/>
                  <a:gd name="connsiteY43" fmla="*/ 242420 h 606087"/>
                  <a:gd name="connsiteX44" fmla="*/ 256582 w 556267"/>
                  <a:gd name="connsiteY44" fmla="*/ 76907 h 606087"/>
                  <a:gd name="connsiteX45" fmla="*/ 297059 w 556267"/>
                  <a:gd name="connsiteY45" fmla="*/ 76575 h 606087"/>
                  <a:gd name="connsiteX46" fmla="*/ 150042 w 556267"/>
                  <a:gd name="connsiteY46" fmla="*/ 30978 h 606087"/>
                  <a:gd name="connsiteX47" fmla="*/ 175284 w 556267"/>
                  <a:gd name="connsiteY47" fmla="*/ 74605 h 606087"/>
                  <a:gd name="connsiteX48" fmla="*/ 153414 w 556267"/>
                  <a:gd name="connsiteY48" fmla="*/ 87289 h 606087"/>
                  <a:gd name="connsiteX49" fmla="*/ 128076 w 556267"/>
                  <a:gd name="connsiteY49" fmla="*/ 43566 h 606087"/>
                  <a:gd name="connsiteX50" fmla="*/ 406225 w 556267"/>
                  <a:gd name="connsiteY50" fmla="*/ 30837 h 606087"/>
                  <a:gd name="connsiteX51" fmla="*/ 428191 w 556267"/>
                  <a:gd name="connsiteY51" fmla="*/ 43441 h 606087"/>
                  <a:gd name="connsiteX52" fmla="*/ 402853 w 556267"/>
                  <a:gd name="connsiteY52" fmla="*/ 87219 h 606087"/>
                  <a:gd name="connsiteX53" fmla="*/ 380983 w 556267"/>
                  <a:gd name="connsiteY53" fmla="*/ 74615 h 606087"/>
                  <a:gd name="connsiteX54" fmla="*/ 265538 w 556267"/>
                  <a:gd name="connsiteY54" fmla="*/ 0 h 606087"/>
                  <a:gd name="connsiteX55" fmla="*/ 290730 w 556267"/>
                  <a:gd name="connsiteY55" fmla="*/ 0 h 606087"/>
                  <a:gd name="connsiteX56" fmla="*/ 290730 w 556267"/>
                  <a:gd name="connsiteY56" fmla="*/ 50525 h 606087"/>
                  <a:gd name="connsiteX57" fmla="*/ 265538 w 556267"/>
                  <a:gd name="connsiteY57" fmla="*/ 50525 h 606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556267" h="606087">
                    <a:moveTo>
                      <a:pt x="176272" y="555492"/>
                    </a:moveTo>
                    <a:lnTo>
                      <a:pt x="380065" y="555492"/>
                    </a:lnTo>
                    <a:cubicBezTo>
                      <a:pt x="379680" y="561937"/>
                      <a:pt x="379295" y="568381"/>
                      <a:pt x="379295" y="574730"/>
                    </a:cubicBezTo>
                    <a:lnTo>
                      <a:pt x="379295" y="606087"/>
                    </a:lnTo>
                    <a:lnTo>
                      <a:pt x="177043" y="606087"/>
                    </a:lnTo>
                    <a:lnTo>
                      <a:pt x="177043" y="580116"/>
                    </a:lnTo>
                    <a:cubicBezTo>
                      <a:pt x="177043" y="571844"/>
                      <a:pt x="176657" y="563668"/>
                      <a:pt x="176272" y="555492"/>
                    </a:cubicBezTo>
                    <a:close/>
                    <a:moveTo>
                      <a:pt x="170486" y="504967"/>
                    </a:moveTo>
                    <a:lnTo>
                      <a:pt x="386134" y="504967"/>
                    </a:lnTo>
                    <a:cubicBezTo>
                      <a:pt x="384593" y="513443"/>
                      <a:pt x="383245" y="521824"/>
                      <a:pt x="382185" y="530300"/>
                    </a:cubicBezTo>
                    <a:lnTo>
                      <a:pt x="174050" y="530300"/>
                    </a:lnTo>
                    <a:cubicBezTo>
                      <a:pt x="173087" y="521727"/>
                      <a:pt x="171931" y="513347"/>
                      <a:pt x="170486" y="504967"/>
                    </a:cubicBezTo>
                    <a:close/>
                    <a:moveTo>
                      <a:pt x="481527" y="380419"/>
                    </a:moveTo>
                    <a:lnTo>
                      <a:pt x="525359" y="405623"/>
                    </a:lnTo>
                    <a:lnTo>
                      <a:pt x="512643" y="427557"/>
                    </a:lnTo>
                    <a:lnTo>
                      <a:pt x="468907" y="402256"/>
                    </a:lnTo>
                    <a:close/>
                    <a:moveTo>
                      <a:pt x="74740" y="380419"/>
                    </a:moveTo>
                    <a:lnTo>
                      <a:pt x="87360" y="402353"/>
                    </a:lnTo>
                    <a:lnTo>
                      <a:pt x="43528" y="427557"/>
                    </a:lnTo>
                    <a:lnTo>
                      <a:pt x="30908" y="405720"/>
                    </a:lnTo>
                    <a:close/>
                    <a:moveTo>
                      <a:pt x="505742" y="265115"/>
                    </a:moveTo>
                    <a:lnTo>
                      <a:pt x="556267" y="265115"/>
                    </a:lnTo>
                    <a:lnTo>
                      <a:pt x="556267" y="290448"/>
                    </a:lnTo>
                    <a:lnTo>
                      <a:pt x="505742" y="290448"/>
                    </a:lnTo>
                    <a:close/>
                    <a:moveTo>
                      <a:pt x="0" y="265115"/>
                    </a:moveTo>
                    <a:lnTo>
                      <a:pt x="50525" y="265115"/>
                    </a:lnTo>
                    <a:lnTo>
                      <a:pt x="50525" y="290448"/>
                    </a:lnTo>
                    <a:lnTo>
                      <a:pt x="0" y="290448"/>
                    </a:lnTo>
                    <a:close/>
                    <a:moveTo>
                      <a:pt x="512739" y="128006"/>
                    </a:moveTo>
                    <a:lnTo>
                      <a:pt x="525359" y="149823"/>
                    </a:lnTo>
                    <a:lnTo>
                      <a:pt x="481527" y="175003"/>
                    </a:lnTo>
                    <a:lnTo>
                      <a:pt x="468907" y="153186"/>
                    </a:lnTo>
                    <a:close/>
                    <a:moveTo>
                      <a:pt x="43528" y="127935"/>
                    </a:moveTo>
                    <a:lnTo>
                      <a:pt x="87360" y="153197"/>
                    </a:lnTo>
                    <a:lnTo>
                      <a:pt x="74740" y="175002"/>
                    </a:lnTo>
                    <a:lnTo>
                      <a:pt x="30908" y="149836"/>
                    </a:lnTo>
                    <a:close/>
                    <a:moveTo>
                      <a:pt x="297059" y="76575"/>
                    </a:moveTo>
                    <a:cubicBezTo>
                      <a:pt x="336834" y="80411"/>
                      <a:pt x="374049" y="96623"/>
                      <a:pt x="404602" y="124032"/>
                    </a:cubicBezTo>
                    <a:cubicBezTo>
                      <a:pt x="444761" y="159808"/>
                      <a:pt x="467778" y="211357"/>
                      <a:pt x="467778" y="265117"/>
                    </a:cubicBezTo>
                    <a:cubicBezTo>
                      <a:pt x="467778" y="298874"/>
                      <a:pt x="458726" y="332053"/>
                      <a:pt x="441583" y="361098"/>
                    </a:cubicBezTo>
                    <a:cubicBezTo>
                      <a:pt x="418567" y="400144"/>
                      <a:pt x="402002" y="439767"/>
                      <a:pt x="391794" y="479775"/>
                    </a:cubicBezTo>
                    <a:lnTo>
                      <a:pt x="165285" y="479775"/>
                    </a:lnTo>
                    <a:cubicBezTo>
                      <a:pt x="155462" y="438709"/>
                      <a:pt x="139861" y="400529"/>
                      <a:pt x="118192" y="366676"/>
                    </a:cubicBezTo>
                    <a:cubicBezTo>
                      <a:pt x="94405" y="329649"/>
                      <a:pt x="84678" y="286660"/>
                      <a:pt x="89879" y="242420"/>
                    </a:cubicBezTo>
                    <a:cubicBezTo>
                      <a:pt x="99894" y="156057"/>
                      <a:pt x="170100" y="86524"/>
                      <a:pt x="256582" y="76907"/>
                    </a:cubicBezTo>
                    <a:cubicBezTo>
                      <a:pt x="270258" y="75392"/>
                      <a:pt x="283800" y="75296"/>
                      <a:pt x="297059" y="76575"/>
                    </a:cubicBezTo>
                    <a:close/>
                    <a:moveTo>
                      <a:pt x="150042" y="30978"/>
                    </a:moveTo>
                    <a:lnTo>
                      <a:pt x="175284" y="74605"/>
                    </a:lnTo>
                    <a:lnTo>
                      <a:pt x="153414" y="87289"/>
                    </a:lnTo>
                    <a:lnTo>
                      <a:pt x="128076" y="43566"/>
                    </a:lnTo>
                    <a:close/>
                    <a:moveTo>
                      <a:pt x="406225" y="30837"/>
                    </a:moveTo>
                    <a:lnTo>
                      <a:pt x="428191" y="43441"/>
                    </a:lnTo>
                    <a:lnTo>
                      <a:pt x="402853" y="87219"/>
                    </a:lnTo>
                    <a:lnTo>
                      <a:pt x="380983" y="74615"/>
                    </a:lnTo>
                    <a:close/>
                    <a:moveTo>
                      <a:pt x="265538" y="0"/>
                    </a:moveTo>
                    <a:lnTo>
                      <a:pt x="290730" y="0"/>
                    </a:lnTo>
                    <a:lnTo>
                      <a:pt x="290730" y="50525"/>
                    </a:lnTo>
                    <a:lnTo>
                      <a:pt x="265538" y="505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grpSp>
        <p:nvGrpSpPr>
          <p:cNvPr id="80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>
          <a:xfrm rot="2562995">
            <a:off x="46990" y="1868170"/>
            <a:ext cx="1336675" cy="630555"/>
            <a:chOff x="3558970" y="2488798"/>
            <a:chExt cx="5067710" cy="2391582"/>
          </a:xfrm>
        </p:grpSpPr>
        <p:sp>
          <p:nvSpPr>
            <p:cNvPr id="81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5" name="îSľîḑé"/>
          <p:cNvSpPr/>
          <p:nvPr/>
        </p:nvSpPr>
        <p:spPr bwMode="auto">
          <a:xfrm>
            <a:off x="7078980" y="3621405"/>
            <a:ext cx="4467860" cy="62484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  <a:spcBef>
                <a:spcPct val="0"/>
              </a:spcBef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“登录程序”需要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输入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什么内容？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6" name="太阳1" descr="C:/Users/ADMINI~1/AppData/Local/Temp/kaimatting/20200826170046/output_aiMatting_20200826170056.pngoutput_aiMatting_2020082617005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6494145" y="3020695"/>
            <a:ext cx="462280" cy="440055"/>
          </a:xfrm>
          <a:prstGeom prst="rect">
            <a:avLst/>
          </a:prstGeom>
        </p:spPr>
      </p:pic>
      <p:pic>
        <p:nvPicPr>
          <p:cNvPr id="37" name="太阳2" descr="C:/Users/ADMINI~1/AppData/Local/Temp/kaimatting/20200826170046/output_aiMatting_20200826170056.pngoutput_aiMatting_2020082617005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94145" y="3714115"/>
            <a:ext cx="462280" cy="440055"/>
          </a:xfrm>
          <a:prstGeom prst="rect">
            <a:avLst/>
          </a:prstGeom>
        </p:spPr>
      </p:pic>
      <p:pic>
        <p:nvPicPr>
          <p:cNvPr id="38" name="太阳3" descr="C:/Users/ADMINI~1/AppData/Local/Temp/kaimatting/20200826170046/output_aiMatting_20200826170056.pngoutput_aiMatting_20200826170056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6494145" y="4406900"/>
            <a:ext cx="462280" cy="440055"/>
          </a:xfrm>
          <a:prstGeom prst="rect">
            <a:avLst/>
          </a:prstGeom>
        </p:spPr>
      </p:pic>
      <p:pic>
        <p:nvPicPr>
          <p:cNvPr id="39" name="太阳4" descr="C:/Users/ADMINI~1/AppData/Local/Temp/kaimatting/20200826170046/output_aiMatting_20200826170056.pngoutput_aiMatting_20200826170056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6494145" y="5100955"/>
            <a:ext cx="462280" cy="4400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 additive="base">
                                        <p:cTn id="6" dur="43823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hold" display="1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 additive="base">
                                        <p:cTn id="12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  <p:seq concurrent="1" nextAc="seek">
              <p:cTn id="13" restart="whenNotActive" fill="hold" evtFilter="cancelBubble" nodeType="interactiveSeq">
                <p:stCondLst>
                  <p:cond evt="onClick" delay="0">
                    <p:tgtEl>
                      <p:spTgt spid="3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4" fill="hold">
                      <p:stCondLst>
                        <p:cond delay="0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6"/>
                  </p:tgtEl>
                </p:cond>
              </p:nextCondLst>
            </p:seq>
            <p:seq concurrent="1" nextAc="seek">
              <p:cTn id="19" restart="whenNotActive" fill="hold" evtFilter="cancelBubble" nodeType="interactiveSeq">
                <p:stCondLst>
                  <p:cond evt="onClick" delay="0">
                    <p:tgtEl>
                      <p:spTgt spid="3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0" fill="hold">
                      <p:stCondLst>
                        <p:cond delay="0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7"/>
                  </p:tgtEl>
                </p:cond>
              </p:nextCondLst>
            </p:seq>
            <p:seq concurrent="1" nextAc="seek">
              <p:cTn id="25" restart="whenNotActive" fill="hold" evtFilter="cancelBubble" nodeType="interactiveSeq">
                <p:stCondLst>
                  <p:cond evt="onClick" delay="0">
                    <p:tgtEl>
                      <p:spTgt spid="3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6" fill="hold">
                      <p:stCondLst>
                        <p:cond delay="0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8"/>
                  </p:tgtEl>
                </p:cond>
              </p:nextCondLst>
            </p:seq>
            <p:seq concurrent="1" nextAc="seek">
              <p:cTn id="31" restart="whenNotActive" fill="hold" evtFilter="cancelBubble" nodeType="interactiveSeq">
                <p:stCondLst>
                  <p:cond evt="onClick" delay="0">
                    <p:tgtEl>
                      <p:spTgt spid="3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2" fill="hold">
                      <p:stCondLst>
                        <p:cond delay="0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9"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2" grpId="0"/>
      <p:bldP spid="1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143510"/>
            <a:ext cx="6177280" cy="808990"/>
          </a:xfrm>
        </p:spPr>
        <p:txBody>
          <a:bodyPr>
            <a:normAutofit/>
          </a:bodyPr>
          <a:lstStyle/>
          <a:p>
            <a:r>
              <a:rPr lang="zh-CN" altLang="en-US" dirty="0"/>
              <a:t>简单分支结构程序设计</a:t>
            </a:r>
            <a:r>
              <a:rPr lang="en-US" altLang="zh-CN" dirty="0"/>
              <a:t>——</a:t>
            </a:r>
            <a:r>
              <a:rPr lang="zh-CN" altLang="en-US" dirty="0"/>
              <a:t>算法设计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7417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21</a:t>
            </a:fld>
            <a:endParaRPr lang="zh-CN" altLang="en-US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38894"/>
            <a:ext cx="730160" cy="730160"/>
          </a:xfrm>
          <a:prstGeom prst="rect">
            <a:avLst/>
          </a:prstGeom>
        </p:spPr>
      </p:pic>
      <p:sp>
        <p:nvSpPr>
          <p:cNvPr id="3" name="ísḷîḑê"/>
          <p:cNvSpPr/>
          <p:nvPr/>
        </p:nvSpPr>
        <p:spPr>
          <a:xfrm>
            <a:off x="660642" y="1044930"/>
            <a:ext cx="1537486" cy="3918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tx1"/>
                </a:solidFill>
              </a:rPr>
              <a:t>问题分析</a:t>
            </a:r>
          </a:p>
        </p:txBody>
      </p:sp>
      <p:sp>
        <p:nvSpPr>
          <p:cNvPr id="5" name="islîḋê"/>
          <p:cNvSpPr/>
          <p:nvPr/>
        </p:nvSpPr>
        <p:spPr>
          <a:xfrm>
            <a:off x="3038082" y="1044930"/>
            <a:ext cx="1537486" cy="391835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bg1"/>
                </a:solidFill>
              </a:rPr>
              <a:t>算法设计</a:t>
            </a:r>
          </a:p>
        </p:txBody>
      </p:sp>
      <p:sp>
        <p:nvSpPr>
          <p:cNvPr id="6" name="i$ḷïďe"/>
          <p:cNvSpPr/>
          <p:nvPr/>
        </p:nvSpPr>
        <p:spPr>
          <a:xfrm>
            <a:off x="5415522" y="1044930"/>
            <a:ext cx="1537486" cy="3918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tx1"/>
                </a:solidFill>
              </a:rPr>
              <a:t>编写代码</a:t>
            </a:r>
          </a:p>
        </p:txBody>
      </p:sp>
      <p:sp>
        <p:nvSpPr>
          <p:cNvPr id="7" name="ïṥḷïďé"/>
          <p:cNvSpPr/>
          <p:nvPr/>
        </p:nvSpPr>
        <p:spPr>
          <a:xfrm>
            <a:off x="7792963" y="1044930"/>
            <a:ext cx="1537486" cy="3918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tx1"/>
                </a:solidFill>
              </a:rPr>
              <a:t>调试运行</a:t>
            </a:r>
          </a:p>
        </p:txBody>
      </p:sp>
      <p:grpSp>
        <p:nvGrpSpPr>
          <p:cNvPr id="80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562995">
            <a:off x="10299700" y="1573530"/>
            <a:ext cx="1336675" cy="630555"/>
            <a:chOff x="3558970" y="2488798"/>
            <a:chExt cx="5067710" cy="2391582"/>
          </a:xfrm>
        </p:grpSpPr>
        <p:sp>
          <p:nvSpPr>
            <p:cNvPr id="81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4" name="五边形 13"/>
          <p:cNvSpPr/>
          <p:nvPr/>
        </p:nvSpPr>
        <p:spPr>
          <a:xfrm>
            <a:off x="774700" y="3237865"/>
            <a:ext cx="1790700" cy="648970"/>
          </a:xfrm>
          <a:prstGeom prst="homePlat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000">
                <a:solidFill>
                  <a:schemeClr val="tx1"/>
                </a:solidFill>
                <a:sym typeface="+mn-ea"/>
              </a:rPr>
              <a:t>算法流程图</a:t>
            </a:r>
            <a:endParaRPr lang="zh-CN" altLang="en-US" sz="2000">
              <a:solidFill>
                <a:schemeClr val="tx1"/>
              </a:solidFill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2800985" y="2045970"/>
            <a:ext cx="7658100" cy="3840480"/>
            <a:chOff x="4006" y="3222"/>
            <a:chExt cx="12060" cy="6048"/>
          </a:xfrm>
        </p:grpSpPr>
        <p:grpSp>
          <p:nvGrpSpPr>
            <p:cNvPr id="48" name="组合 47"/>
            <p:cNvGrpSpPr/>
            <p:nvPr/>
          </p:nvGrpSpPr>
          <p:grpSpPr>
            <a:xfrm>
              <a:off x="4006" y="3222"/>
              <a:ext cx="12060" cy="6048"/>
              <a:chOff x="1335" y="3458"/>
              <a:chExt cx="12060" cy="6048"/>
            </a:xfrm>
          </p:grpSpPr>
          <p:cxnSp>
            <p:nvCxnSpPr>
              <p:cNvPr id="44" name="直接连接符 43"/>
              <p:cNvCxnSpPr/>
              <p:nvPr/>
            </p:nvCxnSpPr>
            <p:spPr>
              <a:xfrm>
                <a:off x="3868" y="8464"/>
                <a:ext cx="5372" cy="0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7" name="组合 46"/>
              <p:cNvGrpSpPr/>
              <p:nvPr/>
            </p:nvGrpSpPr>
            <p:grpSpPr>
              <a:xfrm>
                <a:off x="1335" y="3458"/>
                <a:ext cx="12060" cy="6048"/>
                <a:chOff x="1335" y="3458"/>
                <a:chExt cx="12060" cy="6048"/>
              </a:xfrm>
            </p:grpSpPr>
            <p:sp>
              <p:nvSpPr>
                <p:cNvPr id="13" name="流程图: 数据 12"/>
                <p:cNvSpPr/>
                <p:nvPr/>
              </p:nvSpPr>
              <p:spPr>
                <a:xfrm>
                  <a:off x="6658" y="7016"/>
                  <a:ext cx="6737" cy="670"/>
                </a:xfrm>
                <a:prstGeom prst="flowChartInputOutput">
                  <a:avLst/>
                </a:prstGeom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/>
                    <a:t>输出</a:t>
                  </a:r>
                  <a:r>
                    <a:rPr lang="en-US" altLang="zh-CN"/>
                    <a:t>“</a:t>
                  </a:r>
                  <a:r>
                    <a:rPr lang="zh-CN" altLang="en-US"/>
                    <a:t>账号或密码有误</a:t>
                  </a:r>
                  <a:r>
                    <a:rPr lang="en-US" altLang="zh-CN"/>
                    <a:t>”</a:t>
                  </a:r>
                </a:p>
              </p:txBody>
            </p:sp>
            <p:grpSp>
              <p:nvGrpSpPr>
                <p:cNvPr id="46" name="组合 45"/>
                <p:cNvGrpSpPr/>
                <p:nvPr/>
              </p:nvGrpSpPr>
              <p:grpSpPr>
                <a:xfrm>
                  <a:off x="1335" y="3458"/>
                  <a:ext cx="7927" cy="6048"/>
                  <a:chOff x="1125" y="3458"/>
                  <a:chExt cx="7927" cy="6048"/>
                </a:xfrm>
              </p:grpSpPr>
              <p:sp>
                <p:nvSpPr>
                  <p:cNvPr id="8" name="流程图: 终止 7"/>
                  <p:cNvSpPr/>
                  <p:nvPr/>
                </p:nvSpPr>
                <p:spPr>
                  <a:xfrm>
                    <a:off x="5488" y="3458"/>
                    <a:ext cx="1931" cy="515"/>
                  </a:xfrm>
                  <a:prstGeom prst="flowChartTerminator">
                    <a:avLst/>
                  </a:prstGeom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zh-CN" altLang="en-US"/>
                      <a:t>开始</a:t>
                    </a:r>
                  </a:p>
                </p:txBody>
              </p:sp>
              <p:sp>
                <p:nvSpPr>
                  <p:cNvPr id="10" name="流程图: 数据 9"/>
                  <p:cNvSpPr/>
                  <p:nvPr/>
                </p:nvSpPr>
                <p:spPr>
                  <a:xfrm>
                    <a:off x="4018" y="4484"/>
                    <a:ext cx="4872" cy="670"/>
                  </a:xfrm>
                  <a:prstGeom prst="flowChartInputOutput">
                    <a:avLst/>
                  </a:prstGeom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zh-CN" altLang="en-US"/>
                      <a:t>输入帐号和密码</a:t>
                    </a:r>
                  </a:p>
                </p:txBody>
              </p:sp>
              <p:sp>
                <p:nvSpPr>
                  <p:cNvPr id="11" name="菱形 10"/>
                  <p:cNvSpPr/>
                  <p:nvPr/>
                </p:nvSpPr>
                <p:spPr>
                  <a:xfrm>
                    <a:off x="4466" y="5649"/>
                    <a:ext cx="3784" cy="937"/>
                  </a:xfrm>
                  <a:prstGeom prst="diamond">
                    <a:avLst/>
                  </a:prstGeom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zh-CN" altLang="en-US"/>
                      <a:t>是否正确</a:t>
                    </a:r>
                  </a:p>
                </p:txBody>
              </p:sp>
              <p:sp>
                <p:nvSpPr>
                  <p:cNvPr id="12" name="流程图: 数据 11"/>
                  <p:cNvSpPr/>
                  <p:nvPr/>
                </p:nvSpPr>
                <p:spPr>
                  <a:xfrm>
                    <a:off x="1125" y="7091"/>
                    <a:ext cx="5277" cy="670"/>
                  </a:xfrm>
                  <a:prstGeom prst="flowChartInputOutput">
                    <a:avLst/>
                  </a:prstGeom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zh-CN" altLang="en-US"/>
                      <a:t>输出</a:t>
                    </a:r>
                    <a:r>
                      <a:rPr lang="en-US" altLang="zh-CN"/>
                      <a:t>“</a:t>
                    </a:r>
                    <a:r>
                      <a:rPr lang="zh-CN" altLang="en-US"/>
                      <a:t>登录成功</a:t>
                    </a:r>
                    <a:r>
                      <a:rPr lang="en-US" altLang="zh-CN"/>
                      <a:t>”</a:t>
                    </a:r>
                  </a:p>
                </p:txBody>
              </p:sp>
              <p:sp>
                <p:nvSpPr>
                  <p:cNvPr id="15" name="流程图: 终止 14"/>
                  <p:cNvSpPr/>
                  <p:nvPr/>
                </p:nvSpPr>
                <p:spPr>
                  <a:xfrm>
                    <a:off x="5391" y="8992"/>
                    <a:ext cx="1829" cy="514"/>
                  </a:xfrm>
                  <a:prstGeom prst="flowChartTerminator">
                    <a:avLst/>
                  </a:prstGeom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zh-CN" altLang="en-US"/>
                      <a:t>结束</a:t>
                    </a:r>
                  </a:p>
                </p:txBody>
              </p:sp>
              <p:cxnSp>
                <p:nvCxnSpPr>
                  <p:cNvPr id="16" name="直接箭头连接符 15"/>
                  <p:cNvCxnSpPr/>
                  <p:nvPr/>
                </p:nvCxnSpPr>
                <p:spPr>
                  <a:xfrm>
                    <a:off x="6358" y="4057"/>
                    <a:ext cx="0" cy="427"/>
                  </a:xfrm>
                  <a:prstGeom prst="straightConnector1">
                    <a:avLst/>
                  </a:prstGeom>
                  <a:ln w="28575" cmpd="sng">
                    <a:solidFill>
                      <a:schemeClr val="tx1"/>
                    </a:solidFill>
                    <a:prstDash val="solid"/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直接箭头连接符 16"/>
                  <p:cNvCxnSpPr/>
                  <p:nvPr/>
                </p:nvCxnSpPr>
                <p:spPr>
                  <a:xfrm>
                    <a:off x="6358" y="5154"/>
                    <a:ext cx="0" cy="427"/>
                  </a:xfrm>
                  <a:prstGeom prst="straightConnector1">
                    <a:avLst/>
                  </a:prstGeom>
                  <a:ln w="28575" cmpd="sng">
                    <a:solidFill>
                      <a:schemeClr val="tx1"/>
                    </a:solidFill>
                    <a:prstDash val="solid"/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37" name="组合 36"/>
                  <p:cNvGrpSpPr/>
                  <p:nvPr/>
                </p:nvGrpSpPr>
                <p:grpSpPr>
                  <a:xfrm>
                    <a:off x="3682" y="6118"/>
                    <a:ext cx="784" cy="898"/>
                    <a:chOff x="2302" y="6118"/>
                    <a:chExt cx="784" cy="898"/>
                  </a:xfrm>
                </p:grpSpPr>
                <p:cxnSp>
                  <p:nvCxnSpPr>
                    <p:cNvPr id="18" name="直接连接符 17"/>
                    <p:cNvCxnSpPr/>
                    <p:nvPr/>
                  </p:nvCxnSpPr>
                  <p:spPr>
                    <a:xfrm flipH="1">
                      <a:off x="2302" y="6118"/>
                      <a:ext cx="784" cy="0"/>
                    </a:xfrm>
                    <a:prstGeom prst="line">
                      <a:avLst/>
                    </a:prstGeom>
                    <a:ln w="28575"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6" name="直接箭头连接符 35"/>
                    <p:cNvCxnSpPr/>
                    <p:nvPr/>
                  </p:nvCxnSpPr>
                  <p:spPr>
                    <a:xfrm>
                      <a:off x="2317" y="6118"/>
                      <a:ext cx="0" cy="898"/>
                    </a:xfrm>
                    <a:prstGeom prst="straightConnector1">
                      <a:avLst/>
                    </a:prstGeom>
                    <a:ln w="28575" cmpd="sng">
                      <a:solidFill>
                        <a:schemeClr val="tx1"/>
                      </a:solidFill>
                      <a:prstDash val="solid"/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41" name="组合 40"/>
                  <p:cNvGrpSpPr/>
                  <p:nvPr/>
                </p:nvGrpSpPr>
                <p:grpSpPr>
                  <a:xfrm>
                    <a:off x="8249" y="6103"/>
                    <a:ext cx="803" cy="898"/>
                    <a:chOff x="6870" y="6103"/>
                    <a:chExt cx="803" cy="898"/>
                  </a:xfrm>
                </p:grpSpPr>
                <p:cxnSp>
                  <p:nvCxnSpPr>
                    <p:cNvPr id="26" name="直接连接符 25"/>
                    <p:cNvCxnSpPr/>
                    <p:nvPr/>
                  </p:nvCxnSpPr>
                  <p:spPr>
                    <a:xfrm flipH="1">
                      <a:off x="6870" y="6118"/>
                      <a:ext cx="784" cy="0"/>
                    </a:xfrm>
                    <a:prstGeom prst="line">
                      <a:avLst/>
                    </a:prstGeom>
                    <a:ln w="28575"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0" name="直接箭头连接符 39"/>
                    <p:cNvCxnSpPr/>
                    <p:nvPr/>
                  </p:nvCxnSpPr>
                  <p:spPr>
                    <a:xfrm>
                      <a:off x="7673" y="6103"/>
                      <a:ext cx="0" cy="898"/>
                    </a:xfrm>
                    <a:prstGeom prst="straightConnector1">
                      <a:avLst/>
                    </a:prstGeom>
                    <a:ln w="28575" cmpd="sng">
                      <a:solidFill>
                        <a:schemeClr val="tx1"/>
                      </a:solidFill>
                      <a:prstDash val="solid"/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42" name="直接连接符 41"/>
                  <p:cNvCxnSpPr/>
                  <p:nvPr/>
                </p:nvCxnSpPr>
                <p:spPr>
                  <a:xfrm>
                    <a:off x="3681" y="7761"/>
                    <a:ext cx="1" cy="735"/>
                  </a:xfrm>
                  <a:prstGeom prst="line">
                    <a:avLst/>
                  </a:prstGeom>
                  <a:ln w="285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直接连接符 42"/>
                  <p:cNvCxnSpPr/>
                  <p:nvPr/>
                </p:nvCxnSpPr>
                <p:spPr>
                  <a:xfrm>
                    <a:off x="9052" y="7761"/>
                    <a:ext cx="1" cy="735"/>
                  </a:xfrm>
                  <a:prstGeom prst="line">
                    <a:avLst/>
                  </a:prstGeom>
                  <a:ln w="285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直接箭头连接符 44"/>
                  <p:cNvCxnSpPr/>
                  <p:nvPr/>
                </p:nvCxnSpPr>
                <p:spPr>
                  <a:xfrm>
                    <a:off x="6358" y="8496"/>
                    <a:ext cx="0" cy="427"/>
                  </a:xfrm>
                  <a:prstGeom prst="straightConnector1">
                    <a:avLst/>
                  </a:prstGeom>
                  <a:ln w="28575" cmpd="sng">
                    <a:solidFill>
                      <a:schemeClr val="tx1"/>
                    </a:solidFill>
                    <a:prstDash val="solid"/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sp>
          <p:nvSpPr>
            <p:cNvPr id="50" name="文本框 49"/>
            <p:cNvSpPr txBox="1"/>
            <p:nvPr/>
          </p:nvSpPr>
          <p:spPr>
            <a:xfrm>
              <a:off x="6557" y="5342"/>
              <a:ext cx="648" cy="5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/>
                <a:t>是</a:t>
              </a:r>
              <a:endParaRPr lang="zh-CN" altLang="en-US"/>
            </a:p>
          </p:txBody>
        </p:sp>
        <p:sp>
          <p:nvSpPr>
            <p:cNvPr id="51" name="文本框 50"/>
            <p:cNvSpPr txBox="1"/>
            <p:nvPr/>
          </p:nvSpPr>
          <p:spPr>
            <a:xfrm>
              <a:off x="11306" y="5345"/>
              <a:ext cx="608" cy="5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/>
                <a:t>否</a:t>
              </a:r>
            </a:p>
          </p:txBody>
        </p:sp>
      </p:grpSp>
      <p:sp>
        <p:nvSpPr>
          <p:cNvPr id="20" name="矩形 19"/>
          <p:cNvSpPr/>
          <p:nvPr/>
        </p:nvSpPr>
        <p:spPr>
          <a:xfrm>
            <a:off x="4832350" y="1896745"/>
            <a:ext cx="3527425" cy="790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/>
          <p:cNvSpPr/>
          <p:nvPr/>
        </p:nvSpPr>
        <p:spPr>
          <a:xfrm>
            <a:off x="4434205" y="2687320"/>
            <a:ext cx="3527425" cy="704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/>
          <p:cNvSpPr/>
          <p:nvPr/>
        </p:nvSpPr>
        <p:spPr>
          <a:xfrm>
            <a:off x="4177030" y="3437255"/>
            <a:ext cx="3784600" cy="859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矩形 38"/>
          <p:cNvSpPr/>
          <p:nvPr/>
        </p:nvSpPr>
        <p:spPr>
          <a:xfrm>
            <a:off x="2345055" y="4281805"/>
            <a:ext cx="3812540" cy="548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矩形 48"/>
          <p:cNvSpPr/>
          <p:nvPr/>
        </p:nvSpPr>
        <p:spPr>
          <a:xfrm>
            <a:off x="6176010" y="4276090"/>
            <a:ext cx="4344670" cy="482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矩形 51"/>
          <p:cNvSpPr/>
          <p:nvPr/>
        </p:nvSpPr>
        <p:spPr>
          <a:xfrm>
            <a:off x="4025900" y="4778375"/>
            <a:ext cx="4344670" cy="124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bldLvl="0" animBg="1"/>
      <p:bldP spid="38" grpId="0" bldLvl="0" animBg="1"/>
      <p:bldP spid="39" grpId="0" bldLvl="0" animBg="1"/>
      <p:bldP spid="49" grpId="0" bldLvl="0" animBg="1"/>
      <p:bldP spid="52" grpId="0" bldLvl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143510"/>
            <a:ext cx="6177280" cy="808990"/>
          </a:xfrm>
        </p:spPr>
        <p:txBody>
          <a:bodyPr>
            <a:normAutofit/>
          </a:bodyPr>
          <a:lstStyle/>
          <a:p>
            <a:r>
              <a:rPr lang="zh-CN" altLang="en-US" dirty="0"/>
              <a:t>简单分支结构程序设计</a:t>
            </a:r>
            <a:r>
              <a:rPr lang="en-US" altLang="zh-CN" dirty="0"/>
              <a:t>——</a:t>
            </a:r>
            <a:r>
              <a:rPr lang="zh-CN" altLang="en-US" dirty="0"/>
              <a:t>算法设计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8179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22</a:t>
            </a:fld>
            <a:endParaRPr lang="zh-CN" altLang="en-US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38894"/>
            <a:ext cx="730160" cy="730160"/>
          </a:xfrm>
          <a:prstGeom prst="rect">
            <a:avLst/>
          </a:prstGeom>
        </p:spPr>
      </p:pic>
      <p:sp>
        <p:nvSpPr>
          <p:cNvPr id="3" name="ísḷîḑê"/>
          <p:cNvSpPr/>
          <p:nvPr/>
        </p:nvSpPr>
        <p:spPr>
          <a:xfrm>
            <a:off x="660642" y="1044930"/>
            <a:ext cx="1537486" cy="3918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tx1"/>
                </a:solidFill>
              </a:rPr>
              <a:t>问题分析</a:t>
            </a:r>
          </a:p>
        </p:txBody>
      </p:sp>
      <p:sp>
        <p:nvSpPr>
          <p:cNvPr id="5" name="islîḋê"/>
          <p:cNvSpPr/>
          <p:nvPr/>
        </p:nvSpPr>
        <p:spPr>
          <a:xfrm>
            <a:off x="3038082" y="1044930"/>
            <a:ext cx="1537486" cy="3918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tx1"/>
                </a:solidFill>
              </a:rPr>
              <a:t>算法设计</a:t>
            </a:r>
          </a:p>
        </p:txBody>
      </p:sp>
      <p:sp>
        <p:nvSpPr>
          <p:cNvPr id="6" name="i$ḷïďe"/>
          <p:cNvSpPr/>
          <p:nvPr/>
        </p:nvSpPr>
        <p:spPr>
          <a:xfrm>
            <a:off x="5415522" y="1044930"/>
            <a:ext cx="1537486" cy="39183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编写代码</a:t>
            </a:r>
          </a:p>
        </p:txBody>
      </p:sp>
      <p:sp>
        <p:nvSpPr>
          <p:cNvPr id="7" name="ïṥḷïďé"/>
          <p:cNvSpPr/>
          <p:nvPr/>
        </p:nvSpPr>
        <p:spPr>
          <a:xfrm>
            <a:off x="7792963" y="1044930"/>
            <a:ext cx="1537486" cy="3918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tx1"/>
                </a:solidFill>
              </a:rPr>
              <a:t>调试运行</a:t>
            </a:r>
          </a:p>
        </p:txBody>
      </p:sp>
      <p:grpSp>
        <p:nvGrpSpPr>
          <p:cNvPr id="80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562995">
            <a:off x="46990" y="1868170"/>
            <a:ext cx="1336675" cy="630555"/>
            <a:chOff x="3558970" y="2488798"/>
            <a:chExt cx="5067710" cy="2391582"/>
          </a:xfrm>
        </p:grpSpPr>
        <p:sp>
          <p:nvSpPr>
            <p:cNvPr id="81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86" name="矩形: 圆角 285"/>
          <p:cNvSpPr/>
          <p:nvPr/>
        </p:nvSpPr>
        <p:spPr>
          <a:xfrm>
            <a:off x="1701165" y="1841500"/>
            <a:ext cx="8970645" cy="445960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glow rad="63500">
              <a:schemeClr val="accent2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061604" y="2081055"/>
            <a:ext cx="8738235" cy="4123055"/>
          </a:xfrm>
          <a:prstGeom prst="rect">
            <a:avLst/>
          </a:prstGeom>
        </p:spPr>
      </p:pic>
      <p:grpSp>
        <p:nvGrpSpPr>
          <p:cNvPr id="19" name="组合 18"/>
          <p:cNvGrpSpPr/>
          <p:nvPr/>
        </p:nvGrpSpPr>
        <p:grpSpPr>
          <a:xfrm rot="19560000">
            <a:off x="9503410" y="2106295"/>
            <a:ext cx="877570" cy="880110"/>
            <a:chOff x="17704" y="7751"/>
            <a:chExt cx="1382" cy="1386"/>
          </a:xfrm>
        </p:grpSpPr>
        <p:sp>
          <p:nvSpPr>
            <p:cNvPr id="20" name="ïsľiďê"/>
            <p:cNvSpPr/>
            <p:nvPr/>
          </p:nvSpPr>
          <p:spPr bwMode="auto">
            <a:xfrm>
              <a:off x="17704" y="7751"/>
              <a:ext cx="1383" cy="1386"/>
            </a:xfrm>
            <a:prstGeom prst="ellipse">
              <a:avLst/>
            </a:prstGeom>
            <a:solidFill>
              <a:srgbClr val="F4A229"/>
            </a:solidFill>
            <a:ln w="2857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ctr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200" dirty="0">
                <a:solidFill>
                  <a:srgbClr val="FFFFFF"/>
                </a:solidFill>
              </a:endParaRPr>
            </a:p>
          </p:txBody>
        </p:sp>
        <p:sp>
          <p:nvSpPr>
            <p:cNvPr id="21" name="íśľîde"/>
            <p:cNvSpPr/>
            <p:nvPr/>
          </p:nvSpPr>
          <p:spPr bwMode="auto">
            <a:xfrm>
              <a:off x="18070" y="8090"/>
              <a:ext cx="650" cy="708"/>
            </a:xfrm>
            <a:custGeom>
              <a:avLst/>
              <a:gdLst>
                <a:gd name="connsiteX0" fmla="*/ 176272 w 556267"/>
                <a:gd name="connsiteY0" fmla="*/ 555492 h 606087"/>
                <a:gd name="connsiteX1" fmla="*/ 380065 w 556267"/>
                <a:gd name="connsiteY1" fmla="*/ 555492 h 606087"/>
                <a:gd name="connsiteX2" fmla="*/ 379295 w 556267"/>
                <a:gd name="connsiteY2" fmla="*/ 574730 h 606087"/>
                <a:gd name="connsiteX3" fmla="*/ 379295 w 556267"/>
                <a:gd name="connsiteY3" fmla="*/ 606087 h 606087"/>
                <a:gd name="connsiteX4" fmla="*/ 177043 w 556267"/>
                <a:gd name="connsiteY4" fmla="*/ 606087 h 606087"/>
                <a:gd name="connsiteX5" fmla="*/ 177043 w 556267"/>
                <a:gd name="connsiteY5" fmla="*/ 580116 h 606087"/>
                <a:gd name="connsiteX6" fmla="*/ 176272 w 556267"/>
                <a:gd name="connsiteY6" fmla="*/ 555492 h 606087"/>
                <a:gd name="connsiteX7" fmla="*/ 170486 w 556267"/>
                <a:gd name="connsiteY7" fmla="*/ 504967 h 606087"/>
                <a:gd name="connsiteX8" fmla="*/ 386134 w 556267"/>
                <a:gd name="connsiteY8" fmla="*/ 504967 h 606087"/>
                <a:gd name="connsiteX9" fmla="*/ 382185 w 556267"/>
                <a:gd name="connsiteY9" fmla="*/ 530300 h 606087"/>
                <a:gd name="connsiteX10" fmla="*/ 174050 w 556267"/>
                <a:gd name="connsiteY10" fmla="*/ 530300 h 606087"/>
                <a:gd name="connsiteX11" fmla="*/ 170486 w 556267"/>
                <a:gd name="connsiteY11" fmla="*/ 504967 h 606087"/>
                <a:gd name="connsiteX12" fmla="*/ 481527 w 556267"/>
                <a:gd name="connsiteY12" fmla="*/ 380419 h 606087"/>
                <a:gd name="connsiteX13" fmla="*/ 525359 w 556267"/>
                <a:gd name="connsiteY13" fmla="*/ 405623 h 606087"/>
                <a:gd name="connsiteX14" fmla="*/ 512643 w 556267"/>
                <a:gd name="connsiteY14" fmla="*/ 427557 h 606087"/>
                <a:gd name="connsiteX15" fmla="*/ 468907 w 556267"/>
                <a:gd name="connsiteY15" fmla="*/ 402256 h 606087"/>
                <a:gd name="connsiteX16" fmla="*/ 74740 w 556267"/>
                <a:gd name="connsiteY16" fmla="*/ 380419 h 606087"/>
                <a:gd name="connsiteX17" fmla="*/ 87360 w 556267"/>
                <a:gd name="connsiteY17" fmla="*/ 402353 h 606087"/>
                <a:gd name="connsiteX18" fmla="*/ 43528 w 556267"/>
                <a:gd name="connsiteY18" fmla="*/ 427557 h 606087"/>
                <a:gd name="connsiteX19" fmla="*/ 30908 w 556267"/>
                <a:gd name="connsiteY19" fmla="*/ 405720 h 606087"/>
                <a:gd name="connsiteX20" fmla="*/ 505742 w 556267"/>
                <a:gd name="connsiteY20" fmla="*/ 265115 h 606087"/>
                <a:gd name="connsiteX21" fmla="*/ 556267 w 556267"/>
                <a:gd name="connsiteY21" fmla="*/ 265115 h 606087"/>
                <a:gd name="connsiteX22" fmla="*/ 556267 w 556267"/>
                <a:gd name="connsiteY22" fmla="*/ 290448 h 606087"/>
                <a:gd name="connsiteX23" fmla="*/ 505742 w 556267"/>
                <a:gd name="connsiteY23" fmla="*/ 290448 h 606087"/>
                <a:gd name="connsiteX24" fmla="*/ 0 w 556267"/>
                <a:gd name="connsiteY24" fmla="*/ 265115 h 606087"/>
                <a:gd name="connsiteX25" fmla="*/ 50525 w 556267"/>
                <a:gd name="connsiteY25" fmla="*/ 265115 h 606087"/>
                <a:gd name="connsiteX26" fmla="*/ 50525 w 556267"/>
                <a:gd name="connsiteY26" fmla="*/ 290448 h 606087"/>
                <a:gd name="connsiteX27" fmla="*/ 0 w 556267"/>
                <a:gd name="connsiteY27" fmla="*/ 290448 h 606087"/>
                <a:gd name="connsiteX28" fmla="*/ 512739 w 556267"/>
                <a:gd name="connsiteY28" fmla="*/ 128006 h 606087"/>
                <a:gd name="connsiteX29" fmla="*/ 525359 w 556267"/>
                <a:gd name="connsiteY29" fmla="*/ 149823 h 606087"/>
                <a:gd name="connsiteX30" fmla="*/ 481527 w 556267"/>
                <a:gd name="connsiteY30" fmla="*/ 175003 h 606087"/>
                <a:gd name="connsiteX31" fmla="*/ 468907 w 556267"/>
                <a:gd name="connsiteY31" fmla="*/ 153186 h 606087"/>
                <a:gd name="connsiteX32" fmla="*/ 43528 w 556267"/>
                <a:gd name="connsiteY32" fmla="*/ 127935 h 606087"/>
                <a:gd name="connsiteX33" fmla="*/ 87360 w 556267"/>
                <a:gd name="connsiteY33" fmla="*/ 153197 h 606087"/>
                <a:gd name="connsiteX34" fmla="*/ 74740 w 556267"/>
                <a:gd name="connsiteY34" fmla="*/ 175002 h 606087"/>
                <a:gd name="connsiteX35" fmla="*/ 30908 w 556267"/>
                <a:gd name="connsiteY35" fmla="*/ 149836 h 606087"/>
                <a:gd name="connsiteX36" fmla="*/ 297059 w 556267"/>
                <a:gd name="connsiteY36" fmla="*/ 76575 h 606087"/>
                <a:gd name="connsiteX37" fmla="*/ 404602 w 556267"/>
                <a:gd name="connsiteY37" fmla="*/ 124032 h 606087"/>
                <a:gd name="connsiteX38" fmla="*/ 467778 w 556267"/>
                <a:gd name="connsiteY38" fmla="*/ 265117 h 606087"/>
                <a:gd name="connsiteX39" fmla="*/ 441583 w 556267"/>
                <a:gd name="connsiteY39" fmla="*/ 361098 h 606087"/>
                <a:gd name="connsiteX40" fmla="*/ 391794 w 556267"/>
                <a:gd name="connsiteY40" fmla="*/ 479775 h 606087"/>
                <a:gd name="connsiteX41" fmla="*/ 165285 w 556267"/>
                <a:gd name="connsiteY41" fmla="*/ 479775 h 606087"/>
                <a:gd name="connsiteX42" fmla="*/ 118192 w 556267"/>
                <a:gd name="connsiteY42" fmla="*/ 366676 h 606087"/>
                <a:gd name="connsiteX43" fmla="*/ 89879 w 556267"/>
                <a:gd name="connsiteY43" fmla="*/ 242420 h 606087"/>
                <a:gd name="connsiteX44" fmla="*/ 256582 w 556267"/>
                <a:gd name="connsiteY44" fmla="*/ 76907 h 606087"/>
                <a:gd name="connsiteX45" fmla="*/ 297059 w 556267"/>
                <a:gd name="connsiteY45" fmla="*/ 76575 h 606087"/>
                <a:gd name="connsiteX46" fmla="*/ 150042 w 556267"/>
                <a:gd name="connsiteY46" fmla="*/ 30978 h 606087"/>
                <a:gd name="connsiteX47" fmla="*/ 175284 w 556267"/>
                <a:gd name="connsiteY47" fmla="*/ 74605 h 606087"/>
                <a:gd name="connsiteX48" fmla="*/ 153414 w 556267"/>
                <a:gd name="connsiteY48" fmla="*/ 87289 h 606087"/>
                <a:gd name="connsiteX49" fmla="*/ 128076 w 556267"/>
                <a:gd name="connsiteY49" fmla="*/ 43566 h 606087"/>
                <a:gd name="connsiteX50" fmla="*/ 406225 w 556267"/>
                <a:gd name="connsiteY50" fmla="*/ 30837 h 606087"/>
                <a:gd name="connsiteX51" fmla="*/ 428191 w 556267"/>
                <a:gd name="connsiteY51" fmla="*/ 43441 h 606087"/>
                <a:gd name="connsiteX52" fmla="*/ 402853 w 556267"/>
                <a:gd name="connsiteY52" fmla="*/ 87219 h 606087"/>
                <a:gd name="connsiteX53" fmla="*/ 380983 w 556267"/>
                <a:gd name="connsiteY53" fmla="*/ 74615 h 606087"/>
                <a:gd name="connsiteX54" fmla="*/ 265538 w 556267"/>
                <a:gd name="connsiteY54" fmla="*/ 0 h 606087"/>
                <a:gd name="connsiteX55" fmla="*/ 290730 w 556267"/>
                <a:gd name="connsiteY55" fmla="*/ 0 h 606087"/>
                <a:gd name="connsiteX56" fmla="*/ 290730 w 556267"/>
                <a:gd name="connsiteY56" fmla="*/ 50525 h 606087"/>
                <a:gd name="connsiteX57" fmla="*/ 265538 w 556267"/>
                <a:gd name="connsiteY57" fmla="*/ 50525 h 60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56267" h="606087">
                  <a:moveTo>
                    <a:pt x="176272" y="555492"/>
                  </a:moveTo>
                  <a:lnTo>
                    <a:pt x="380065" y="555492"/>
                  </a:lnTo>
                  <a:cubicBezTo>
                    <a:pt x="379680" y="561937"/>
                    <a:pt x="379295" y="568381"/>
                    <a:pt x="379295" y="574730"/>
                  </a:cubicBezTo>
                  <a:lnTo>
                    <a:pt x="379295" y="606087"/>
                  </a:lnTo>
                  <a:lnTo>
                    <a:pt x="177043" y="606087"/>
                  </a:lnTo>
                  <a:lnTo>
                    <a:pt x="177043" y="580116"/>
                  </a:lnTo>
                  <a:cubicBezTo>
                    <a:pt x="177043" y="571844"/>
                    <a:pt x="176657" y="563668"/>
                    <a:pt x="176272" y="555492"/>
                  </a:cubicBezTo>
                  <a:close/>
                  <a:moveTo>
                    <a:pt x="170486" y="504967"/>
                  </a:moveTo>
                  <a:lnTo>
                    <a:pt x="386134" y="504967"/>
                  </a:lnTo>
                  <a:cubicBezTo>
                    <a:pt x="384593" y="513443"/>
                    <a:pt x="383245" y="521824"/>
                    <a:pt x="382185" y="530300"/>
                  </a:cubicBezTo>
                  <a:lnTo>
                    <a:pt x="174050" y="530300"/>
                  </a:lnTo>
                  <a:cubicBezTo>
                    <a:pt x="173087" y="521727"/>
                    <a:pt x="171931" y="513347"/>
                    <a:pt x="170486" y="504967"/>
                  </a:cubicBezTo>
                  <a:close/>
                  <a:moveTo>
                    <a:pt x="481527" y="380419"/>
                  </a:moveTo>
                  <a:lnTo>
                    <a:pt x="525359" y="405623"/>
                  </a:lnTo>
                  <a:lnTo>
                    <a:pt x="512643" y="427557"/>
                  </a:lnTo>
                  <a:lnTo>
                    <a:pt x="468907" y="402256"/>
                  </a:lnTo>
                  <a:close/>
                  <a:moveTo>
                    <a:pt x="74740" y="380419"/>
                  </a:moveTo>
                  <a:lnTo>
                    <a:pt x="87360" y="402353"/>
                  </a:lnTo>
                  <a:lnTo>
                    <a:pt x="43528" y="427557"/>
                  </a:lnTo>
                  <a:lnTo>
                    <a:pt x="30908" y="405720"/>
                  </a:lnTo>
                  <a:close/>
                  <a:moveTo>
                    <a:pt x="505742" y="265115"/>
                  </a:moveTo>
                  <a:lnTo>
                    <a:pt x="556267" y="265115"/>
                  </a:lnTo>
                  <a:lnTo>
                    <a:pt x="556267" y="290448"/>
                  </a:lnTo>
                  <a:lnTo>
                    <a:pt x="505742" y="290448"/>
                  </a:lnTo>
                  <a:close/>
                  <a:moveTo>
                    <a:pt x="0" y="265115"/>
                  </a:moveTo>
                  <a:lnTo>
                    <a:pt x="50525" y="265115"/>
                  </a:lnTo>
                  <a:lnTo>
                    <a:pt x="50525" y="290448"/>
                  </a:lnTo>
                  <a:lnTo>
                    <a:pt x="0" y="290448"/>
                  </a:lnTo>
                  <a:close/>
                  <a:moveTo>
                    <a:pt x="512739" y="128006"/>
                  </a:moveTo>
                  <a:lnTo>
                    <a:pt x="525359" y="149823"/>
                  </a:lnTo>
                  <a:lnTo>
                    <a:pt x="481527" y="175003"/>
                  </a:lnTo>
                  <a:lnTo>
                    <a:pt x="468907" y="153186"/>
                  </a:lnTo>
                  <a:close/>
                  <a:moveTo>
                    <a:pt x="43528" y="127935"/>
                  </a:moveTo>
                  <a:lnTo>
                    <a:pt x="87360" y="153197"/>
                  </a:lnTo>
                  <a:lnTo>
                    <a:pt x="74740" y="175002"/>
                  </a:lnTo>
                  <a:lnTo>
                    <a:pt x="30908" y="149836"/>
                  </a:lnTo>
                  <a:close/>
                  <a:moveTo>
                    <a:pt x="297059" y="76575"/>
                  </a:moveTo>
                  <a:cubicBezTo>
                    <a:pt x="336834" y="80411"/>
                    <a:pt x="374049" y="96623"/>
                    <a:pt x="404602" y="124032"/>
                  </a:cubicBezTo>
                  <a:cubicBezTo>
                    <a:pt x="444761" y="159808"/>
                    <a:pt x="467778" y="211357"/>
                    <a:pt x="467778" y="265117"/>
                  </a:cubicBezTo>
                  <a:cubicBezTo>
                    <a:pt x="467778" y="298874"/>
                    <a:pt x="458726" y="332053"/>
                    <a:pt x="441583" y="361098"/>
                  </a:cubicBezTo>
                  <a:cubicBezTo>
                    <a:pt x="418567" y="400144"/>
                    <a:pt x="402002" y="439767"/>
                    <a:pt x="391794" y="479775"/>
                  </a:cubicBezTo>
                  <a:lnTo>
                    <a:pt x="165285" y="479775"/>
                  </a:lnTo>
                  <a:cubicBezTo>
                    <a:pt x="155462" y="438709"/>
                    <a:pt x="139861" y="400529"/>
                    <a:pt x="118192" y="366676"/>
                  </a:cubicBezTo>
                  <a:cubicBezTo>
                    <a:pt x="94405" y="329649"/>
                    <a:pt x="84678" y="286660"/>
                    <a:pt x="89879" y="242420"/>
                  </a:cubicBezTo>
                  <a:cubicBezTo>
                    <a:pt x="99894" y="156057"/>
                    <a:pt x="170100" y="86524"/>
                    <a:pt x="256582" y="76907"/>
                  </a:cubicBezTo>
                  <a:cubicBezTo>
                    <a:pt x="270258" y="75392"/>
                    <a:pt x="283800" y="75296"/>
                    <a:pt x="297059" y="76575"/>
                  </a:cubicBezTo>
                  <a:close/>
                  <a:moveTo>
                    <a:pt x="150042" y="30978"/>
                  </a:moveTo>
                  <a:lnTo>
                    <a:pt x="175284" y="74605"/>
                  </a:lnTo>
                  <a:lnTo>
                    <a:pt x="153414" y="87289"/>
                  </a:lnTo>
                  <a:lnTo>
                    <a:pt x="128076" y="43566"/>
                  </a:lnTo>
                  <a:close/>
                  <a:moveTo>
                    <a:pt x="406225" y="30837"/>
                  </a:moveTo>
                  <a:lnTo>
                    <a:pt x="428191" y="43441"/>
                  </a:lnTo>
                  <a:lnTo>
                    <a:pt x="402853" y="87219"/>
                  </a:lnTo>
                  <a:lnTo>
                    <a:pt x="380983" y="74615"/>
                  </a:lnTo>
                  <a:close/>
                  <a:moveTo>
                    <a:pt x="265538" y="0"/>
                  </a:moveTo>
                  <a:lnTo>
                    <a:pt x="290730" y="0"/>
                  </a:lnTo>
                  <a:lnTo>
                    <a:pt x="290730" y="50525"/>
                  </a:lnTo>
                  <a:lnTo>
                    <a:pt x="265538" y="505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143510"/>
            <a:ext cx="6177280" cy="808990"/>
          </a:xfrm>
        </p:spPr>
        <p:txBody>
          <a:bodyPr>
            <a:normAutofit/>
          </a:bodyPr>
          <a:lstStyle/>
          <a:p>
            <a:r>
              <a:rPr lang="zh-CN" altLang="en-US" dirty="0"/>
              <a:t>简单分支结构程序设计</a:t>
            </a:r>
            <a:r>
              <a:rPr lang="en-US" altLang="zh-CN" dirty="0"/>
              <a:t>——</a:t>
            </a:r>
            <a:r>
              <a:rPr lang="zh-CN" altLang="en-US" dirty="0"/>
              <a:t>算法设计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8179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23</a:t>
            </a:fld>
            <a:endParaRPr lang="zh-CN" altLang="en-US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38894"/>
            <a:ext cx="730160" cy="730160"/>
          </a:xfrm>
          <a:prstGeom prst="rect">
            <a:avLst/>
          </a:prstGeom>
        </p:spPr>
      </p:pic>
      <p:sp>
        <p:nvSpPr>
          <p:cNvPr id="3" name="ísḷîḑê"/>
          <p:cNvSpPr/>
          <p:nvPr/>
        </p:nvSpPr>
        <p:spPr>
          <a:xfrm>
            <a:off x="660642" y="1044930"/>
            <a:ext cx="1537486" cy="3918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tx1"/>
                </a:solidFill>
              </a:rPr>
              <a:t>问题分析</a:t>
            </a:r>
          </a:p>
        </p:txBody>
      </p:sp>
      <p:sp>
        <p:nvSpPr>
          <p:cNvPr id="5" name="islîḋê"/>
          <p:cNvSpPr/>
          <p:nvPr/>
        </p:nvSpPr>
        <p:spPr>
          <a:xfrm>
            <a:off x="3038082" y="1044930"/>
            <a:ext cx="1537486" cy="3918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tx1"/>
                </a:solidFill>
              </a:rPr>
              <a:t>算法设计</a:t>
            </a:r>
          </a:p>
        </p:txBody>
      </p:sp>
      <p:sp>
        <p:nvSpPr>
          <p:cNvPr id="6" name="i$ḷïďe"/>
          <p:cNvSpPr/>
          <p:nvPr/>
        </p:nvSpPr>
        <p:spPr>
          <a:xfrm>
            <a:off x="5415522" y="1044930"/>
            <a:ext cx="1537486" cy="3918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编写代码</a:t>
            </a:r>
          </a:p>
        </p:txBody>
      </p:sp>
      <p:sp>
        <p:nvSpPr>
          <p:cNvPr id="7" name="ïṥḷïďé"/>
          <p:cNvSpPr/>
          <p:nvPr/>
        </p:nvSpPr>
        <p:spPr>
          <a:xfrm>
            <a:off x="7792963" y="1044930"/>
            <a:ext cx="1537486" cy="39183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id-ID" sz="2000" b="1" dirty="0">
                <a:solidFill>
                  <a:schemeClr val="bg1"/>
                </a:solidFill>
              </a:rPr>
              <a:t>调试运行</a:t>
            </a:r>
          </a:p>
        </p:txBody>
      </p:sp>
      <p:grpSp>
        <p:nvGrpSpPr>
          <p:cNvPr id="80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562995">
            <a:off x="10364470" y="5183505"/>
            <a:ext cx="1336675" cy="630555"/>
            <a:chOff x="3558970" y="2488798"/>
            <a:chExt cx="5067710" cy="2391582"/>
          </a:xfrm>
        </p:grpSpPr>
        <p:sp>
          <p:nvSpPr>
            <p:cNvPr id="81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0" name="文本框 9"/>
          <p:cNvSpPr txBox="1"/>
          <p:nvPr/>
        </p:nvSpPr>
        <p:spPr>
          <a:xfrm>
            <a:off x="3037840" y="3960495"/>
            <a:ext cx="672592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/>
              <a:t>按</a:t>
            </a:r>
            <a:r>
              <a:rPr lang="en-US" altLang="zh-CN" sz="2400"/>
              <a:t>“F5”</a:t>
            </a:r>
            <a:r>
              <a:rPr lang="zh-CN" altLang="en-US" sz="2400"/>
              <a:t>键，输入账号和密码，观察程序运行结果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l="8905" t="15561" r="12083" b="16577"/>
          <a:stretch>
            <a:fillRect/>
          </a:stretch>
        </p:blipFill>
        <p:spPr>
          <a:xfrm>
            <a:off x="4032250" y="1781810"/>
            <a:ext cx="4578350" cy="1961515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/>
              <a:t>随堂练习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595432" y="206647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6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143510"/>
            <a:ext cx="4041140" cy="808990"/>
          </a:xfrm>
        </p:spPr>
        <p:txBody>
          <a:bodyPr/>
          <a:lstStyle/>
          <a:p>
            <a:r>
              <a:rPr lang="zh-CN" altLang="en-US" dirty="0"/>
              <a:t>随堂练习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5</a:t>
            </a:fld>
            <a:endParaRPr lang="zh-CN" altLang="en-US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38894"/>
            <a:ext cx="730160" cy="73016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3009900" y="1020445"/>
            <a:ext cx="8510270" cy="10509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30000"/>
              </a:lnSpc>
            </a:pPr>
            <a:r>
              <a:rPr lang="zh-CN" altLang="en-US" sz="1600" dirty="0"/>
              <a:t>某市出租车收费标准如 下：</a:t>
            </a:r>
            <a:r>
              <a:rPr lang="en-US" altLang="zh-CN" sz="1600" dirty="0"/>
              <a:t>3</a:t>
            </a:r>
            <a:r>
              <a:rPr lang="zh-CN" altLang="en-US" sz="1600" dirty="0"/>
              <a:t>千米以内（含</a:t>
            </a:r>
            <a:r>
              <a:rPr lang="en-US" altLang="zh-CN" sz="1600" dirty="0"/>
              <a:t>3</a:t>
            </a:r>
            <a:r>
              <a:rPr lang="zh-CN" altLang="en-US" sz="1600" dirty="0"/>
              <a:t>千米）收费</a:t>
            </a:r>
            <a:r>
              <a:rPr lang="en-US" altLang="zh-CN" sz="1600" dirty="0"/>
              <a:t>10</a:t>
            </a:r>
            <a:r>
              <a:rPr lang="zh-CN" altLang="en-US" sz="1600" dirty="0"/>
              <a:t>元，超过</a:t>
            </a:r>
            <a:r>
              <a:rPr lang="en-US" altLang="zh-CN" sz="1600" dirty="0"/>
              <a:t>3</a:t>
            </a:r>
            <a:r>
              <a:rPr lang="zh-CN" altLang="en-US" sz="1600" dirty="0"/>
              <a:t>千米的部分每千米收费</a:t>
            </a:r>
            <a:r>
              <a:rPr lang="en-US" altLang="zh-CN" sz="1600" dirty="0"/>
              <a:t>2</a:t>
            </a:r>
            <a:r>
              <a:rPr lang="zh-CN" altLang="en-US" sz="1600" dirty="0"/>
              <a:t>元（不足</a:t>
            </a:r>
            <a:r>
              <a:rPr lang="en-US" altLang="zh-CN" sz="1600" dirty="0"/>
              <a:t>1</a:t>
            </a:r>
            <a:r>
              <a:rPr lang="zh-CN" altLang="en-US" sz="1600" dirty="0"/>
              <a:t>千米的以</a:t>
            </a:r>
            <a:r>
              <a:rPr lang="en-US" altLang="zh-CN" sz="1600" dirty="0"/>
              <a:t>1</a:t>
            </a:r>
            <a:r>
              <a:rPr lang="zh-CN" altLang="en-US" sz="1600" dirty="0"/>
              <a:t>千米计算）。</a:t>
            </a:r>
          </a:p>
          <a:p>
            <a:pPr fontAlgn="auto">
              <a:lnSpc>
                <a:spcPct val="130000"/>
              </a:lnSpc>
            </a:pPr>
            <a:r>
              <a:rPr lang="zh-CN" altLang="en-US" sz="1600" dirty="0"/>
              <a:t>在如下程序划线处填空，实现：输入行驶路程，输出付费金额。</a:t>
            </a:r>
          </a:p>
        </p:txBody>
      </p:sp>
      <p:sp>
        <p:nvSpPr>
          <p:cNvPr id="11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  <a:t>25</a:t>
            </a:fld>
            <a:endParaRPr lang="zh-CN" altLang="en-US"/>
          </a:p>
        </p:txBody>
      </p:sp>
      <p:pic>
        <p:nvPicPr>
          <p:cNvPr id="3" name="图片 2" descr="C:/Users/ADMINI~1/AppData/Local/Temp/kaimatting/20200827140417/output_aiMatting_20200827140430.pngoutput_aiMatting_2020082714043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2445" y="1118870"/>
            <a:ext cx="2165350" cy="1341755"/>
          </a:xfrm>
          <a:prstGeom prst="rect">
            <a:avLst/>
          </a:prstGeom>
        </p:spPr>
      </p:pic>
      <p:grpSp>
        <p:nvGrpSpPr>
          <p:cNvPr id="19" name="组合 18"/>
          <p:cNvGrpSpPr/>
          <p:nvPr/>
        </p:nvGrpSpPr>
        <p:grpSpPr>
          <a:xfrm>
            <a:off x="335280" y="3265170"/>
            <a:ext cx="3511550" cy="1481455"/>
            <a:chOff x="216" y="4690"/>
            <a:chExt cx="5530" cy="2333"/>
          </a:xfrm>
        </p:grpSpPr>
        <p:grpSp>
          <p:nvGrpSpPr>
            <p:cNvPr id="6" name="组合 5"/>
            <p:cNvGrpSpPr/>
            <p:nvPr/>
          </p:nvGrpSpPr>
          <p:grpSpPr>
            <a:xfrm>
              <a:off x="216" y="4690"/>
              <a:ext cx="1037" cy="1041"/>
              <a:chOff x="17704" y="7751"/>
              <a:chExt cx="1382" cy="1386"/>
            </a:xfrm>
          </p:grpSpPr>
          <p:sp>
            <p:nvSpPr>
              <p:cNvPr id="7" name="ïsľiďê"/>
              <p:cNvSpPr/>
              <p:nvPr/>
            </p:nvSpPr>
            <p:spPr bwMode="auto">
              <a:xfrm>
                <a:off x="17704" y="7751"/>
                <a:ext cx="1383" cy="1386"/>
              </a:xfrm>
              <a:prstGeom prst="ellipse">
                <a:avLst/>
              </a:prstGeom>
              <a:solidFill>
                <a:srgbClr val="F4A229"/>
              </a:solidFill>
              <a:ln w="2857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normAutofit fontScale="7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3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íśľîde"/>
              <p:cNvSpPr/>
              <p:nvPr/>
            </p:nvSpPr>
            <p:spPr bwMode="auto">
              <a:xfrm>
                <a:off x="18070" y="8090"/>
                <a:ext cx="650" cy="708"/>
              </a:xfrm>
              <a:custGeom>
                <a:avLst/>
                <a:gdLst>
                  <a:gd name="connsiteX0" fmla="*/ 176272 w 556267"/>
                  <a:gd name="connsiteY0" fmla="*/ 555492 h 606087"/>
                  <a:gd name="connsiteX1" fmla="*/ 380065 w 556267"/>
                  <a:gd name="connsiteY1" fmla="*/ 555492 h 606087"/>
                  <a:gd name="connsiteX2" fmla="*/ 379295 w 556267"/>
                  <a:gd name="connsiteY2" fmla="*/ 574730 h 606087"/>
                  <a:gd name="connsiteX3" fmla="*/ 379295 w 556267"/>
                  <a:gd name="connsiteY3" fmla="*/ 606087 h 606087"/>
                  <a:gd name="connsiteX4" fmla="*/ 177043 w 556267"/>
                  <a:gd name="connsiteY4" fmla="*/ 606087 h 606087"/>
                  <a:gd name="connsiteX5" fmla="*/ 177043 w 556267"/>
                  <a:gd name="connsiteY5" fmla="*/ 580116 h 606087"/>
                  <a:gd name="connsiteX6" fmla="*/ 176272 w 556267"/>
                  <a:gd name="connsiteY6" fmla="*/ 555492 h 606087"/>
                  <a:gd name="connsiteX7" fmla="*/ 170486 w 556267"/>
                  <a:gd name="connsiteY7" fmla="*/ 504967 h 606087"/>
                  <a:gd name="connsiteX8" fmla="*/ 386134 w 556267"/>
                  <a:gd name="connsiteY8" fmla="*/ 504967 h 606087"/>
                  <a:gd name="connsiteX9" fmla="*/ 382185 w 556267"/>
                  <a:gd name="connsiteY9" fmla="*/ 530300 h 606087"/>
                  <a:gd name="connsiteX10" fmla="*/ 174050 w 556267"/>
                  <a:gd name="connsiteY10" fmla="*/ 530300 h 606087"/>
                  <a:gd name="connsiteX11" fmla="*/ 170486 w 556267"/>
                  <a:gd name="connsiteY11" fmla="*/ 504967 h 606087"/>
                  <a:gd name="connsiteX12" fmla="*/ 481527 w 556267"/>
                  <a:gd name="connsiteY12" fmla="*/ 380419 h 606087"/>
                  <a:gd name="connsiteX13" fmla="*/ 525359 w 556267"/>
                  <a:gd name="connsiteY13" fmla="*/ 405623 h 606087"/>
                  <a:gd name="connsiteX14" fmla="*/ 512643 w 556267"/>
                  <a:gd name="connsiteY14" fmla="*/ 427557 h 606087"/>
                  <a:gd name="connsiteX15" fmla="*/ 468907 w 556267"/>
                  <a:gd name="connsiteY15" fmla="*/ 402256 h 606087"/>
                  <a:gd name="connsiteX16" fmla="*/ 74740 w 556267"/>
                  <a:gd name="connsiteY16" fmla="*/ 380419 h 606087"/>
                  <a:gd name="connsiteX17" fmla="*/ 87360 w 556267"/>
                  <a:gd name="connsiteY17" fmla="*/ 402353 h 606087"/>
                  <a:gd name="connsiteX18" fmla="*/ 43528 w 556267"/>
                  <a:gd name="connsiteY18" fmla="*/ 427557 h 606087"/>
                  <a:gd name="connsiteX19" fmla="*/ 30908 w 556267"/>
                  <a:gd name="connsiteY19" fmla="*/ 405720 h 606087"/>
                  <a:gd name="connsiteX20" fmla="*/ 505742 w 556267"/>
                  <a:gd name="connsiteY20" fmla="*/ 265115 h 606087"/>
                  <a:gd name="connsiteX21" fmla="*/ 556267 w 556267"/>
                  <a:gd name="connsiteY21" fmla="*/ 265115 h 606087"/>
                  <a:gd name="connsiteX22" fmla="*/ 556267 w 556267"/>
                  <a:gd name="connsiteY22" fmla="*/ 290448 h 606087"/>
                  <a:gd name="connsiteX23" fmla="*/ 505742 w 556267"/>
                  <a:gd name="connsiteY23" fmla="*/ 290448 h 606087"/>
                  <a:gd name="connsiteX24" fmla="*/ 0 w 556267"/>
                  <a:gd name="connsiteY24" fmla="*/ 265115 h 606087"/>
                  <a:gd name="connsiteX25" fmla="*/ 50525 w 556267"/>
                  <a:gd name="connsiteY25" fmla="*/ 265115 h 606087"/>
                  <a:gd name="connsiteX26" fmla="*/ 50525 w 556267"/>
                  <a:gd name="connsiteY26" fmla="*/ 290448 h 606087"/>
                  <a:gd name="connsiteX27" fmla="*/ 0 w 556267"/>
                  <a:gd name="connsiteY27" fmla="*/ 290448 h 606087"/>
                  <a:gd name="connsiteX28" fmla="*/ 512739 w 556267"/>
                  <a:gd name="connsiteY28" fmla="*/ 128006 h 606087"/>
                  <a:gd name="connsiteX29" fmla="*/ 525359 w 556267"/>
                  <a:gd name="connsiteY29" fmla="*/ 149823 h 606087"/>
                  <a:gd name="connsiteX30" fmla="*/ 481527 w 556267"/>
                  <a:gd name="connsiteY30" fmla="*/ 175003 h 606087"/>
                  <a:gd name="connsiteX31" fmla="*/ 468907 w 556267"/>
                  <a:gd name="connsiteY31" fmla="*/ 153186 h 606087"/>
                  <a:gd name="connsiteX32" fmla="*/ 43528 w 556267"/>
                  <a:gd name="connsiteY32" fmla="*/ 127935 h 606087"/>
                  <a:gd name="connsiteX33" fmla="*/ 87360 w 556267"/>
                  <a:gd name="connsiteY33" fmla="*/ 153197 h 606087"/>
                  <a:gd name="connsiteX34" fmla="*/ 74740 w 556267"/>
                  <a:gd name="connsiteY34" fmla="*/ 175002 h 606087"/>
                  <a:gd name="connsiteX35" fmla="*/ 30908 w 556267"/>
                  <a:gd name="connsiteY35" fmla="*/ 149836 h 606087"/>
                  <a:gd name="connsiteX36" fmla="*/ 297059 w 556267"/>
                  <a:gd name="connsiteY36" fmla="*/ 76575 h 606087"/>
                  <a:gd name="connsiteX37" fmla="*/ 404602 w 556267"/>
                  <a:gd name="connsiteY37" fmla="*/ 124032 h 606087"/>
                  <a:gd name="connsiteX38" fmla="*/ 467778 w 556267"/>
                  <a:gd name="connsiteY38" fmla="*/ 265117 h 606087"/>
                  <a:gd name="connsiteX39" fmla="*/ 441583 w 556267"/>
                  <a:gd name="connsiteY39" fmla="*/ 361098 h 606087"/>
                  <a:gd name="connsiteX40" fmla="*/ 391794 w 556267"/>
                  <a:gd name="connsiteY40" fmla="*/ 479775 h 606087"/>
                  <a:gd name="connsiteX41" fmla="*/ 165285 w 556267"/>
                  <a:gd name="connsiteY41" fmla="*/ 479775 h 606087"/>
                  <a:gd name="connsiteX42" fmla="*/ 118192 w 556267"/>
                  <a:gd name="connsiteY42" fmla="*/ 366676 h 606087"/>
                  <a:gd name="connsiteX43" fmla="*/ 89879 w 556267"/>
                  <a:gd name="connsiteY43" fmla="*/ 242420 h 606087"/>
                  <a:gd name="connsiteX44" fmla="*/ 256582 w 556267"/>
                  <a:gd name="connsiteY44" fmla="*/ 76907 h 606087"/>
                  <a:gd name="connsiteX45" fmla="*/ 297059 w 556267"/>
                  <a:gd name="connsiteY45" fmla="*/ 76575 h 606087"/>
                  <a:gd name="connsiteX46" fmla="*/ 150042 w 556267"/>
                  <a:gd name="connsiteY46" fmla="*/ 30978 h 606087"/>
                  <a:gd name="connsiteX47" fmla="*/ 175284 w 556267"/>
                  <a:gd name="connsiteY47" fmla="*/ 74605 h 606087"/>
                  <a:gd name="connsiteX48" fmla="*/ 153414 w 556267"/>
                  <a:gd name="connsiteY48" fmla="*/ 87289 h 606087"/>
                  <a:gd name="connsiteX49" fmla="*/ 128076 w 556267"/>
                  <a:gd name="connsiteY49" fmla="*/ 43566 h 606087"/>
                  <a:gd name="connsiteX50" fmla="*/ 406225 w 556267"/>
                  <a:gd name="connsiteY50" fmla="*/ 30837 h 606087"/>
                  <a:gd name="connsiteX51" fmla="*/ 428191 w 556267"/>
                  <a:gd name="connsiteY51" fmla="*/ 43441 h 606087"/>
                  <a:gd name="connsiteX52" fmla="*/ 402853 w 556267"/>
                  <a:gd name="connsiteY52" fmla="*/ 87219 h 606087"/>
                  <a:gd name="connsiteX53" fmla="*/ 380983 w 556267"/>
                  <a:gd name="connsiteY53" fmla="*/ 74615 h 606087"/>
                  <a:gd name="connsiteX54" fmla="*/ 265538 w 556267"/>
                  <a:gd name="connsiteY54" fmla="*/ 0 h 606087"/>
                  <a:gd name="connsiteX55" fmla="*/ 290730 w 556267"/>
                  <a:gd name="connsiteY55" fmla="*/ 0 h 606087"/>
                  <a:gd name="connsiteX56" fmla="*/ 290730 w 556267"/>
                  <a:gd name="connsiteY56" fmla="*/ 50525 h 606087"/>
                  <a:gd name="connsiteX57" fmla="*/ 265538 w 556267"/>
                  <a:gd name="connsiteY57" fmla="*/ 50525 h 606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556267" h="606087">
                    <a:moveTo>
                      <a:pt x="176272" y="555492"/>
                    </a:moveTo>
                    <a:lnTo>
                      <a:pt x="380065" y="555492"/>
                    </a:lnTo>
                    <a:cubicBezTo>
                      <a:pt x="379680" y="561937"/>
                      <a:pt x="379295" y="568381"/>
                      <a:pt x="379295" y="574730"/>
                    </a:cubicBezTo>
                    <a:lnTo>
                      <a:pt x="379295" y="606087"/>
                    </a:lnTo>
                    <a:lnTo>
                      <a:pt x="177043" y="606087"/>
                    </a:lnTo>
                    <a:lnTo>
                      <a:pt x="177043" y="580116"/>
                    </a:lnTo>
                    <a:cubicBezTo>
                      <a:pt x="177043" y="571844"/>
                      <a:pt x="176657" y="563668"/>
                      <a:pt x="176272" y="555492"/>
                    </a:cubicBezTo>
                    <a:close/>
                    <a:moveTo>
                      <a:pt x="170486" y="504967"/>
                    </a:moveTo>
                    <a:lnTo>
                      <a:pt x="386134" y="504967"/>
                    </a:lnTo>
                    <a:cubicBezTo>
                      <a:pt x="384593" y="513443"/>
                      <a:pt x="383245" y="521824"/>
                      <a:pt x="382185" y="530300"/>
                    </a:cubicBezTo>
                    <a:lnTo>
                      <a:pt x="174050" y="530300"/>
                    </a:lnTo>
                    <a:cubicBezTo>
                      <a:pt x="173087" y="521727"/>
                      <a:pt x="171931" y="513347"/>
                      <a:pt x="170486" y="504967"/>
                    </a:cubicBezTo>
                    <a:close/>
                    <a:moveTo>
                      <a:pt x="481527" y="380419"/>
                    </a:moveTo>
                    <a:lnTo>
                      <a:pt x="525359" y="405623"/>
                    </a:lnTo>
                    <a:lnTo>
                      <a:pt x="512643" y="427557"/>
                    </a:lnTo>
                    <a:lnTo>
                      <a:pt x="468907" y="402256"/>
                    </a:lnTo>
                    <a:close/>
                    <a:moveTo>
                      <a:pt x="74740" y="380419"/>
                    </a:moveTo>
                    <a:lnTo>
                      <a:pt x="87360" y="402353"/>
                    </a:lnTo>
                    <a:lnTo>
                      <a:pt x="43528" y="427557"/>
                    </a:lnTo>
                    <a:lnTo>
                      <a:pt x="30908" y="405720"/>
                    </a:lnTo>
                    <a:close/>
                    <a:moveTo>
                      <a:pt x="505742" y="265115"/>
                    </a:moveTo>
                    <a:lnTo>
                      <a:pt x="556267" y="265115"/>
                    </a:lnTo>
                    <a:lnTo>
                      <a:pt x="556267" y="290448"/>
                    </a:lnTo>
                    <a:lnTo>
                      <a:pt x="505742" y="290448"/>
                    </a:lnTo>
                    <a:close/>
                    <a:moveTo>
                      <a:pt x="0" y="265115"/>
                    </a:moveTo>
                    <a:lnTo>
                      <a:pt x="50525" y="265115"/>
                    </a:lnTo>
                    <a:lnTo>
                      <a:pt x="50525" y="290448"/>
                    </a:lnTo>
                    <a:lnTo>
                      <a:pt x="0" y="290448"/>
                    </a:lnTo>
                    <a:close/>
                    <a:moveTo>
                      <a:pt x="512739" y="128006"/>
                    </a:moveTo>
                    <a:lnTo>
                      <a:pt x="525359" y="149823"/>
                    </a:lnTo>
                    <a:lnTo>
                      <a:pt x="481527" y="175003"/>
                    </a:lnTo>
                    <a:lnTo>
                      <a:pt x="468907" y="153186"/>
                    </a:lnTo>
                    <a:close/>
                    <a:moveTo>
                      <a:pt x="43528" y="127935"/>
                    </a:moveTo>
                    <a:lnTo>
                      <a:pt x="87360" y="153197"/>
                    </a:lnTo>
                    <a:lnTo>
                      <a:pt x="74740" y="175002"/>
                    </a:lnTo>
                    <a:lnTo>
                      <a:pt x="30908" y="149836"/>
                    </a:lnTo>
                    <a:close/>
                    <a:moveTo>
                      <a:pt x="297059" y="76575"/>
                    </a:moveTo>
                    <a:cubicBezTo>
                      <a:pt x="336834" y="80411"/>
                      <a:pt x="374049" y="96623"/>
                      <a:pt x="404602" y="124032"/>
                    </a:cubicBezTo>
                    <a:cubicBezTo>
                      <a:pt x="444761" y="159808"/>
                      <a:pt x="467778" y="211357"/>
                      <a:pt x="467778" y="265117"/>
                    </a:cubicBezTo>
                    <a:cubicBezTo>
                      <a:pt x="467778" y="298874"/>
                      <a:pt x="458726" y="332053"/>
                      <a:pt x="441583" y="361098"/>
                    </a:cubicBezTo>
                    <a:cubicBezTo>
                      <a:pt x="418567" y="400144"/>
                      <a:pt x="402002" y="439767"/>
                      <a:pt x="391794" y="479775"/>
                    </a:cubicBezTo>
                    <a:lnTo>
                      <a:pt x="165285" y="479775"/>
                    </a:lnTo>
                    <a:cubicBezTo>
                      <a:pt x="155462" y="438709"/>
                      <a:pt x="139861" y="400529"/>
                      <a:pt x="118192" y="366676"/>
                    </a:cubicBezTo>
                    <a:cubicBezTo>
                      <a:pt x="94405" y="329649"/>
                      <a:pt x="84678" y="286660"/>
                      <a:pt x="89879" y="242420"/>
                    </a:cubicBezTo>
                    <a:cubicBezTo>
                      <a:pt x="99894" y="156057"/>
                      <a:pt x="170100" y="86524"/>
                      <a:pt x="256582" y="76907"/>
                    </a:cubicBezTo>
                    <a:cubicBezTo>
                      <a:pt x="270258" y="75392"/>
                      <a:pt x="283800" y="75296"/>
                      <a:pt x="297059" y="76575"/>
                    </a:cubicBezTo>
                    <a:close/>
                    <a:moveTo>
                      <a:pt x="150042" y="30978"/>
                    </a:moveTo>
                    <a:lnTo>
                      <a:pt x="175284" y="74605"/>
                    </a:lnTo>
                    <a:lnTo>
                      <a:pt x="153414" y="87289"/>
                    </a:lnTo>
                    <a:lnTo>
                      <a:pt x="128076" y="43566"/>
                    </a:lnTo>
                    <a:close/>
                    <a:moveTo>
                      <a:pt x="406225" y="30837"/>
                    </a:moveTo>
                    <a:lnTo>
                      <a:pt x="428191" y="43441"/>
                    </a:lnTo>
                    <a:lnTo>
                      <a:pt x="402853" y="87219"/>
                    </a:lnTo>
                    <a:lnTo>
                      <a:pt x="380983" y="74615"/>
                    </a:lnTo>
                    <a:close/>
                    <a:moveTo>
                      <a:pt x="265538" y="0"/>
                    </a:moveTo>
                    <a:lnTo>
                      <a:pt x="290730" y="0"/>
                    </a:lnTo>
                    <a:lnTo>
                      <a:pt x="290730" y="50525"/>
                    </a:lnTo>
                    <a:lnTo>
                      <a:pt x="265538" y="505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sp>
          <p:nvSpPr>
            <p:cNvPr id="10" name="文本框 9"/>
            <p:cNvSpPr txBox="1"/>
            <p:nvPr/>
          </p:nvSpPr>
          <p:spPr>
            <a:xfrm>
              <a:off x="1310" y="5110"/>
              <a:ext cx="4436" cy="580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zh-CN" altLang="en-US"/>
                <a:t>函数格式：</a:t>
              </a:r>
              <a:r>
                <a:rPr lang="en-US" altLang="zh-CN"/>
                <a:t>round(number)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1310" y="5833"/>
              <a:ext cx="4436" cy="1190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fontAlgn="auto">
                <a:lnSpc>
                  <a:spcPct val="120000"/>
                </a:lnSpc>
              </a:pPr>
              <a:r>
                <a:rPr lang="zh-CN" altLang="en-US"/>
                <a:t>函数功能：返回浮点数</a:t>
              </a:r>
              <a:r>
                <a:rPr lang="en-US" altLang="zh-CN"/>
                <a:t>number</a:t>
              </a:r>
              <a:r>
                <a:rPr lang="zh-CN" altLang="en-US"/>
                <a:t>的四舍五入值</a:t>
              </a:r>
            </a:p>
          </p:txBody>
        </p:sp>
      </p:grpSp>
      <p:grpSp>
        <p:nvGrpSpPr>
          <p:cNvPr id="72" name="组合 71"/>
          <p:cNvGrpSpPr/>
          <p:nvPr/>
        </p:nvGrpSpPr>
        <p:grpSpPr>
          <a:xfrm>
            <a:off x="4174490" y="2230120"/>
            <a:ext cx="6958330" cy="3950970"/>
            <a:chOff x="6686" y="6427"/>
            <a:chExt cx="11179" cy="6347"/>
          </a:xfrm>
        </p:grpSpPr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686" y="6427"/>
              <a:ext cx="11179" cy="6347"/>
            </a:xfrm>
            <a:prstGeom prst="rect">
              <a:avLst/>
            </a:prstGeom>
            <a:ln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cxnSp>
          <p:nvCxnSpPr>
            <p:cNvPr id="15" name="直接连接符 14"/>
            <p:cNvCxnSpPr/>
            <p:nvPr/>
          </p:nvCxnSpPr>
          <p:spPr>
            <a:xfrm>
              <a:off x="8590" y="11676"/>
              <a:ext cx="4627" cy="0"/>
            </a:xfrm>
            <a:prstGeom prst="line">
              <a:avLst/>
            </a:prstGeom>
            <a:ln w="28575" cmpd="sng">
              <a:solidFill>
                <a:srgbClr val="FF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2"/>
              </p:custDataLst>
            </p:nvPr>
          </p:nvGrpSpPr>
          <p:grpSpPr>
            <a:xfrm rot="20082993">
              <a:off x="15729" y="6607"/>
              <a:ext cx="604" cy="679"/>
              <a:chOff x="5022373" y="3037575"/>
              <a:chExt cx="1453242" cy="1636168"/>
            </a:xfrm>
          </p:grpSpPr>
          <p:sp>
            <p:nvSpPr>
              <p:cNvPr id="26" name="ïşliḓé"/>
              <p:cNvSpPr/>
              <p:nvPr/>
            </p:nvSpPr>
            <p:spPr bwMode="auto">
              <a:xfrm>
                <a:off x="5022373" y="3037575"/>
                <a:ext cx="514901" cy="1476954"/>
              </a:xfrm>
              <a:custGeom>
                <a:avLst/>
                <a:gdLst>
                  <a:gd name="T0" fmla="*/ 73 w 73"/>
                  <a:gd name="T1" fmla="*/ 210 h 210"/>
                  <a:gd name="T2" fmla="*/ 65 w 73"/>
                  <a:gd name="T3" fmla="*/ 210 h 210"/>
                  <a:gd name="T4" fmla="*/ 58 w 73"/>
                  <a:gd name="T5" fmla="*/ 210 h 210"/>
                  <a:gd name="T6" fmla="*/ 28 w 73"/>
                  <a:gd name="T7" fmla="*/ 165 h 210"/>
                  <a:gd name="T8" fmla="*/ 27 w 73"/>
                  <a:gd name="T9" fmla="*/ 160 h 210"/>
                  <a:gd name="T10" fmla="*/ 26 w 73"/>
                  <a:gd name="T11" fmla="*/ 160 h 210"/>
                  <a:gd name="T12" fmla="*/ 19 w 73"/>
                  <a:gd name="T13" fmla="*/ 132 h 210"/>
                  <a:gd name="T14" fmla="*/ 17 w 73"/>
                  <a:gd name="T15" fmla="*/ 110 h 210"/>
                  <a:gd name="T16" fmla="*/ 17 w 73"/>
                  <a:gd name="T17" fmla="*/ 109 h 210"/>
                  <a:gd name="T18" fmla="*/ 32 w 73"/>
                  <a:gd name="T19" fmla="*/ 47 h 210"/>
                  <a:gd name="T20" fmla="*/ 59 w 73"/>
                  <a:gd name="T21" fmla="*/ 10 h 210"/>
                  <a:gd name="T22" fmla="*/ 71 w 73"/>
                  <a:gd name="T23" fmla="*/ 0 h 210"/>
                  <a:gd name="T24" fmla="*/ 73 w 73"/>
                  <a:gd name="T2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" h="210">
                    <a:moveTo>
                      <a:pt x="73" y="210"/>
                    </a:moveTo>
                    <a:cubicBezTo>
                      <a:pt x="70" y="210"/>
                      <a:pt x="67" y="210"/>
                      <a:pt x="65" y="210"/>
                    </a:cubicBezTo>
                    <a:cubicBezTo>
                      <a:pt x="62" y="210"/>
                      <a:pt x="60" y="210"/>
                      <a:pt x="58" y="210"/>
                    </a:cubicBezTo>
                    <a:cubicBezTo>
                      <a:pt x="45" y="198"/>
                      <a:pt x="35" y="182"/>
                      <a:pt x="28" y="165"/>
                    </a:cubicBezTo>
                    <a:cubicBezTo>
                      <a:pt x="29" y="164"/>
                      <a:pt x="29" y="162"/>
                      <a:pt x="27" y="160"/>
                    </a:cubicBezTo>
                    <a:cubicBezTo>
                      <a:pt x="27" y="160"/>
                      <a:pt x="26" y="160"/>
                      <a:pt x="26" y="160"/>
                    </a:cubicBezTo>
                    <a:cubicBezTo>
                      <a:pt x="23" y="151"/>
                      <a:pt x="20" y="142"/>
                      <a:pt x="19" y="132"/>
                    </a:cubicBezTo>
                    <a:cubicBezTo>
                      <a:pt x="17" y="125"/>
                      <a:pt x="17" y="118"/>
                      <a:pt x="17" y="110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7" y="87"/>
                      <a:pt x="22" y="66"/>
                      <a:pt x="32" y="47"/>
                    </a:cubicBezTo>
                    <a:cubicBezTo>
                      <a:pt x="38" y="33"/>
                      <a:pt x="47" y="20"/>
                      <a:pt x="59" y="10"/>
                    </a:cubicBezTo>
                    <a:cubicBezTo>
                      <a:pt x="63" y="6"/>
                      <a:pt x="67" y="3"/>
                      <a:pt x="71" y="0"/>
                    </a:cubicBezTo>
                    <a:cubicBezTo>
                      <a:pt x="41" y="32"/>
                      <a:pt x="0" y="101"/>
                      <a:pt x="73" y="2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í$ļîdé"/>
              <p:cNvSpPr/>
              <p:nvPr/>
            </p:nvSpPr>
            <p:spPr bwMode="auto">
              <a:xfrm>
                <a:off x="6472226" y="4670354"/>
                <a:ext cx="3389" cy="3389"/>
              </a:xfrm>
              <a:prstGeom prst="rect">
                <a:avLst/>
              </a:pr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sp>
        <p:nvSpPr>
          <p:cNvPr id="12" name="矩形 11"/>
          <p:cNvSpPr/>
          <p:nvPr/>
        </p:nvSpPr>
        <p:spPr>
          <a:xfrm>
            <a:off x="4589145" y="3004185"/>
            <a:ext cx="6457315" cy="760730"/>
          </a:xfrm>
          <a:prstGeom prst="rect">
            <a:avLst/>
          </a:prstGeom>
          <a:noFill/>
          <a:ln w="28575" cmpd="sng">
            <a:solidFill>
              <a:srgbClr val="FF0000"/>
            </a:solidFill>
            <a:prstDash val="sys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3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0022994">
            <a:off x="10180320" y="4578350"/>
            <a:ext cx="1336675" cy="630555"/>
            <a:chOff x="3558970" y="2488798"/>
            <a:chExt cx="5067710" cy="2391582"/>
          </a:xfrm>
        </p:grpSpPr>
        <p:sp>
          <p:nvSpPr>
            <p:cNvPr id="74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ldLvl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143510"/>
            <a:ext cx="4041140" cy="808990"/>
          </a:xfrm>
        </p:spPr>
        <p:txBody>
          <a:bodyPr/>
          <a:lstStyle/>
          <a:p>
            <a:r>
              <a:rPr lang="zh-CN" altLang="en-US" dirty="0"/>
              <a:t>随堂练习</a:t>
            </a: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7" y="238894"/>
            <a:ext cx="730160" cy="73016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2930525" y="1351915"/>
            <a:ext cx="7322820" cy="410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30000"/>
              </a:lnSpc>
            </a:pPr>
            <a:r>
              <a:rPr lang="zh-CN" altLang="en-US" sz="1600"/>
              <a:t>改变路程条件后，在程序划线处填空，实现：输入行驶路程，输出付费金额。</a:t>
            </a:r>
          </a:p>
        </p:txBody>
      </p:sp>
      <p:sp>
        <p:nvSpPr>
          <p:cNvPr id="11" name="灯片编号占位符 6"/>
          <p:cNvSpPr>
            <a:spLocks noGrp="1"/>
          </p:cNvSpPr>
          <p:nvPr/>
        </p:nvSpPr>
        <p:spPr>
          <a:xfrm>
            <a:off x="926401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  <a:t>26</a:t>
            </a:fld>
            <a:endParaRPr lang="zh-CN" altLang="en-US"/>
          </a:p>
        </p:txBody>
      </p:sp>
      <p:pic>
        <p:nvPicPr>
          <p:cNvPr id="3" name="图片 2" descr="C:/Users/ADMINI~1/AppData/Local/Temp/kaimatting/20200827140417/output_aiMatting_20200827140430.pngoutput_aiMatting_202008271404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2445" y="1118870"/>
            <a:ext cx="2165350" cy="1341755"/>
          </a:xfrm>
          <a:prstGeom prst="rect">
            <a:avLst/>
          </a:prstGeom>
        </p:spPr>
      </p:pic>
      <p:grpSp>
        <p:nvGrpSpPr>
          <p:cNvPr id="19" name="组合 18"/>
          <p:cNvGrpSpPr/>
          <p:nvPr/>
        </p:nvGrpSpPr>
        <p:grpSpPr>
          <a:xfrm>
            <a:off x="269240" y="3529330"/>
            <a:ext cx="3511550" cy="1481455"/>
            <a:chOff x="216" y="4690"/>
            <a:chExt cx="5530" cy="2333"/>
          </a:xfrm>
        </p:grpSpPr>
        <p:grpSp>
          <p:nvGrpSpPr>
            <p:cNvPr id="6" name="组合 5"/>
            <p:cNvGrpSpPr/>
            <p:nvPr/>
          </p:nvGrpSpPr>
          <p:grpSpPr>
            <a:xfrm>
              <a:off x="216" y="4690"/>
              <a:ext cx="1037" cy="1041"/>
              <a:chOff x="17704" y="7751"/>
              <a:chExt cx="1382" cy="1386"/>
            </a:xfrm>
          </p:grpSpPr>
          <p:sp>
            <p:nvSpPr>
              <p:cNvPr id="7" name="ïsľiďê"/>
              <p:cNvSpPr/>
              <p:nvPr/>
            </p:nvSpPr>
            <p:spPr bwMode="auto">
              <a:xfrm>
                <a:off x="17704" y="7751"/>
                <a:ext cx="1383" cy="1386"/>
              </a:xfrm>
              <a:prstGeom prst="ellipse">
                <a:avLst/>
              </a:prstGeom>
              <a:solidFill>
                <a:srgbClr val="F4A229"/>
              </a:solidFill>
              <a:ln w="2857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normAutofit fontScale="7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3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íśľîde"/>
              <p:cNvSpPr/>
              <p:nvPr/>
            </p:nvSpPr>
            <p:spPr bwMode="auto">
              <a:xfrm>
                <a:off x="18070" y="8090"/>
                <a:ext cx="650" cy="708"/>
              </a:xfrm>
              <a:custGeom>
                <a:avLst/>
                <a:gdLst>
                  <a:gd name="connsiteX0" fmla="*/ 176272 w 556267"/>
                  <a:gd name="connsiteY0" fmla="*/ 555492 h 606087"/>
                  <a:gd name="connsiteX1" fmla="*/ 380065 w 556267"/>
                  <a:gd name="connsiteY1" fmla="*/ 555492 h 606087"/>
                  <a:gd name="connsiteX2" fmla="*/ 379295 w 556267"/>
                  <a:gd name="connsiteY2" fmla="*/ 574730 h 606087"/>
                  <a:gd name="connsiteX3" fmla="*/ 379295 w 556267"/>
                  <a:gd name="connsiteY3" fmla="*/ 606087 h 606087"/>
                  <a:gd name="connsiteX4" fmla="*/ 177043 w 556267"/>
                  <a:gd name="connsiteY4" fmla="*/ 606087 h 606087"/>
                  <a:gd name="connsiteX5" fmla="*/ 177043 w 556267"/>
                  <a:gd name="connsiteY5" fmla="*/ 580116 h 606087"/>
                  <a:gd name="connsiteX6" fmla="*/ 176272 w 556267"/>
                  <a:gd name="connsiteY6" fmla="*/ 555492 h 606087"/>
                  <a:gd name="connsiteX7" fmla="*/ 170486 w 556267"/>
                  <a:gd name="connsiteY7" fmla="*/ 504967 h 606087"/>
                  <a:gd name="connsiteX8" fmla="*/ 386134 w 556267"/>
                  <a:gd name="connsiteY8" fmla="*/ 504967 h 606087"/>
                  <a:gd name="connsiteX9" fmla="*/ 382185 w 556267"/>
                  <a:gd name="connsiteY9" fmla="*/ 530300 h 606087"/>
                  <a:gd name="connsiteX10" fmla="*/ 174050 w 556267"/>
                  <a:gd name="connsiteY10" fmla="*/ 530300 h 606087"/>
                  <a:gd name="connsiteX11" fmla="*/ 170486 w 556267"/>
                  <a:gd name="connsiteY11" fmla="*/ 504967 h 606087"/>
                  <a:gd name="connsiteX12" fmla="*/ 481527 w 556267"/>
                  <a:gd name="connsiteY12" fmla="*/ 380419 h 606087"/>
                  <a:gd name="connsiteX13" fmla="*/ 525359 w 556267"/>
                  <a:gd name="connsiteY13" fmla="*/ 405623 h 606087"/>
                  <a:gd name="connsiteX14" fmla="*/ 512643 w 556267"/>
                  <a:gd name="connsiteY14" fmla="*/ 427557 h 606087"/>
                  <a:gd name="connsiteX15" fmla="*/ 468907 w 556267"/>
                  <a:gd name="connsiteY15" fmla="*/ 402256 h 606087"/>
                  <a:gd name="connsiteX16" fmla="*/ 74740 w 556267"/>
                  <a:gd name="connsiteY16" fmla="*/ 380419 h 606087"/>
                  <a:gd name="connsiteX17" fmla="*/ 87360 w 556267"/>
                  <a:gd name="connsiteY17" fmla="*/ 402353 h 606087"/>
                  <a:gd name="connsiteX18" fmla="*/ 43528 w 556267"/>
                  <a:gd name="connsiteY18" fmla="*/ 427557 h 606087"/>
                  <a:gd name="connsiteX19" fmla="*/ 30908 w 556267"/>
                  <a:gd name="connsiteY19" fmla="*/ 405720 h 606087"/>
                  <a:gd name="connsiteX20" fmla="*/ 505742 w 556267"/>
                  <a:gd name="connsiteY20" fmla="*/ 265115 h 606087"/>
                  <a:gd name="connsiteX21" fmla="*/ 556267 w 556267"/>
                  <a:gd name="connsiteY21" fmla="*/ 265115 h 606087"/>
                  <a:gd name="connsiteX22" fmla="*/ 556267 w 556267"/>
                  <a:gd name="connsiteY22" fmla="*/ 290448 h 606087"/>
                  <a:gd name="connsiteX23" fmla="*/ 505742 w 556267"/>
                  <a:gd name="connsiteY23" fmla="*/ 290448 h 606087"/>
                  <a:gd name="connsiteX24" fmla="*/ 0 w 556267"/>
                  <a:gd name="connsiteY24" fmla="*/ 265115 h 606087"/>
                  <a:gd name="connsiteX25" fmla="*/ 50525 w 556267"/>
                  <a:gd name="connsiteY25" fmla="*/ 265115 h 606087"/>
                  <a:gd name="connsiteX26" fmla="*/ 50525 w 556267"/>
                  <a:gd name="connsiteY26" fmla="*/ 290448 h 606087"/>
                  <a:gd name="connsiteX27" fmla="*/ 0 w 556267"/>
                  <a:gd name="connsiteY27" fmla="*/ 290448 h 606087"/>
                  <a:gd name="connsiteX28" fmla="*/ 512739 w 556267"/>
                  <a:gd name="connsiteY28" fmla="*/ 128006 h 606087"/>
                  <a:gd name="connsiteX29" fmla="*/ 525359 w 556267"/>
                  <a:gd name="connsiteY29" fmla="*/ 149823 h 606087"/>
                  <a:gd name="connsiteX30" fmla="*/ 481527 w 556267"/>
                  <a:gd name="connsiteY30" fmla="*/ 175003 h 606087"/>
                  <a:gd name="connsiteX31" fmla="*/ 468907 w 556267"/>
                  <a:gd name="connsiteY31" fmla="*/ 153186 h 606087"/>
                  <a:gd name="connsiteX32" fmla="*/ 43528 w 556267"/>
                  <a:gd name="connsiteY32" fmla="*/ 127935 h 606087"/>
                  <a:gd name="connsiteX33" fmla="*/ 87360 w 556267"/>
                  <a:gd name="connsiteY33" fmla="*/ 153197 h 606087"/>
                  <a:gd name="connsiteX34" fmla="*/ 74740 w 556267"/>
                  <a:gd name="connsiteY34" fmla="*/ 175002 h 606087"/>
                  <a:gd name="connsiteX35" fmla="*/ 30908 w 556267"/>
                  <a:gd name="connsiteY35" fmla="*/ 149836 h 606087"/>
                  <a:gd name="connsiteX36" fmla="*/ 297059 w 556267"/>
                  <a:gd name="connsiteY36" fmla="*/ 76575 h 606087"/>
                  <a:gd name="connsiteX37" fmla="*/ 404602 w 556267"/>
                  <a:gd name="connsiteY37" fmla="*/ 124032 h 606087"/>
                  <a:gd name="connsiteX38" fmla="*/ 467778 w 556267"/>
                  <a:gd name="connsiteY38" fmla="*/ 265117 h 606087"/>
                  <a:gd name="connsiteX39" fmla="*/ 441583 w 556267"/>
                  <a:gd name="connsiteY39" fmla="*/ 361098 h 606087"/>
                  <a:gd name="connsiteX40" fmla="*/ 391794 w 556267"/>
                  <a:gd name="connsiteY40" fmla="*/ 479775 h 606087"/>
                  <a:gd name="connsiteX41" fmla="*/ 165285 w 556267"/>
                  <a:gd name="connsiteY41" fmla="*/ 479775 h 606087"/>
                  <a:gd name="connsiteX42" fmla="*/ 118192 w 556267"/>
                  <a:gd name="connsiteY42" fmla="*/ 366676 h 606087"/>
                  <a:gd name="connsiteX43" fmla="*/ 89879 w 556267"/>
                  <a:gd name="connsiteY43" fmla="*/ 242420 h 606087"/>
                  <a:gd name="connsiteX44" fmla="*/ 256582 w 556267"/>
                  <a:gd name="connsiteY44" fmla="*/ 76907 h 606087"/>
                  <a:gd name="connsiteX45" fmla="*/ 297059 w 556267"/>
                  <a:gd name="connsiteY45" fmla="*/ 76575 h 606087"/>
                  <a:gd name="connsiteX46" fmla="*/ 150042 w 556267"/>
                  <a:gd name="connsiteY46" fmla="*/ 30978 h 606087"/>
                  <a:gd name="connsiteX47" fmla="*/ 175284 w 556267"/>
                  <a:gd name="connsiteY47" fmla="*/ 74605 h 606087"/>
                  <a:gd name="connsiteX48" fmla="*/ 153414 w 556267"/>
                  <a:gd name="connsiteY48" fmla="*/ 87289 h 606087"/>
                  <a:gd name="connsiteX49" fmla="*/ 128076 w 556267"/>
                  <a:gd name="connsiteY49" fmla="*/ 43566 h 606087"/>
                  <a:gd name="connsiteX50" fmla="*/ 406225 w 556267"/>
                  <a:gd name="connsiteY50" fmla="*/ 30837 h 606087"/>
                  <a:gd name="connsiteX51" fmla="*/ 428191 w 556267"/>
                  <a:gd name="connsiteY51" fmla="*/ 43441 h 606087"/>
                  <a:gd name="connsiteX52" fmla="*/ 402853 w 556267"/>
                  <a:gd name="connsiteY52" fmla="*/ 87219 h 606087"/>
                  <a:gd name="connsiteX53" fmla="*/ 380983 w 556267"/>
                  <a:gd name="connsiteY53" fmla="*/ 74615 h 606087"/>
                  <a:gd name="connsiteX54" fmla="*/ 265538 w 556267"/>
                  <a:gd name="connsiteY54" fmla="*/ 0 h 606087"/>
                  <a:gd name="connsiteX55" fmla="*/ 290730 w 556267"/>
                  <a:gd name="connsiteY55" fmla="*/ 0 h 606087"/>
                  <a:gd name="connsiteX56" fmla="*/ 290730 w 556267"/>
                  <a:gd name="connsiteY56" fmla="*/ 50525 h 606087"/>
                  <a:gd name="connsiteX57" fmla="*/ 265538 w 556267"/>
                  <a:gd name="connsiteY57" fmla="*/ 50525 h 606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556267" h="606087">
                    <a:moveTo>
                      <a:pt x="176272" y="555492"/>
                    </a:moveTo>
                    <a:lnTo>
                      <a:pt x="380065" y="555492"/>
                    </a:lnTo>
                    <a:cubicBezTo>
                      <a:pt x="379680" y="561937"/>
                      <a:pt x="379295" y="568381"/>
                      <a:pt x="379295" y="574730"/>
                    </a:cubicBezTo>
                    <a:lnTo>
                      <a:pt x="379295" y="606087"/>
                    </a:lnTo>
                    <a:lnTo>
                      <a:pt x="177043" y="606087"/>
                    </a:lnTo>
                    <a:lnTo>
                      <a:pt x="177043" y="580116"/>
                    </a:lnTo>
                    <a:cubicBezTo>
                      <a:pt x="177043" y="571844"/>
                      <a:pt x="176657" y="563668"/>
                      <a:pt x="176272" y="555492"/>
                    </a:cubicBezTo>
                    <a:close/>
                    <a:moveTo>
                      <a:pt x="170486" y="504967"/>
                    </a:moveTo>
                    <a:lnTo>
                      <a:pt x="386134" y="504967"/>
                    </a:lnTo>
                    <a:cubicBezTo>
                      <a:pt x="384593" y="513443"/>
                      <a:pt x="383245" y="521824"/>
                      <a:pt x="382185" y="530300"/>
                    </a:cubicBezTo>
                    <a:lnTo>
                      <a:pt x="174050" y="530300"/>
                    </a:lnTo>
                    <a:cubicBezTo>
                      <a:pt x="173087" y="521727"/>
                      <a:pt x="171931" y="513347"/>
                      <a:pt x="170486" y="504967"/>
                    </a:cubicBezTo>
                    <a:close/>
                    <a:moveTo>
                      <a:pt x="481527" y="380419"/>
                    </a:moveTo>
                    <a:lnTo>
                      <a:pt x="525359" y="405623"/>
                    </a:lnTo>
                    <a:lnTo>
                      <a:pt x="512643" y="427557"/>
                    </a:lnTo>
                    <a:lnTo>
                      <a:pt x="468907" y="402256"/>
                    </a:lnTo>
                    <a:close/>
                    <a:moveTo>
                      <a:pt x="74740" y="380419"/>
                    </a:moveTo>
                    <a:lnTo>
                      <a:pt x="87360" y="402353"/>
                    </a:lnTo>
                    <a:lnTo>
                      <a:pt x="43528" y="427557"/>
                    </a:lnTo>
                    <a:lnTo>
                      <a:pt x="30908" y="405720"/>
                    </a:lnTo>
                    <a:close/>
                    <a:moveTo>
                      <a:pt x="505742" y="265115"/>
                    </a:moveTo>
                    <a:lnTo>
                      <a:pt x="556267" y="265115"/>
                    </a:lnTo>
                    <a:lnTo>
                      <a:pt x="556267" y="290448"/>
                    </a:lnTo>
                    <a:lnTo>
                      <a:pt x="505742" y="290448"/>
                    </a:lnTo>
                    <a:close/>
                    <a:moveTo>
                      <a:pt x="0" y="265115"/>
                    </a:moveTo>
                    <a:lnTo>
                      <a:pt x="50525" y="265115"/>
                    </a:lnTo>
                    <a:lnTo>
                      <a:pt x="50525" y="290448"/>
                    </a:lnTo>
                    <a:lnTo>
                      <a:pt x="0" y="290448"/>
                    </a:lnTo>
                    <a:close/>
                    <a:moveTo>
                      <a:pt x="512739" y="128006"/>
                    </a:moveTo>
                    <a:lnTo>
                      <a:pt x="525359" y="149823"/>
                    </a:lnTo>
                    <a:lnTo>
                      <a:pt x="481527" y="175003"/>
                    </a:lnTo>
                    <a:lnTo>
                      <a:pt x="468907" y="153186"/>
                    </a:lnTo>
                    <a:close/>
                    <a:moveTo>
                      <a:pt x="43528" y="127935"/>
                    </a:moveTo>
                    <a:lnTo>
                      <a:pt x="87360" y="153197"/>
                    </a:lnTo>
                    <a:lnTo>
                      <a:pt x="74740" y="175002"/>
                    </a:lnTo>
                    <a:lnTo>
                      <a:pt x="30908" y="149836"/>
                    </a:lnTo>
                    <a:close/>
                    <a:moveTo>
                      <a:pt x="297059" y="76575"/>
                    </a:moveTo>
                    <a:cubicBezTo>
                      <a:pt x="336834" y="80411"/>
                      <a:pt x="374049" y="96623"/>
                      <a:pt x="404602" y="124032"/>
                    </a:cubicBezTo>
                    <a:cubicBezTo>
                      <a:pt x="444761" y="159808"/>
                      <a:pt x="467778" y="211357"/>
                      <a:pt x="467778" y="265117"/>
                    </a:cubicBezTo>
                    <a:cubicBezTo>
                      <a:pt x="467778" y="298874"/>
                      <a:pt x="458726" y="332053"/>
                      <a:pt x="441583" y="361098"/>
                    </a:cubicBezTo>
                    <a:cubicBezTo>
                      <a:pt x="418567" y="400144"/>
                      <a:pt x="402002" y="439767"/>
                      <a:pt x="391794" y="479775"/>
                    </a:cubicBezTo>
                    <a:lnTo>
                      <a:pt x="165285" y="479775"/>
                    </a:lnTo>
                    <a:cubicBezTo>
                      <a:pt x="155462" y="438709"/>
                      <a:pt x="139861" y="400529"/>
                      <a:pt x="118192" y="366676"/>
                    </a:cubicBezTo>
                    <a:cubicBezTo>
                      <a:pt x="94405" y="329649"/>
                      <a:pt x="84678" y="286660"/>
                      <a:pt x="89879" y="242420"/>
                    </a:cubicBezTo>
                    <a:cubicBezTo>
                      <a:pt x="99894" y="156057"/>
                      <a:pt x="170100" y="86524"/>
                      <a:pt x="256582" y="76907"/>
                    </a:cubicBezTo>
                    <a:cubicBezTo>
                      <a:pt x="270258" y="75392"/>
                      <a:pt x="283800" y="75296"/>
                      <a:pt x="297059" y="76575"/>
                    </a:cubicBezTo>
                    <a:close/>
                    <a:moveTo>
                      <a:pt x="150042" y="30978"/>
                    </a:moveTo>
                    <a:lnTo>
                      <a:pt x="175284" y="74605"/>
                    </a:lnTo>
                    <a:lnTo>
                      <a:pt x="153414" y="87289"/>
                    </a:lnTo>
                    <a:lnTo>
                      <a:pt x="128076" y="43566"/>
                    </a:lnTo>
                    <a:close/>
                    <a:moveTo>
                      <a:pt x="406225" y="30837"/>
                    </a:moveTo>
                    <a:lnTo>
                      <a:pt x="428191" y="43441"/>
                    </a:lnTo>
                    <a:lnTo>
                      <a:pt x="402853" y="87219"/>
                    </a:lnTo>
                    <a:lnTo>
                      <a:pt x="380983" y="74615"/>
                    </a:lnTo>
                    <a:close/>
                    <a:moveTo>
                      <a:pt x="265538" y="0"/>
                    </a:moveTo>
                    <a:lnTo>
                      <a:pt x="290730" y="0"/>
                    </a:lnTo>
                    <a:lnTo>
                      <a:pt x="290730" y="50525"/>
                    </a:lnTo>
                    <a:lnTo>
                      <a:pt x="265538" y="505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sp>
          <p:nvSpPr>
            <p:cNvPr id="10" name="文本框 9"/>
            <p:cNvSpPr txBox="1"/>
            <p:nvPr/>
          </p:nvSpPr>
          <p:spPr>
            <a:xfrm>
              <a:off x="1310" y="5110"/>
              <a:ext cx="4436" cy="580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zh-CN" altLang="en-US"/>
                <a:t>函数格式：</a:t>
              </a:r>
              <a:r>
                <a:rPr lang="en-US" altLang="zh-CN"/>
                <a:t>round(number)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1310" y="5833"/>
              <a:ext cx="4436" cy="1190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fontAlgn="auto">
                <a:lnSpc>
                  <a:spcPct val="120000"/>
                </a:lnSpc>
              </a:pPr>
              <a:r>
                <a:rPr lang="zh-CN" altLang="en-US"/>
                <a:t>函数功能：返回浮点数</a:t>
              </a:r>
              <a:r>
                <a:rPr lang="en-US" altLang="zh-CN"/>
                <a:t>number</a:t>
              </a:r>
              <a:r>
                <a:rPr lang="zh-CN" altLang="en-US"/>
                <a:t>的四舍五入值</a:t>
              </a:r>
            </a:p>
          </p:txBody>
        </p:sp>
      </p:grpSp>
      <p:grpSp>
        <p:nvGrpSpPr>
          <p:cNvPr id="15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0082993">
            <a:off x="10581005" y="1313815"/>
            <a:ext cx="1336675" cy="630555"/>
            <a:chOff x="3558970" y="2488798"/>
            <a:chExt cx="5067710" cy="2391582"/>
          </a:xfrm>
        </p:grpSpPr>
        <p:sp>
          <p:nvSpPr>
            <p:cNvPr id="16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cxnSp>
        <p:nvCxnSpPr>
          <p:cNvPr id="71" name="直接连接符 70"/>
          <p:cNvCxnSpPr/>
          <p:nvPr/>
        </p:nvCxnSpPr>
        <p:spPr>
          <a:xfrm>
            <a:off x="4526915" y="4441190"/>
            <a:ext cx="1243330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图片 7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0345" y="2078355"/>
            <a:ext cx="7227570" cy="4025265"/>
          </a:xfrm>
          <a:prstGeom prst="rect">
            <a:avLst/>
          </a:prstGeom>
        </p:spPr>
      </p:pic>
      <p:cxnSp>
        <p:nvCxnSpPr>
          <p:cNvPr id="73" name="直接连接符 72"/>
          <p:cNvCxnSpPr/>
          <p:nvPr/>
        </p:nvCxnSpPr>
        <p:spPr>
          <a:xfrm>
            <a:off x="5167223" y="5509021"/>
            <a:ext cx="2880060" cy="0"/>
          </a:xfrm>
          <a:prstGeom prst="line">
            <a:avLst/>
          </a:prstGeom>
          <a:ln w="28575" cmpd="sng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73"/>
          <p:cNvCxnSpPr/>
          <p:nvPr/>
        </p:nvCxnSpPr>
        <p:spPr>
          <a:xfrm>
            <a:off x="5167223" y="4788296"/>
            <a:ext cx="2880060" cy="0"/>
          </a:xfrm>
          <a:prstGeom prst="line">
            <a:avLst/>
          </a:prstGeom>
          <a:ln w="28575" cmpd="sng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矩形 74"/>
          <p:cNvSpPr/>
          <p:nvPr/>
        </p:nvSpPr>
        <p:spPr>
          <a:xfrm>
            <a:off x="4427220" y="4074795"/>
            <a:ext cx="1609725" cy="419100"/>
          </a:xfrm>
          <a:prstGeom prst="rect">
            <a:avLst/>
          </a:prstGeom>
          <a:noFill/>
          <a:ln w="31750" cmpd="sng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3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248581" y="2191065"/>
            <a:ext cx="7014732" cy="1621509"/>
          </a:xfrm>
        </p:spPr>
        <p:txBody>
          <a:bodyPr>
            <a:normAutofit/>
          </a:bodyPr>
          <a:lstStyle/>
          <a:p>
            <a:r>
              <a:rPr lang="en-US" altLang="zh-CN" sz="3600" dirty="0"/>
              <a:t>Thanks</a:t>
            </a:r>
            <a:br>
              <a:rPr lang="en-US" altLang="zh-CN" sz="3600" dirty="0"/>
            </a:br>
            <a:r>
              <a:rPr lang="en-US" altLang="zh-CN" sz="3600" dirty="0"/>
              <a:t>51maker</a:t>
            </a:r>
            <a:r>
              <a:rPr lang="zh-CN" altLang="en-US" sz="3600" dirty="0"/>
              <a:t>团队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248581" y="4962977"/>
            <a:ext cx="7343344" cy="304348"/>
          </a:xfrm>
        </p:spPr>
        <p:txBody>
          <a:bodyPr/>
          <a:lstStyle/>
          <a:p>
            <a:r>
              <a:rPr lang="zh-CN" altLang="en-US" sz="2000" dirty="0"/>
              <a:t>浙江省初中信息技术八年级教材</a:t>
            </a:r>
            <a:r>
              <a:rPr lang="en-US" altLang="zh-CN" sz="2000" dirty="0"/>
              <a:t>Python</a:t>
            </a:r>
            <a:r>
              <a:rPr lang="zh-CN" altLang="en-US" sz="2000" dirty="0"/>
              <a:t>编程同步教学设计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3105" y="2696991"/>
            <a:ext cx="1653364" cy="1653364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/>
              <a:t>认识分支结构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595432" y="206647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/>
        </p:nvGrpSpPr>
        <p:grpSpPr>
          <a:xfrm>
            <a:off x="5616575" y="1028700"/>
            <a:ext cx="6155690" cy="5756910"/>
            <a:chOff x="8845" y="1620"/>
            <a:chExt cx="9694" cy="9066"/>
          </a:xfrm>
        </p:grpSpPr>
        <p:grpSp>
          <p:nvGrpSpPr>
            <p:cNvPr id="10" name="组合 9"/>
            <p:cNvGrpSpPr/>
            <p:nvPr/>
          </p:nvGrpSpPr>
          <p:grpSpPr>
            <a:xfrm>
              <a:off x="8845" y="1620"/>
              <a:ext cx="9694" cy="9066"/>
              <a:chOff x="8845" y="1620"/>
              <a:chExt cx="9694" cy="9066"/>
            </a:xfrm>
          </p:grpSpPr>
          <p:sp>
            <p:nvSpPr>
              <p:cNvPr id="20" name="对角圆角矩形 19"/>
              <p:cNvSpPr/>
              <p:nvPr/>
            </p:nvSpPr>
            <p:spPr>
              <a:xfrm flipH="1">
                <a:off x="8845" y="1620"/>
                <a:ext cx="9694" cy="9067"/>
              </a:xfrm>
              <a:prstGeom prst="round2Diag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  <a:softEdge rad="31750"/>
              </a:effectLst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8" name="图片 7" descr="选择结构流程图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2641" y="1818"/>
                <a:ext cx="4963" cy="8468"/>
              </a:xfrm>
              <a:prstGeom prst="rect">
                <a:avLst/>
              </a:prstGeom>
              <a:ln w="28575" cmpd="sng">
                <a:solidFill>
                  <a:srgbClr val="F4A229"/>
                </a:solidFill>
                <a:prstDash val="soli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  <p:grpSp>
            <p:nvGrpSpPr>
              <p:cNvPr id="6" name="组合 5"/>
              <p:cNvGrpSpPr/>
              <p:nvPr/>
            </p:nvGrpSpPr>
            <p:grpSpPr>
              <a:xfrm>
                <a:off x="10015" y="3565"/>
                <a:ext cx="1646" cy="2306"/>
                <a:chOff x="10015" y="3565"/>
                <a:chExt cx="1646" cy="2306"/>
              </a:xfrm>
            </p:grpSpPr>
            <p:pic>
              <p:nvPicPr>
                <p:cNvPr id="5" name="图片 4" descr="C:/Users/ADMINI~1/AppData/Local/Temp/kaimatting/20200825085724/output_aiMatting_20200825085749.pngoutput_aiMatting_20200825085749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 flipV="1">
                  <a:off x="10015" y="4525"/>
                  <a:ext cx="1646" cy="1347"/>
                </a:xfrm>
                <a:prstGeom prst="rect">
                  <a:avLst/>
                </a:prstGeom>
              </p:spPr>
            </p:pic>
            <p:pic>
              <p:nvPicPr>
                <p:cNvPr id="14" name="图片 13" descr="C:/Users/ADMINI~1/AppData/Local/Temp/kaimatting/20200824180224/output_aiMatting_20200824180247.pngoutput_aiMatting_20200824180247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0300" y="3565"/>
                  <a:ext cx="1076" cy="1365"/>
                </a:xfrm>
                <a:prstGeom prst="rect">
                  <a:avLst/>
                </a:prstGeom>
              </p:spPr>
            </p:pic>
          </p:grpSp>
        </p:grpSp>
        <p:sp>
          <p:nvSpPr>
            <p:cNvPr id="24" name="文本框 23"/>
            <p:cNvSpPr txBox="1"/>
            <p:nvPr/>
          </p:nvSpPr>
          <p:spPr>
            <a:xfrm>
              <a:off x="13671" y="4933"/>
              <a:ext cx="608" cy="5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b="1"/>
                <a:t>是</a:t>
              </a:r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15967" y="4933"/>
              <a:ext cx="608" cy="5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b="1"/>
                <a:t>否</a:t>
              </a:r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8504" y="1"/>
            <a:ext cx="10850563" cy="1028699"/>
          </a:xfrm>
        </p:spPr>
        <p:txBody>
          <a:bodyPr/>
          <a:lstStyle/>
          <a:p>
            <a:r>
              <a:rPr lang="zh-CN" altLang="en-US" dirty="0"/>
              <a:t>认识分支结构</a:t>
            </a:r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sp>
        <p:nvSpPr>
          <p:cNvPr id="3" name="灯片编号占位符 3"/>
          <p:cNvSpPr>
            <a:spLocks noGrp="1"/>
          </p:cNvSpPr>
          <p:nvPr/>
        </p:nvSpPr>
        <p:spPr>
          <a:xfrm>
            <a:off x="9281794" y="6651308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grpSp>
        <p:nvGrpSpPr>
          <p:cNvPr id="7" name="组合 6"/>
          <p:cNvGrpSpPr/>
          <p:nvPr/>
        </p:nvGrpSpPr>
        <p:grpSpPr>
          <a:xfrm>
            <a:off x="391795" y="1028700"/>
            <a:ext cx="4522470" cy="5758180"/>
            <a:chOff x="617" y="1620"/>
            <a:chExt cx="7122" cy="9068"/>
          </a:xfrm>
        </p:grpSpPr>
        <p:sp>
          <p:nvSpPr>
            <p:cNvPr id="19" name="对角圆角矩形 18"/>
            <p:cNvSpPr/>
            <p:nvPr/>
          </p:nvSpPr>
          <p:spPr>
            <a:xfrm>
              <a:off x="617" y="1620"/>
              <a:ext cx="7122" cy="9068"/>
            </a:xfrm>
            <a:prstGeom prst="round2Diag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  <a:softEdge rad="31750"/>
            </a:effectLst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9" name="图片 8" descr="顺序结构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01" y="2231"/>
              <a:ext cx="3180" cy="7635"/>
            </a:xfrm>
            <a:prstGeom prst="rect">
              <a:avLst/>
            </a:prstGeom>
            <a:ln w="28575" cmpd="sng">
              <a:solidFill>
                <a:srgbClr val="F4A229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图片 11" descr="C:/Users/ADMINI~1/AppData/Local/Temp/kaimatting/20200824173833/output_aiMatting_20200824173840.pngoutput_aiMatting_2020082417384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flipV="1">
              <a:off x="1561" y="3565"/>
              <a:ext cx="1186" cy="1186"/>
            </a:xfrm>
            <a:prstGeom prst="rect">
              <a:avLst/>
            </a:prstGeom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</p:pic>
        <p:sp>
          <p:nvSpPr>
            <p:cNvPr id="16" name="îṧļîḓê"/>
            <p:cNvSpPr/>
            <p:nvPr/>
          </p:nvSpPr>
          <p:spPr>
            <a:xfrm>
              <a:off x="984" y="2114"/>
              <a:ext cx="2340" cy="711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lnSpc>
                  <a:spcPct val="120000"/>
                </a:lnSpc>
              </a:pPr>
              <a:r>
                <a:rPr lang="zh-CN" altLang="en-US" sz="2400" b="1" dirty="0">
                  <a:solidFill>
                    <a:schemeClr val="tx1"/>
                  </a:solidFill>
                </a:rPr>
                <a:t>顺序结构</a:t>
              </a:r>
            </a:p>
          </p:txBody>
        </p:sp>
      </p:grpSp>
      <p:sp>
        <p:nvSpPr>
          <p:cNvPr id="18" name="îṧļîḓê"/>
          <p:cNvSpPr/>
          <p:nvPr/>
        </p:nvSpPr>
        <p:spPr>
          <a:xfrm>
            <a:off x="6228188" y="1416535"/>
            <a:ext cx="1485748" cy="451706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zh-CN" altLang="en-US" sz="2400" b="1" dirty="0">
                <a:solidFill>
                  <a:schemeClr val="tx1"/>
                </a:solidFill>
              </a:rPr>
              <a:t>分支结构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820420" y="3977640"/>
            <a:ext cx="1290320" cy="165481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2400" spc="40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自上而下</a:t>
            </a:r>
          </a:p>
          <a:p>
            <a:pPr fontAlgn="auto">
              <a:lnSpc>
                <a:spcPct val="150000"/>
              </a:lnSpc>
            </a:pPr>
            <a:r>
              <a:rPr lang="zh-CN" altLang="en-US" sz="2400" spc="40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依次执行</a:t>
            </a: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" y="276994"/>
            <a:ext cx="730160" cy="7301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8" grpId="1" animBg="1"/>
      <p:bldP spid="21" grpId="0"/>
      <p:bldP spid="21" grpId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800" dirty="0"/>
              <a:t>if</a:t>
            </a:r>
            <a:r>
              <a:rPr lang="zh-CN" altLang="en-US" sz="2800" dirty="0"/>
              <a:t>条件语句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595432" y="206647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rcRect b="21407"/>
          <a:stretch>
            <a:fillRect/>
          </a:stretch>
        </p:blipFill>
        <p:spPr>
          <a:xfrm>
            <a:off x="826135" y="2472690"/>
            <a:ext cx="3461385" cy="2604135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41375" y="-57150"/>
            <a:ext cx="2924810" cy="1028700"/>
          </a:xfrm>
        </p:spPr>
        <p:txBody>
          <a:bodyPr/>
          <a:lstStyle/>
          <a:p>
            <a:r>
              <a:rPr lang="en-US" altLang="zh-CN" dirty="0"/>
              <a:t>if </a:t>
            </a:r>
            <a:r>
              <a:rPr lang="zh-CN" altLang="en-US" dirty="0"/>
              <a:t>条件语句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926401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endParaRPr lang="zh-CN" altLang="en-US"/>
          </a:p>
        </p:txBody>
      </p:sp>
      <p:grpSp>
        <p:nvGrpSpPr>
          <p:cNvPr id="151" name="ïśļíḍê"/>
          <p:cNvGrpSpPr/>
          <p:nvPr/>
        </p:nvGrpSpPr>
        <p:grpSpPr>
          <a:xfrm>
            <a:off x="655955" y="1683385"/>
            <a:ext cx="3835400" cy="3832225"/>
            <a:chOff x="976406" y="2270126"/>
            <a:chExt cx="2951163" cy="2947988"/>
          </a:xfrm>
          <a:solidFill>
            <a:schemeClr val="accent1"/>
          </a:solidFill>
        </p:grpSpPr>
        <p:sp>
          <p:nvSpPr>
            <p:cNvPr id="154" name="í$ḻïḋê"/>
            <p:cNvSpPr/>
            <p:nvPr/>
          </p:nvSpPr>
          <p:spPr bwMode="auto">
            <a:xfrm>
              <a:off x="1971769" y="2871789"/>
              <a:ext cx="1949450" cy="2336800"/>
            </a:xfrm>
            <a:custGeom>
              <a:avLst/>
              <a:gdLst>
                <a:gd name="T0" fmla="*/ 764 w 804"/>
                <a:gd name="T1" fmla="*/ 744 h 964"/>
                <a:gd name="T2" fmla="*/ 584 w 804"/>
                <a:gd name="T3" fmla="*/ 924 h 964"/>
                <a:gd name="T4" fmla="*/ 0 w 804"/>
                <a:gd name="T5" fmla="*/ 924 h 964"/>
                <a:gd name="T6" fmla="*/ 0 w 804"/>
                <a:gd name="T7" fmla="*/ 964 h 964"/>
                <a:gd name="T8" fmla="*/ 584 w 804"/>
                <a:gd name="T9" fmla="*/ 964 h 964"/>
                <a:gd name="T10" fmla="*/ 804 w 804"/>
                <a:gd name="T11" fmla="*/ 744 h 964"/>
                <a:gd name="T12" fmla="*/ 804 w 804"/>
                <a:gd name="T13" fmla="*/ 0 h 964"/>
                <a:gd name="T14" fmla="*/ 764 w 804"/>
                <a:gd name="T15" fmla="*/ 0 h 964"/>
                <a:gd name="T16" fmla="*/ 764 w 804"/>
                <a:gd name="T17" fmla="*/ 744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4" h="964">
                  <a:moveTo>
                    <a:pt x="764" y="744"/>
                  </a:moveTo>
                  <a:cubicBezTo>
                    <a:pt x="764" y="843"/>
                    <a:pt x="683" y="924"/>
                    <a:pt x="584" y="924"/>
                  </a:cubicBezTo>
                  <a:cubicBezTo>
                    <a:pt x="0" y="924"/>
                    <a:pt x="0" y="924"/>
                    <a:pt x="0" y="924"/>
                  </a:cubicBezTo>
                  <a:cubicBezTo>
                    <a:pt x="0" y="964"/>
                    <a:pt x="0" y="964"/>
                    <a:pt x="0" y="964"/>
                  </a:cubicBezTo>
                  <a:cubicBezTo>
                    <a:pt x="584" y="964"/>
                    <a:pt x="584" y="964"/>
                    <a:pt x="584" y="964"/>
                  </a:cubicBezTo>
                  <a:cubicBezTo>
                    <a:pt x="705" y="964"/>
                    <a:pt x="804" y="865"/>
                    <a:pt x="804" y="744"/>
                  </a:cubicBezTo>
                  <a:cubicBezTo>
                    <a:pt x="804" y="0"/>
                    <a:pt x="804" y="0"/>
                    <a:pt x="804" y="0"/>
                  </a:cubicBezTo>
                  <a:cubicBezTo>
                    <a:pt x="764" y="0"/>
                    <a:pt x="764" y="0"/>
                    <a:pt x="764" y="0"/>
                  </a:cubicBezTo>
                  <a:lnTo>
                    <a:pt x="764" y="744"/>
                  </a:lnTo>
                  <a:close/>
                </a:path>
              </a:pathLst>
            </a:custGeom>
            <a:solidFill>
              <a:srgbClr val="F4A2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55" name="iṥ1iḓé"/>
            <p:cNvSpPr/>
            <p:nvPr/>
          </p:nvSpPr>
          <p:spPr bwMode="auto">
            <a:xfrm>
              <a:off x="982756" y="2270126"/>
              <a:ext cx="1949450" cy="2376488"/>
            </a:xfrm>
            <a:custGeom>
              <a:avLst/>
              <a:gdLst>
                <a:gd name="T0" fmla="*/ 40 w 804"/>
                <a:gd name="T1" fmla="*/ 220 h 980"/>
                <a:gd name="T2" fmla="*/ 220 w 804"/>
                <a:gd name="T3" fmla="*/ 40 h 980"/>
                <a:gd name="T4" fmla="*/ 804 w 804"/>
                <a:gd name="T5" fmla="*/ 40 h 980"/>
                <a:gd name="T6" fmla="*/ 804 w 804"/>
                <a:gd name="T7" fmla="*/ 0 h 980"/>
                <a:gd name="T8" fmla="*/ 220 w 804"/>
                <a:gd name="T9" fmla="*/ 0 h 980"/>
                <a:gd name="T10" fmla="*/ 0 w 804"/>
                <a:gd name="T11" fmla="*/ 220 h 980"/>
                <a:gd name="T12" fmla="*/ 0 w 804"/>
                <a:gd name="T13" fmla="*/ 980 h 980"/>
                <a:gd name="T14" fmla="*/ 40 w 804"/>
                <a:gd name="T15" fmla="*/ 980 h 980"/>
                <a:gd name="T16" fmla="*/ 40 w 804"/>
                <a:gd name="T17" fmla="*/ 220 h 9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4" h="980">
                  <a:moveTo>
                    <a:pt x="40" y="220"/>
                  </a:moveTo>
                  <a:cubicBezTo>
                    <a:pt x="40" y="121"/>
                    <a:pt x="121" y="40"/>
                    <a:pt x="220" y="40"/>
                  </a:cubicBezTo>
                  <a:cubicBezTo>
                    <a:pt x="804" y="40"/>
                    <a:pt x="804" y="40"/>
                    <a:pt x="804" y="40"/>
                  </a:cubicBezTo>
                  <a:cubicBezTo>
                    <a:pt x="804" y="0"/>
                    <a:pt x="804" y="0"/>
                    <a:pt x="804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99" y="0"/>
                    <a:pt x="0" y="99"/>
                    <a:pt x="0" y="220"/>
                  </a:cubicBezTo>
                  <a:cubicBezTo>
                    <a:pt x="0" y="980"/>
                    <a:pt x="0" y="980"/>
                    <a:pt x="0" y="980"/>
                  </a:cubicBezTo>
                  <a:cubicBezTo>
                    <a:pt x="40" y="980"/>
                    <a:pt x="40" y="980"/>
                    <a:pt x="40" y="980"/>
                  </a:cubicBezTo>
                  <a:lnTo>
                    <a:pt x="40" y="220"/>
                  </a:lnTo>
                  <a:close/>
                </a:path>
              </a:pathLst>
            </a:custGeom>
            <a:solidFill>
              <a:srgbClr val="F4A2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dirty="0"/>
            </a:p>
          </p:txBody>
        </p:sp>
        <p:sp>
          <p:nvSpPr>
            <p:cNvPr id="156" name="ï$ḷîḓê"/>
            <p:cNvSpPr/>
            <p:nvPr/>
          </p:nvSpPr>
          <p:spPr bwMode="auto">
            <a:xfrm>
              <a:off x="1460594" y="4738689"/>
              <a:ext cx="412750" cy="479425"/>
            </a:xfrm>
            <a:custGeom>
              <a:avLst/>
              <a:gdLst>
                <a:gd name="T0" fmla="*/ 170 w 170"/>
                <a:gd name="T1" fmla="*/ 111 h 198"/>
                <a:gd name="T2" fmla="*/ 147 w 170"/>
                <a:gd name="T3" fmla="*/ 52 h 198"/>
                <a:gd name="T4" fmla="*/ 87 w 170"/>
                <a:gd name="T5" fmla="*/ 26 h 198"/>
                <a:gd name="T6" fmla="*/ 87 w 170"/>
                <a:gd name="T7" fmla="*/ 0 h 198"/>
                <a:gd name="T8" fmla="*/ 24 w 170"/>
                <a:gd name="T9" fmla="*/ 41 h 198"/>
                <a:gd name="T10" fmla="*/ 0 w 170"/>
                <a:gd name="T11" fmla="*/ 110 h 198"/>
                <a:gd name="T12" fmla="*/ 24 w 170"/>
                <a:gd name="T13" fmla="*/ 173 h 198"/>
                <a:gd name="T14" fmla="*/ 84 w 170"/>
                <a:gd name="T15" fmla="*/ 198 h 198"/>
                <a:gd name="T16" fmla="*/ 145 w 170"/>
                <a:gd name="T17" fmla="*/ 173 h 198"/>
                <a:gd name="T18" fmla="*/ 170 w 170"/>
                <a:gd name="T19" fmla="*/ 111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98">
                  <a:moveTo>
                    <a:pt x="170" y="111"/>
                  </a:moveTo>
                  <a:cubicBezTo>
                    <a:pt x="170" y="87"/>
                    <a:pt x="162" y="68"/>
                    <a:pt x="147" y="52"/>
                  </a:cubicBezTo>
                  <a:cubicBezTo>
                    <a:pt x="132" y="36"/>
                    <a:pt x="111" y="28"/>
                    <a:pt x="87" y="2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9" y="7"/>
                    <a:pt x="39" y="21"/>
                    <a:pt x="24" y="41"/>
                  </a:cubicBezTo>
                  <a:cubicBezTo>
                    <a:pt x="8" y="61"/>
                    <a:pt x="0" y="84"/>
                    <a:pt x="0" y="110"/>
                  </a:cubicBezTo>
                  <a:cubicBezTo>
                    <a:pt x="0" y="135"/>
                    <a:pt x="8" y="156"/>
                    <a:pt x="24" y="173"/>
                  </a:cubicBezTo>
                  <a:cubicBezTo>
                    <a:pt x="41" y="190"/>
                    <a:pt x="60" y="198"/>
                    <a:pt x="84" y="198"/>
                  </a:cubicBezTo>
                  <a:cubicBezTo>
                    <a:pt x="109" y="198"/>
                    <a:pt x="129" y="190"/>
                    <a:pt x="145" y="173"/>
                  </a:cubicBezTo>
                  <a:cubicBezTo>
                    <a:pt x="162" y="156"/>
                    <a:pt x="170" y="136"/>
                    <a:pt x="170" y="111"/>
                  </a:cubicBezTo>
                  <a:close/>
                </a:path>
              </a:pathLst>
            </a:custGeom>
            <a:solidFill>
              <a:srgbClr val="F4A2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57" name="ïŝ1ïḑè"/>
            <p:cNvSpPr/>
            <p:nvPr/>
          </p:nvSpPr>
          <p:spPr bwMode="auto">
            <a:xfrm>
              <a:off x="976406" y="4738689"/>
              <a:ext cx="411163" cy="479425"/>
            </a:xfrm>
            <a:custGeom>
              <a:avLst/>
              <a:gdLst>
                <a:gd name="T0" fmla="*/ 146 w 170"/>
                <a:gd name="T1" fmla="*/ 173 h 198"/>
                <a:gd name="T2" fmla="*/ 170 w 170"/>
                <a:gd name="T3" fmla="*/ 111 h 198"/>
                <a:gd name="T4" fmla="*/ 147 w 170"/>
                <a:gd name="T5" fmla="*/ 52 h 198"/>
                <a:gd name="T6" fmla="*/ 87 w 170"/>
                <a:gd name="T7" fmla="*/ 26 h 198"/>
                <a:gd name="T8" fmla="*/ 87 w 170"/>
                <a:gd name="T9" fmla="*/ 0 h 198"/>
                <a:gd name="T10" fmla="*/ 24 w 170"/>
                <a:gd name="T11" fmla="*/ 41 h 198"/>
                <a:gd name="T12" fmla="*/ 0 w 170"/>
                <a:gd name="T13" fmla="*/ 110 h 198"/>
                <a:gd name="T14" fmla="*/ 25 w 170"/>
                <a:gd name="T15" fmla="*/ 173 h 198"/>
                <a:gd name="T16" fmla="*/ 84 w 170"/>
                <a:gd name="T17" fmla="*/ 198 h 198"/>
                <a:gd name="T18" fmla="*/ 146 w 170"/>
                <a:gd name="T19" fmla="*/ 1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98">
                  <a:moveTo>
                    <a:pt x="146" y="173"/>
                  </a:moveTo>
                  <a:cubicBezTo>
                    <a:pt x="162" y="156"/>
                    <a:pt x="170" y="136"/>
                    <a:pt x="170" y="111"/>
                  </a:cubicBezTo>
                  <a:cubicBezTo>
                    <a:pt x="170" y="87"/>
                    <a:pt x="162" y="68"/>
                    <a:pt x="147" y="52"/>
                  </a:cubicBezTo>
                  <a:cubicBezTo>
                    <a:pt x="132" y="36"/>
                    <a:pt x="111" y="28"/>
                    <a:pt x="87" y="2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63" y="7"/>
                    <a:pt x="40" y="21"/>
                    <a:pt x="24" y="41"/>
                  </a:cubicBezTo>
                  <a:cubicBezTo>
                    <a:pt x="8" y="61"/>
                    <a:pt x="0" y="84"/>
                    <a:pt x="0" y="110"/>
                  </a:cubicBezTo>
                  <a:cubicBezTo>
                    <a:pt x="0" y="135"/>
                    <a:pt x="9" y="156"/>
                    <a:pt x="25" y="173"/>
                  </a:cubicBezTo>
                  <a:cubicBezTo>
                    <a:pt x="41" y="190"/>
                    <a:pt x="61" y="198"/>
                    <a:pt x="84" y="198"/>
                  </a:cubicBezTo>
                  <a:cubicBezTo>
                    <a:pt x="109" y="198"/>
                    <a:pt x="129" y="190"/>
                    <a:pt x="146" y="173"/>
                  </a:cubicBezTo>
                  <a:close/>
                </a:path>
              </a:pathLst>
            </a:custGeom>
            <a:solidFill>
              <a:srgbClr val="F4A2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58" name="ïŝḻiďê"/>
            <p:cNvSpPr/>
            <p:nvPr/>
          </p:nvSpPr>
          <p:spPr bwMode="auto">
            <a:xfrm>
              <a:off x="3030631" y="2298701"/>
              <a:ext cx="896938" cy="481013"/>
            </a:xfrm>
            <a:custGeom>
              <a:avLst/>
              <a:gdLst>
                <a:gd name="T0" fmla="*/ 146 w 370"/>
                <a:gd name="T1" fmla="*/ 157 h 198"/>
                <a:gd name="T2" fmla="*/ 83 w 370"/>
                <a:gd name="T3" fmla="*/ 198 h 198"/>
                <a:gd name="T4" fmla="*/ 83 w 370"/>
                <a:gd name="T5" fmla="*/ 172 h 198"/>
                <a:gd name="T6" fmla="*/ 23 w 370"/>
                <a:gd name="T7" fmla="*/ 146 h 198"/>
                <a:gd name="T8" fmla="*/ 0 w 370"/>
                <a:gd name="T9" fmla="*/ 87 h 198"/>
                <a:gd name="T10" fmla="*/ 25 w 370"/>
                <a:gd name="T11" fmla="*/ 25 h 198"/>
                <a:gd name="T12" fmla="*/ 86 w 370"/>
                <a:gd name="T13" fmla="*/ 0 h 198"/>
                <a:gd name="T14" fmla="*/ 146 w 370"/>
                <a:gd name="T15" fmla="*/ 25 h 198"/>
                <a:gd name="T16" fmla="*/ 170 w 370"/>
                <a:gd name="T17" fmla="*/ 88 h 198"/>
                <a:gd name="T18" fmla="*/ 146 w 370"/>
                <a:gd name="T19" fmla="*/ 157 h 198"/>
                <a:gd name="T20" fmla="*/ 346 w 370"/>
                <a:gd name="T21" fmla="*/ 157 h 198"/>
                <a:gd name="T22" fmla="*/ 283 w 370"/>
                <a:gd name="T23" fmla="*/ 198 h 198"/>
                <a:gd name="T24" fmla="*/ 283 w 370"/>
                <a:gd name="T25" fmla="*/ 172 h 198"/>
                <a:gd name="T26" fmla="*/ 223 w 370"/>
                <a:gd name="T27" fmla="*/ 146 h 198"/>
                <a:gd name="T28" fmla="*/ 200 w 370"/>
                <a:gd name="T29" fmla="*/ 87 h 198"/>
                <a:gd name="T30" fmla="*/ 224 w 370"/>
                <a:gd name="T31" fmla="*/ 25 h 198"/>
                <a:gd name="T32" fmla="*/ 286 w 370"/>
                <a:gd name="T33" fmla="*/ 0 h 198"/>
                <a:gd name="T34" fmla="*/ 345 w 370"/>
                <a:gd name="T35" fmla="*/ 25 h 198"/>
                <a:gd name="T36" fmla="*/ 370 w 370"/>
                <a:gd name="T37" fmla="*/ 88 h 198"/>
                <a:gd name="T38" fmla="*/ 346 w 370"/>
                <a:gd name="T39" fmla="*/ 157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0" h="198">
                  <a:moveTo>
                    <a:pt x="146" y="157"/>
                  </a:moveTo>
                  <a:cubicBezTo>
                    <a:pt x="131" y="177"/>
                    <a:pt x="111" y="191"/>
                    <a:pt x="83" y="198"/>
                  </a:cubicBezTo>
                  <a:cubicBezTo>
                    <a:pt x="83" y="172"/>
                    <a:pt x="83" y="172"/>
                    <a:pt x="83" y="172"/>
                  </a:cubicBezTo>
                  <a:cubicBezTo>
                    <a:pt x="59" y="170"/>
                    <a:pt x="39" y="162"/>
                    <a:pt x="23" y="146"/>
                  </a:cubicBezTo>
                  <a:cubicBezTo>
                    <a:pt x="8" y="130"/>
                    <a:pt x="0" y="111"/>
                    <a:pt x="0" y="87"/>
                  </a:cubicBezTo>
                  <a:cubicBezTo>
                    <a:pt x="0" y="62"/>
                    <a:pt x="8" y="42"/>
                    <a:pt x="25" y="25"/>
                  </a:cubicBezTo>
                  <a:cubicBezTo>
                    <a:pt x="41" y="8"/>
                    <a:pt x="61" y="0"/>
                    <a:pt x="86" y="0"/>
                  </a:cubicBezTo>
                  <a:cubicBezTo>
                    <a:pt x="110" y="0"/>
                    <a:pt x="129" y="8"/>
                    <a:pt x="146" y="25"/>
                  </a:cubicBezTo>
                  <a:cubicBezTo>
                    <a:pt x="162" y="42"/>
                    <a:pt x="170" y="63"/>
                    <a:pt x="170" y="88"/>
                  </a:cubicBezTo>
                  <a:cubicBezTo>
                    <a:pt x="170" y="114"/>
                    <a:pt x="162" y="137"/>
                    <a:pt x="146" y="157"/>
                  </a:cubicBezTo>
                  <a:close/>
                  <a:moveTo>
                    <a:pt x="346" y="157"/>
                  </a:moveTo>
                  <a:cubicBezTo>
                    <a:pt x="330" y="177"/>
                    <a:pt x="307" y="191"/>
                    <a:pt x="283" y="198"/>
                  </a:cubicBezTo>
                  <a:cubicBezTo>
                    <a:pt x="283" y="172"/>
                    <a:pt x="283" y="172"/>
                    <a:pt x="283" y="172"/>
                  </a:cubicBezTo>
                  <a:cubicBezTo>
                    <a:pt x="259" y="170"/>
                    <a:pt x="238" y="162"/>
                    <a:pt x="223" y="146"/>
                  </a:cubicBezTo>
                  <a:cubicBezTo>
                    <a:pt x="208" y="130"/>
                    <a:pt x="200" y="111"/>
                    <a:pt x="200" y="87"/>
                  </a:cubicBezTo>
                  <a:cubicBezTo>
                    <a:pt x="200" y="62"/>
                    <a:pt x="208" y="42"/>
                    <a:pt x="224" y="25"/>
                  </a:cubicBezTo>
                  <a:cubicBezTo>
                    <a:pt x="241" y="8"/>
                    <a:pt x="261" y="0"/>
                    <a:pt x="286" y="0"/>
                  </a:cubicBezTo>
                  <a:cubicBezTo>
                    <a:pt x="309" y="0"/>
                    <a:pt x="329" y="8"/>
                    <a:pt x="345" y="25"/>
                  </a:cubicBezTo>
                  <a:cubicBezTo>
                    <a:pt x="361" y="42"/>
                    <a:pt x="370" y="63"/>
                    <a:pt x="370" y="88"/>
                  </a:cubicBezTo>
                  <a:cubicBezTo>
                    <a:pt x="370" y="114"/>
                    <a:pt x="362" y="137"/>
                    <a:pt x="346" y="157"/>
                  </a:cubicBezTo>
                  <a:close/>
                </a:path>
              </a:pathLst>
            </a:custGeom>
            <a:solidFill>
              <a:srgbClr val="F4A2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pic>
        <p:nvPicPr>
          <p:cNvPr id="35" name="图片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pic>
        <p:nvPicPr>
          <p:cNvPr id="36" name="图片 35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916940" y="2874010"/>
            <a:ext cx="5092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>
                <a:solidFill>
                  <a:srgbClr val="FF0000"/>
                </a:solidFill>
              </a:rPr>
              <a:t>[</a:t>
            </a:r>
            <a:r>
              <a:rPr lang="zh-CN" altLang="en-US" b="1">
                <a:solidFill>
                  <a:srgbClr val="FF0000"/>
                </a:solidFill>
              </a:rPr>
              <a:t>真</a:t>
            </a:r>
            <a:r>
              <a:rPr lang="en-US" altLang="zh-CN" b="1">
                <a:solidFill>
                  <a:srgbClr val="FF0000"/>
                </a:solidFill>
              </a:rPr>
              <a:t>]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3458845" y="2874010"/>
            <a:ext cx="5092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>
                <a:solidFill>
                  <a:srgbClr val="FF0000"/>
                </a:solidFill>
              </a:rPr>
              <a:t>[</a:t>
            </a:r>
            <a:r>
              <a:rPr lang="zh-CN" altLang="en-US" b="1">
                <a:solidFill>
                  <a:srgbClr val="FF0000"/>
                </a:solidFill>
              </a:rPr>
              <a:t>假</a:t>
            </a:r>
            <a:r>
              <a:rPr lang="en-US" altLang="zh-CN" b="1">
                <a:solidFill>
                  <a:srgbClr val="FF0000"/>
                </a:solidFill>
              </a:rPr>
              <a:t>]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6"/>
          <a:srcRect l="1111"/>
          <a:stretch>
            <a:fillRect/>
          </a:stretch>
        </p:blipFill>
        <p:spPr>
          <a:xfrm>
            <a:off x="5274310" y="2816860"/>
            <a:ext cx="2825750" cy="2286000"/>
          </a:xfrm>
          <a:prstGeom prst="rect">
            <a:avLst/>
          </a:prstGeom>
          <a:ln w="63500" cmpd="sng">
            <a:solidFill>
              <a:schemeClr val="bg1">
                <a:lumMod val="65000"/>
              </a:schemeClr>
            </a:solidFill>
            <a:prstDash val="solid"/>
          </a:ln>
        </p:spPr>
      </p:pic>
      <p:sp>
        <p:nvSpPr>
          <p:cNvPr id="23" name="椭圆 22"/>
          <p:cNvSpPr/>
          <p:nvPr/>
        </p:nvSpPr>
        <p:spPr>
          <a:xfrm>
            <a:off x="5274310" y="2927350"/>
            <a:ext cx="592455" cy="592455"/>
          </a:xfrm>
          <a:prstGeom prst="ellipse">
            <a:avLst/>
          </a:prstGeom>
          <a:noFill/>
          <a:ln w="38100" cmpd="sng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8" name="直接连接符 27"/>
          <p:cNvCxnSpPr/>
          <p:nvPr/>
        </p:nvCxnSpPr>
        <p:spPr>
          <a:xfrm>
            <a:off x="6072505" y="3456940"/>
            <a:ext cx="677545" cy="0"/>
          </a:xfrm>
          <a:prstGeom prst="line">
            <a:avLst/>
          </a:prstGeom>
          <a:ln w="28575" cmpd="sng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/>
          <p:cNvSpPr txBox="1"/>
          <p:nvPr/>
        </p:nvSpPr>
        <p:spPr>
          <a:xfrm>
            <a:off x="8674100" y="3268345"/>
            <a:ext cx="120650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/>
              <a:t>条件表达式</a:t>
            </a:r>
          </a:p>
          <a:p>
            <a:pPr algn="ctr"/>
            <a:r>
              <a:rPr lang="zh-CN" altLang="en-US" sz="1600"/>
              <a:t>返回值</a:t>
            </a:r>
            <a:endParaRPr lang="en-US" altLang="zh-CN" sz="1600"/>
          </a:p>
        </p:txBody>
      </p:sp>
      <p:sp>
        <p:nvSpPr>
          <p:cNvPr id="30" name="文本框 29"/>
          <p:cNvSpPr txBox="1"/>
          <p:nvPr/>
        </p:nvSpPr>
        <p:spPr>
          <a:xfrm>
            <a:off x="10125075" y="3800475"/>
            <a:ext cx="741045" cy="3683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altLang="zh-CN">
              <a:solidFill>
                <a:srgbClr val="FF0000"/>
              </a:solidFill>
            </a:endParaRPr>
          </a:p>
        </p:txBody>
      </p:sp>
      <p:sp>
        <p:nvSpPr>
          <p:cNvPr id="33" name="左大括号 32"/>
          <p:cNvSpPr/>
          <p:nvPr/>
        </p:nvSpPr>
        <p:spPr>
          <a:xfrm>
            <a:off x="9806305" y="3105150"/>
            <a:ext cx="317500" cy="85280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文本框 33"/>
          <p:cNvSpPr txBox="1"/>
          <p:nvPr/>
        </p:nvSpPr>
        <p:spPr>
          <a:xfrm>
            <a:off x="10125075" y="2873375"/>
            <a:ext cx="1219835" cy="798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tx1"/>
                </a:solidFill>
              </a:rPr>
              <a:t>满足条件：</a:t>
            </a:r>
            <a:r>
              <a:rPr lang="en-US" altLang="zh-CN" sz="1600" dirty="0">
                <a:solidFill>
                  <a:srgbClr val="FF0000"/>
                </a:solidFill>
                <a:sym typeface="+mn-ea"/>
              </a:rPr>
              <a:t>True</a:t>
            </a:r>
            <a:r>
              <a:rPr lang="zh-CN" altLang="en-US" sz="1600" dirty="0">
                <a:solidFill>
                  <a:srgbClr val="FF0000"/>
                </a:solidFill>
                <a:sym typeface="+mn-ea"/>
              </a:rPr>
              <a:t>（真）</a:t>
            </a:r>
            <a:endParaRPr lang="zh-CN" altLang="en-US" sz="1600" dirty="0">
              <a:solidFill>
                <a:schemeClr val="tx1"/>
              </a:solidFill>
            </a:endParaRPr>
          </a:p>
          <a:p>
            <a:r>
              <a:rPr lang="zh-CN" altLang="en-US" sz="1400" dirty="0">
                <a:solidFill>
                  <a:schemeClr val="tx1"/>
                </a:solidFill>
              </a:rPr>
              <a:t>例：</a:t>
            </a:r>
            <a:r>
              <a:rPr lang="en-US" altLang="zh-CN" sz="1400" dirty="0">
                <a:solidFill>
                  <a:schemeClr val="tx1"/>
                </a:solidFill>
              </a:rPr>
              <a:t>X=2</a:t>
            </a:r>
          </a:p>
        </p:txBody>
      </p:sp>
      <p:sp>
        <p:nvSpPr>
          <p:cNvPr id="37" name="文本框 36"/>
          <p:cNvSpPr txBox="1"/>
          <p:nvPr/>
        </p:nvSpPr>
        <p:spPr>
          <a:xfrm>
            <a:off x="10070465" y="3754755"/>
            <a:ext cx="1207135" cy="798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tx1"/>
                </a:solidFill>
                <a:sym typeface="+mn-ea"/>
              </a:rPr>
              <a:t>不满足条件</a:t>
            </a:r>
            <a:r>
              <a:rPr lang="en-US" altLang="zh-CN" sz="1600" dirty="0">
                <a:solidFill>
                  <a:srgbClr val="FF0000"/>
                </a:solidFill>
                <a:sym typeface="+mn-ea"/>
              </a:rPr>
              <a:t>False</a:t>
            </a:r>
            <a:r>
              <a:rPr lang="zh-CN" altLang="en-US" sz="1600" dirty="0">
                <a:solidFill>
                  <a:srgbClr val="FF0000"/>
                </a:solidFill>
                <a:sym typeface="+mn-ea"/>
              </a:rPr>
              <a:t>（假）</a:t>
            </a:r>
            <a:endParaRPr lang="zh-CN" altLang="en-US" sz="1600" dirty="0">
              <a:solidFill>
                <a:schemeClr val="tx1"/>
              </a:solidFill>
              <a:sym typeface="+mn-ea"/>
            </a:endParaRPr>
          </a:p>
          <a:p>
            <a:r>
              <a:rPr lang="zh-CN" altLang="en-US" sz="1400" dirty="0">
                <a:solidFill>
                  <a:schemeClr val="tx1"/>
                </a:solidFill>
                <a:sym typeface="+mn-ea"/>
              </a:rPr>
              <a:t>例：</a:t>
            </a:r>
            <a:r>
              <a:rPr lang="en-US" altLang="zh-CN" sz="1400" dirty="0">
                <a:solidFill>
                  <a:schemeClr val="tx1"/>
                </a:solidFill>
                <a:sym typeface="+mn-ea"/>
              </a:rPr>
              <a:t>x=0.3</a:t>
            </a:r>
          </a:p>
        </p:txBody>
      </p:sp>
      <p:sp>
        <p:nvSpPr>
          <p:cNvPr id="39" name="椭圆 38"/>
          <p:cNvSpPr/>
          <p:nvPr/>
        </p:nvSpPr>
        <p:spPr>
          <a:xfrm>
            <a:off x="6790690" y="3013710"/>
            <a:ext cx="381000" cy="465455"/>
          </a:xfrm>
          <a:prstGeom prst="ellipse">
            <a:avLst/>
          </a:prstGeom>
          <a:noFill/>
          <a:ln w="38100" cmpd="sng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4" name="组合 43"/>
          <p:cNvGrpSpPr/>
          <p:nvPr/>
        </p:nvGrpSpPr>
        <p:grpSpPr>
          <a:xfrm>
            <a:off x="5342060" y="3661410"/>
            <a:ext cx="896010" cy="253421"/>
            <a:chOff x="8620" y="5796"/>
            <a:chExt cx="1265" cy="367"/>
          </a:xfrm>
        </p:grpSpPr>
        <p:sp>
          <p:nvSpPr>
            <p:cNvPr id="40" name="矩形 39"/>
            <p:cNvSpPr/>
            <p:nvPr/>
          </p:nvSpPr>
          <p:spPr>
            <a:xfrm>
              <a:off x="8620" y="5796"/>
              <a:ext cx="317" cy="367"/>
            </a:xfrm>
            <a:prstGeom prst="rect">
              <a:avLst/>
            </a:prstGeom>
            <a:noFill/>
            <a:ln w="222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>
              <a:off x="8936" y="5796"/>
              <a:ext cx="317" cy="367"/>
            </a:xfrm>
            <a:prstGeom prst="rect">
              <a:avLst/>
            </a:prstGeom>
            <a:noFill/>
            <a:ln w="222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矩形 41"/>
            <p:cNvSpPr/>
            <p:nvPr/>
          </p:nvSpPr>
          <p:spPr>
            <a:xfrm>
              <a:off x="9253" y="5796"/>
              <a:ext cx="317" cy="367"/>
            </a:xfrm>
            <a:prstGeom prst="rect">
              <a:avLst/>
            </a:prstGeom>
            <a:noFill/>
            <a:ln w="222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3" name="矩形 42"/>
            <p:cNvSpPr/>
            <p:nvPr/>
          </p:nvSpPr>
          <p:spPr>
            <a:xfrm>
              <a:off x="9568" y="5796"/>
              <a:ext cx="317" cy="367"/>
            </a:xfrm>
            <a:prstGeom prst="rect">
              <a:avLst/>
            </a:prstGeom>
            <a:noFill/>
            <a:ln w="222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5359400" y="4639310"/>
            <a:ext cx="891051" cy="253421"/>
            <a:chOff x="8614" y="5796"/>
            <a:chExt cx="1258" cy="367"/>
          </a:xfrm>
        </p:grpSpPr>
        <p:sp>
          <p:nvSpPr>
            <p:cNvPr id="46" name="矩形 45"/>
            <p:cNvSpPr/>
            <p:nvPr/>
          </p:nvSpPr>
          <p:spPr>
            <a:xfrm>
              <a:off x="8614" y="5796"/>
              <a:ext cx="317" cy="367"/>
            </a:xfrm>
            <a:prstGeom prst="rect">
              <a:avLst/>
            </a:prstGeom>
            <a:noFill/>
            <a:ln w="222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矩形 46"/>
            <p:cNvSpPr/>
            <p:nvPr/>
          </p:nvSpPr>
          <p:spPr>
            <a:xfrm>
              <a:off x="8923" y="5796"/>
              <a:ext cx="317" cy="367"/>
            </a:xfrm>
            <a:prstGeom prst="rect">
              <a:avLst/>
            </a:prstGeom>
            <a:noFill/>
            <a:ln w="222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8" name="矩形 47"/>
            <p:cNvSpPr/>
            <p:nvPr/>
          </p:nvSpPr>
          <p:spPr>
            <a:xfrm>
              <a:off x="9240" y="5796"/>
              <a:ext cx="317" cy="367"/>
            </a:xfrm>
            <a:prstGeom prst="rect">
              <a:avLst/>
            </a:prstGeom>
            <a:noFill/>
            <a:ln w="222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9" name="矩形 48"/>
            <p:cNvSpPr/>
            <p:nvPr/>
          </p:nvSpPr>
          <p:spPr>
            <a:xfrm>
              <a:off x="9555" y="5796"/>
              <a:ext cx="317" cy="367"/>
            </a:xfrm>
            <a:prstGeom prst="rect">
              <a:avLst/>
            </a:prstGeom>
            <a:noFill/>
            <a:ln w="222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3" name="右箭头 52"/>
          <p:cNvSpPr/>
          <p:nvPr/>
        </p:nvSpPr>
        <p:spPr>
          <a:xfrm>
            <a:off x="4531995" y="3608070"/>
            <a:ext cx="624205" cy="24384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椭圆 95"/>
          <p:cNvSpPr/>
          <p:nvPr/>
        </p:nvSpPr>
        <p:spPr>
          <a:xfrm>
            <a:off x="5274310" y="4007485"/>
            <a:ext cx="1397000" cy="533400"/>
          </a:xfrm>
          <a:prstGeom prst="ellipse">
            <a:avLst/>
          </a:prstGeom>
          <a:noFill/>
          <a:ln w="38100" cmpd="sng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20615" y="5332095"/>
            <a:ext cx="3533775" cy="828675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8"/>
          <a:srcRect t="4747"/>
          <a:stretch>
            <a:fillRect/>
          </a:stretch>
        </p:blipFill>
        <p:spPr>
          <a:xfrm>
            <a:off x="4692650" y="1640840"/>
            <a:ext cx="6600825" cy="598805"/>
          </a:xfrm>
          <a:prstGeom prst="rect">
            <a:avLst/>
          </a:prstGeom>
        </p:spPr>
      </p:pic>
      <p:cxnSp>
        <p:nvCxnSpPr>
          <p:cNvPr id="24" name="肘形连接符 23"/>
          <p:cNvCxnSpPr/>
          <p:nvPr/>
        </p:nvCxnSpPr>
        <p:spPr>
          <a:xfrm rot="16200000" flipH="1">
            <a:off x="7299960" y="2120265"/>
            <a:ext cx="567055" cy="2181225"/>
          </a:xfrm>
          <a:prstGeom prst="bentConnector4">
            <a:avLst>
              <a:gd name="adj1" fmla="val -63269"/>
              <a:gd name="adj2" fmla="val 82852"/>
            </a:avLst>
          </a:prstGeom>
          <a:ln w="28575" cmpd="sng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组合 134"/>
          <p:cNvGrpSpPr/>
          <p:nvPr/>
        </p:nvGrpSpPr>
        <p:grpSpPr>
          <a:xfrm>
            <a:off x="9479915" y="5016500"/>
            <a:ext cx="2056130" cy="1358900"/>
            <a:chOff x="14929" y="7900"/>
            <a:chExt cx="3238" cy="2140"/>
          </a:xfrm>
        </p:grpSpPr>
        <p:grpSp>
          <p:nvGrpSpPr>
            <p:cNvPr id="136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1"/>
              </p:custDataLst>
            </p:nvPr>
          </p:nvGrpSpPr>
          <p:grpSpPr>
            <a:xfrm rot="20262996">
              <a:off x="16063" y="9048"/>
              <a:ext cx="2105" cy="993"/>
              <a:chOff x="3558970" y="2488798"/>
              <a:chExt cx="5067710" cy="2391582"/>
            </a:xfrm>
          </p:grpSpPr>
          <p:sp>
            <p:nvSpPr>
              <p:cNvPr id="137" name="ïs1îḋè"/>
              <p:cNvSpPr/>
              <p:nvPr/>
            </p:nvSpPr>
            <p:spPr bwMode="auto">
              <a:xfrm>
                <a:off x="3558970" y="2488798"/>
                <a:ext cx="5067710" cy="2391582"/>
              </a:xfrm>
              <a:custGeom>
                <a:avLst/>
                <a:gdLst>
                  <a:gd name="T0" fmla="*/ 715 w 720"/>
                  <a:gd name="T1" fmla="*/ 122 h 340"/>
                  <a:gd name="T2" fmla="*/ 689 w 720"/>
                  <a:gd name="T3" fmla="*/ 124 h 340"/>
                  <a:gd name="T4" fmla="*/ 666 w 720"/>
                  <a:gd name="T5" fmla="*/ 138 h 340"/>
                  <a:gd name="T6" fmla="*/ 668 w 720"/>
                  <a:gd name="T7" fmla="*/ 116 h 340"/>
                  <a:gd name="T8" fmla="*/ 647 w 720"/>
                  <a:gd name="T9" fmla="*/ 98 h 340"/>
                  <a:gd name="T10" fmla="*/ 631 w 720"/>
                  <a:gd name="T11" fmla="*/ 115 h 340"/>
                  <a:gd name="T12" fmla="*/ 632 w 720"/>
                  <a:gd name="T13" fmla="*/ 165 h 340"/>
                  <a:gd name="T14" fmla="*/ 628 w 720"/>
                  <a:gd name="T15" fmla="*/ 172 h 340"/>
                  <a:gd name="T16" fmla="*/ 594 w 720"/>
                  <a:gd name="T17" fmla="*/ 194 h 340"/>
                  <a:gd name="T18" fmla="*/ 577 w 720"/>
                  <a:gd name="T19" fmla="*/ 194 h 340"/>
                  <a:gd name="T20" fmla="*/ 576 w 720"/>
                  <a:gd name="T21" fmla="*/ 194 h 340"/>
                  <a:gd name="T22" fmla="*/ 561 w 720"/>
                  <a:gd name="T23" fmla="*/ 189 h 340"/>
                  <a:gd name="T24" fmla="*/ 552 w 720"/>
                  <a:gd name="T25" fmla="*/ 174 h 340"/>
                  <a:gd name="T26" fmla="*/ 531 w 720"/>
                  <a:gd name="T27" fmla="*/ 142 h 340"/>
                  <a:gd name="T28" fmla="*/ 468 w 720"/>
                  <a:gd name="T29" fmla="*/ 67 h 340"/>
                  <a:gd name="T30" fmla="*/ 474 w 720"/>
                  <a:gd name="T31" fmla="*/ 57 h 340"/>
                  <a:gd name="T32" fmla="*/ 470 w 720"/>
                  <a:gd name="T33" fmla="*/ 4 h 340"/>
                  <a:gd name="T34" fmla="*/ 436 w 720"/>
                  <a:gd name="T35" fmla="*/ 50 h 340"/>
                  <a:gd name="T36" fmla="*/ 330 w 720"/>
                  <a:gd name="T37" fmla="*/ 44 h 340"/>
                  <a:gd name="T38" fmla="*/ 314 w 720"/>
                  <a:gd name="T39" fmla="*/ 37 h 340"/>
                  <a:gd name="T40" fmla="*/ 290 w 720"/>
                  <a:gd name="T41" fmla="*/ 0 h 340"/>
                  <a:gd name="T42" fmla="*/ 272 w 720"/>
                  <a:gd name="T43" fmla="*/ 26 h 340"/>
                  <a:gd name="T44" fmla="*/ 281 w 720"/>
                  <a:gd name="T45" fmla="*/ 54 h 340"/>
                  <a:gd name="T46" fmla="*/ 267 w 720"/>
                  <a:gd name="T47" fmla="*/ 74 h 340"/>
                  <a:gd name="T48" fmla="*/ 224 w 720"/>
                  <a:gd name="T49" fmla="*/ 132 h 340"/>
                  <a:gd name="T50" fmla="*/ 209 w 720"/>
                  <a:gd name="T51" fmla="*/ 172 h 340"/>
                  <a:gd name="T52" fmla="*/ 194 w 720"/>
                  <a:gd name="T53" fmla="*/ 195 h 340"/>
                  <a:gd name="T54" fmla="*/ 180 w 720"/>
                  <a:gd name="T55" fmla="*/ 203 h 340"/>
                  <a:gd name="T56" fmla="*/ 176 w 720"/>
                  <a:gd name="T57" fmla="*/ 205 h 340"/>
                  <a:gd name="T58" fmla="*/ 123 w 720"/>
                  <a:gd name="T59" fmla="*/ 210 h 340"/>
                  <a:gd name="T60" fmla="*/ 105 w 720"/>
                  <a:gd name="T61" fmla="*/ 199 h 340"/>
                  <a:gd name="T62" fmla="*/ 105 w 720"/>
                  <a:gd name="T63" fmla="*/ 199 h 340"/>
                  <a:gd name="T64" fmla="*/ 61 w 720"/>
                  <a:gd name="T65" fmla="*/ 139 h 340"/>
                  <a:gd name="T66" fmla="*/ 40 w 720"/>
                  <a:gd name="T67" fmla="*/ 160 h 340"/>
                  <a:gd name="T68" fmla="*/ 66 w 720"/>
                  <a:gd name="T69" fmla="*/ 189 h 340"/>
                  <a:gd name="T70" fmla="*/ 35 w 720"/>
                  <a:gd name="T71" fmla="*/ 189 h 340"/>
                  <a:gd name="T72" fmla="*/ 22 w 720"/>
                  <a:gd name="T73" fmla="*/ 179 h 340"/>
                  <a:gd name="T74" fmla="*/ 5 w 720"/>
                  <a:gd name="T75" fmla="*/ 188 h 340"/>
                  <a:gd name="T76" fmla="*/ 4 w 720"/>
                  <a:gd name="T77" fmla="*/ 207 h 340"/>
                  <a:gd name="T78" fmla="*/ 78 w 720"/>
                  <a:gd name="T79" fmla="*/ 235 h 340"/>
                  <a:gd name="T80" fmla="*/ 90 w 720"/>
                  <a:gd name="T81" fmla="*/ 251 h 340"/>
                  <a:gd name="T82" fmla="*/ 130 w 720"/>
                  <a:gd name="T83" fmla="*/ 270 h 340"/>
                  <a:gd name="T84" fmla="*/ 177 w 720"/>
                  <a:gd name="T85" fmla="*/ 270 h 340"/>
                  <a:gd name="T86" fmla="*/ 210 w 720"/>
                  <a:gd name="T87" fmla="*/ 251 h 340"/>
                  <a:gd name="T88" fmla="*/ 224 w 720"/>
                  <a:gd name="T89" fmla="*/ 245 h 340"/>
                  <a:gd name="T90" fmla="*/ 323 w 720"/>
                  <a:gd name="T91" fmla="*/ 333 h 340"/>
                  <a:gd name="T92" fmla="*/ 351 w 720"/>
                  <a:gd name="T93" fmla="*/ 338 h 340"/>
                  <a:gd name="T94" fmla="*/ 382 w 720"/>
                  <a:gd name="T95" fmla="*/ 337 h 340"/>
                  <a:gd name="T96" fmla="*/ 460 w 720"/>
                  <a:gd name="T97" fmla="*/ 312 h 340"/>
                  <a:gd name="T98" fmla="*/ 527 w 720"/>
                  <a:gd name="T99" fmla="*/ 235 h 340"/>
                  <a:gd name="T100" fmla="*/ 558 w 720"/>
                  <a:gd name="T101" fmla="*/ 243 h 340"/>
                  <a:gd name="T102" fmla="*/ 637 w 720"/>
                  <a:gd name="T103" fmla="*/ 238 h 340"/>
                  <a:gd name="T104" fmla="*/ 678 w 720"/>
                  <a:gd name="T105" fmla="*/ 186 h 340"/>
                  <a:gd name="T106" fmla="*/ 689 w 720"/>
                  <a:gd name="T107" fmla="*/ 181 h 340"/>
                  <a:gd name="T108" fmla="*/ 716 w 720"/>
                  <a:gd name="T109" fmla="*/ 122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20" h="340">
                    <a:moveTo>
                      <a:pt x="716" y="122"/>
                    </a:moveTo>
                    <a:cubicBezTo>
                      <a:pt x="716" y="122"/>
                      <a:pt x="716" y="122"/>
                      <a:pt x="715" y="122"/>
                    </a:cubicBezTo>
                    <a:cubicBezTo>
                      <a:pt x="714" y="118"/>
                      <a:pt x="708" y="115"/>
                      <a:pt x="704" y="115"/>
                    </a:cubicBezTo>
                    <a:cubicBezTo>
                      <a:pt x="697" y="113"/>
                      <a:pt x="692" y="118"/>
                      <a:pt x="689" y="124"/>
                    </a:cubicBezTo>
                    <a:cubicBezTo>
                      <a:pt x="687" y="129"/>
                      <a:pt x="684" y="133"/>
                      <a:pt x="679" y="136"/>
                    </a:cubicBezTo>
                    <a:cubicBezTo>
                      <a:pt x="675" y="139"/>
                      <a:pt x="670" y="139"/>
                      <a:pt x="666" y="138"/>
                    </a:cubicBezTo>
                    <a:cubicBezTo>
                      <a:pt x="662" y="137"/>
                      <a:pt x="660" y="134"/>
                      <a:pt x="661" y="131"/>
                    </a:cubicBezTo>
                    <a:cubicBezTo>
                      <a:pt x="662" y="126"/>
                      <a:pt x="667" y="122"/>
                      <a:pt x="668" y="116"/>
                    </a:cubicBezTo>
                    <a:cubicBezTo>
                      <a:pt x="670" y="106"/>
                      <a:pt x="659" y="98"/>
                      <a:pt x="649" y="99"/>
                    </a:cubicBezTo>
                    <a:cubicBezTo>
                      <a:pt x="648" y="99"/>
                      <a:pt x="648" y="98"/>
                      <a:pt x="647" y="98"/>
                    </a:cubicBezTo>
                    <a:cubicBezTo>
                      <a:pt x="643" y="98"/>
                      <a:pt x="641" y="102"/>
                      <a:pt x="639" y="105"/>
                    </a:cubicBezTo>
                    <a:cubicBezTo>
                      <a:pt x="636" y="108"/>
                      <a:pt x="634" y="111"/>
                      <a:pt x="631" y="115"/>
                    </a:cubicBezTo>
                    <a:cubicBezTo>
                      <a:pt x="626" y="121"/>
                      <a:pt x="623" y="129"/>
                      <a:pt x="622" y="137"/>
                    </a:cubicBezTo>
                    <a:cubicBezTo>
                      <a:pt x="620" y="147"/>
                      <a:pt x="625" y="157"/>
                      <a:pt x="632" y="165"/>
                    </a:cubicBezTo>
                    <a:cubicBezTo>
                      <a:pt x="632" y="165"/>
                      <a:pt x="632" y="165"/>
                      <a:pt x="632" y="166"/>
                    </a:cubicBezTo>
                    <a:cubicBezTo>
                      <a:pt x="630" y="168"/>
                      <a:pt x="629" y="169"/>
                      <a:pt x="628" y="172"/>
                    </a:cubicBezTo>
                    <a:cubicBezTo>
                      <a:pt x="625" y="176"/>
                      <a:pt x="623" y="179"/>
                      <a:pt x="619" y="183"/>
                    </a:cubicBezTo>
                    <a:cubicBezTo>
                      <a:pt x="612" y="189"/>
                      <a:pt x="604" y="193"/>
                      <a:pt x="594" y="194"/>
                    </a:cubicBezTo>
                    <a:cubicBezTo>
                      <a:pt x="589" y="195"/>
                      <a:pt x="584" y="195"/>
                      <a:pt x="579" y="194"/>
                    </a:cubicBezTo>
                    <a:cubicBezTo>
                      <a:pt x="579" y="194"/>
                      <a:pt x="578" y="194"/>
                      <a:pt x="577" y="194"/>
                    </a:cubicBezTo>
                    <a:cubicBezTo>
                      <a:pt x="577" y="194"/>
                      <a:pt x="577" y="194"/>
                      <a:pt x="577" y="194"/>
                    </a:cubicBezTo>
                    <a:cubicBezTo>
                      <a:pt x="577" y="194"/>
                      <a:pt x="576" y="194"/>
                      <a:pt x="576" y="194"/>
                    </a:cubicBezTo>
                    <a:cubicBezTo>
                      <a:pt x="574" y="193"/>
                      <a:pt x="573" y="193"/>
                      <a:pt x="571" y="193"/>
                    </a:cubicBezTo>
                    <a:cubicBezTo>
                      <a:pt x="568" y="192"/>
                      <a:pt x="564" y="191"/>
                      <a:pt x="561" y="189"/>
                    </a:cubicBezTo>
                    <a:cubicBezTo>
                      <a:pt x="559" y="189"/>
                      <a:pt x="558" y="188"/>
                      <a:pt x="557" y="186"/>
                    </a:cubicBezTo>
                    <a:cubicBezTo>
                      <a:pt x="556" y="182"/>
                      <a:pt x="554" y="178"/>
                      <a:pt x="552" y="174"/>
                    </a:cubicBezTo>
                    <a:cubicBezTo>
                      <a:pt x="548" y="168"/>
                      <a:pt x="543" y="164"/>
                      <a:pt x="536" y="161"/>
                    </a:cubicBezTo>
                    <a:cubicBezTo>
                      <a:pt x="535" y="154"/>
                      <a:pt x="533" y="148"/>
                      <a:pt x="531" y="142"/>
                    </a:cubicBezTo>
                    <a:cubicBezTo>
                      <a:pt x="525" y="124"/>
                      <a:pt x="515" y="108"/>
                      <a:pt x="501" y="94"/>
                    </a:cubicBezTo>
                    <a:cubicBezTo>
                      <a:pt x="491" y="84"/>
                      <a:pt x="480" y="75"/>
                      <a:pt x="468" y="67"/>
                    </a:cubicBezTo>
                    <a:cubicBezTo>
                      <a:pt x="468" y="66"/>
                      <a:pt x="468" y="66"/>
                      <a:pt x="468" y="66"/>
                    </a:cubicBezTo>
                    <a:cubicBezTo>
                      <a:pt x="470" y="63"/>
                      <a:pt x="472" y="60"/>
                      <a:pt x="474" y="57"/>
                    </a:cubicBezTo>
                    <a:cubicBezTo>
                      <a:pt x="478" y="51"/>
                      <a:pt x="482" y="44"/>
                      <a:pt x="484" y="37"/>
                    </a:cubicBezTo>
                    <a:cubicBezTo>
                      <a:pt x="489" y="25"/>
                      <a:pt x="486" y="5"/>
                      <a:pt x="470" y="4"/>
                    </a:cubicBezTo>
                    <a:cubicBezTo>
                      <a:pt x="458" y="3"/>
                      <a:pt x="450" y="15"/>
                      <a:pt x="445" y="24"/>
                    </a:cubicBezTo>
                    <a:cubicBezTo>
                      <a:pt x="441" y="32"/>
                      <a:pt x="438" y="41"/>
                      <a:pt x="436" y="50"/>
                    </a:cubicBezTo>
                    <a:cubicBezTo>
                      <a:pt x="426" y="46"/>
                      <a:pt x="416" y="43"/>
                      <a:pt x="405" y="41"/>
                    </a:cubicBezTo>
                    <a:cubicBezTo>
                      <a:pt x="381" y="36"/>
                      <a:pt x="355" y="39"/>
                      <a:pt x="330" y="44"/>
                    </a:cubicBezTo>
                    <a:cubicBezTo>
                      <a:pt x="326" y="45"/>
                      <a:pt x="321" y="46"/>
                      <a:pt x="317" y="48"/>
                    </a:cubicBezTo>
                    <a:cubicBezTo>
                      <a:pt x="316" y="44"/>
                      <a:pt x="315" y="40"/>
                      <a:pt x="314" y="37"/>
                    </a:cubicBezTo>
                    <a:cubicBezTo>
                      <a:pt x="312" y="32"/>
                      <a:pt x="311" y="28"/>
                      <a:pt x="310" y="23"/>
                    </a:cubicBezTo>
                    <a:cubicBezTo>
                      <a:pt x="307" y="12"/>
                      <a:pt x="303" y="0"/>
                      <a:pt x="290" y="0"/>
                    </a:cubicBezTo>
                    <a:cubicBezTo>
                      <a:pt x="285" y="0"/>
                      <a:pt x="279" y="4"/>
                      <a:pt x="276" y="8"/>
                    </a:cubicBezTo>
                    <a:cubicBezTo>
                      <a:pt x="271" y="14"/>
                      <a:pt x="271" y="19"/>
                      <a:pt x="272" y="26"/>
                    </a:cubicBezTo>
                    <a:cubicBezTo>
                      <a:pt x="272" y="33"/>
                      <a:pt x="276" y="38"/>
                      <a:pt x="278" y="44"/>
                    </a:cubicBezTo>
                    <a:cubicBezTo>
                      <a:pt x="279" y="47"/>
                      <a:pt x="280" y="50"/>
                      <a:pt x="281" y="54"/>
                    </a:cubicBezTo>
                    <a:cubicBezTo>
                      <a:pt x="282" y="56"/>
                      <a:pt x="282" y="59"/>
                      <a:pt x="283" y="61"/>
                    </a:cubicBezTo>
                    <a:cubicBezTo>
                      <a:pt x="277" y="65"/>
                      <a:pt x="271" y="69"/>
                      <a:pt x="267" y="74"/>
                    </a:cubicBezTo>
                    <a:cubicBezTo>
                      <a:pt x="263" y="77"/>
                      <a:pt x="259" y="80"/>
                      <a:pt x="255" y="83"/>
                    </a:cubicBezTo>
                    <a:cubicBezTo>
                      <a:pt x="241" y="97"/>
                      <a:pt x="231" y="114"/>
                      <a:pt x="224" y="132"/>
                    </a:cubicBezTo>
                    <a:cubicBezTo>
                      <a:pt x="219" y="144"/>
                      <a:pt x="216" y="157"/>
                      <a:pt x="214" y="169"/>
                    </a:cubicBezTo>
                    <a:cubicBezTo>
                      <a:pt x="212" y="170"/>
                      <a:pt x="211" y="171"/>
                      <a:pt x="209" y="172"/>
                    </a:cubicBezTo>
                    <a:cubicBezTo>
                      <a:pt x="205" y="176"/>
                      <a:pt x="202" y="179"/>
                      <a:pt x="199" y="183"/>
                    </a:cubicBezTo>
                    <a:cubicBezTo>
                      <a:pt x="196" y="187"/>
                      <a:pt x="195" y="191"/>
                      <a:pt x="194" y="195"/>
                    </a:cubicBezTo>
                    <a:cubicBezTo>
                      <a:pt x="191" y="195"/>
                      <a:pt x="188" y="198"/>
                      <a:pt x="185" y="199"/>
                    </a:cubicBezTo>
                    <a:cubicBezTo>
                      <a:pt x="183" y="200"/>
                      <a:pt x="181" y="202"/>
                      <a:pt x="180" y="203"/>
                    </a:cubicBezTo>
                    <a:cubicBezTo>
                      <a:pt x="179" y="203"/>
                      <a:pt x="178" y="203"/>
                      <a:pt x="178" y="204"/>
                    </a:cubicBezTo>
                    <a:cubicBezTo>
                      <a:pt x="177" y="204"/>
                      <a:pt x="176" y="205"/>
                      <a:pt x="176" y="205"/>
                    </a:cubicBezTo>
                    <a:cubicBezTo>
                      <a:pt x="168" y="210"/>
                      <a:pt x="160" y="212"/>
                      <a:pt x="151" y="213"/>
                    </a:cubicBezTo>
                    <a:cubicBezTo>
                      <a:pt x="142" y="214"/>
                      <a:pt x="132" y="212"/>
                      <a:pt x="123" y="210"/>
                    </a:cubicBezTo>
                    <a:cubicBezTo>
                      <a:pt x="120" y="209"/>
                      <a:pt x="117" y="207"/>
                      <a:pt x="114" y="206"/>
                    </a:cubicBezTo>
                    <a:cubicBezTo>
                      <a:pt x="111" y="204"/>
                      <a:pt x="108" y="201"/>
                      <a:pt x="105" y="199"/>
                    </a:cubicBezTo>
                    <a:cubicBezTo>
                      <a:pt x="105" y="199"/>
                      <a:pt x="105" y="199"/>
                      <a:pt x="105" y="199"/>
                    </a:cubicBezTo>
                    <a:cubicBezTo>
                      <a:pt x="105" y="199"/>
                      <a:pt x="105" y="199"/>
                      <a:pt x="105" y="199"/>
                    </a:cubicBezTo>
                    <a:cubicBezTo>
                      <a:pt x="107" y="182"/>
                      <a:pt x="99" y="166"/>
                      <a:pt x="87" y="154"/>
                    </a:cubicBezTo>
                    <a:cubicBezTo>
                      <a:pt x="80" y="148"/>
                      <a:pt x="70" y="141"/>
                      <a:pt x="61" y="139"/>
                    </a:cubicBezTo>
                    <a:cubicBezTo>
                      <a:pt x="56" y="134"/>
                      <a:pt x="47" y="137"/>
                      <a:pt x="44" y="142"/>
                    </a:cubicBezTo>
                    <a:cubicBezTo>
                      <a:pt x="41" y="146"/>
                      <a:pt x="38" y="155"/>
                      <a:pt x="40" y="160"/>
                    </a:cubicBezTo>
                    <a:cubicBezTo>
                      <a:pt x="41" y="161"/>
                      <a:pt x="42" y="162"/>
                      <a:pt x="44" y="162"/>
                    </a:cubicBezTo>
                    <a:cubicBezTo>
                      <a:pt x="51" y="172"/>
                      <a:pt x="66" y="176"/>
                      <a:pt x="66" y="189"/>
                    </a:cubicBezTo>
                    <a:cubicBezTo>
                      <a:pt x="66" y="197"/>
                      <a:pt x="53" y="198"/>
                      <a:pt x="48" y="196"/>
                    </a:cubicBezTo>
                    <a:cubicBezTo>
                      <a:pt x="44" y="195"/>
                      <a:pt x="39" y="192"/>
                      <a:pt x="35" y="189"/>
                    </a:cubicBezTo>
                    <a:cubicBezTo>
                      <a:pt x="32" y="188"/>
                      <a:pt x="30" y="186"/>
                      <a:pt x="29" y="185"/>
                    </a:cubicBezTo>
                    <a:cubicBezTo>
                      <a:pt x="27" y="183"/>
                      <a:pt x="25" y="180"/>
                      <a:pt x="22" y="179"/>
                    </a:cubicBezTo>
                    <a:cubicBezTo>
                      <a:pt x="21" y="179"/>
                      <a:pt x="19" y="179"/>
                      <a:pt x="18" y="179"/>
                    </a:cubicBezTo>
                    <a:cubicBezTo>
                      <a:pt x="13" y="179"/>
                      <a:pt x="8" y="184"/>
                      <a:pt x="5" y="188"/>
                    </a:cubicBezTo>
                    <a:cubicBezTo>
                      <a:pt x="2" y="192"/>
                      <a:pt x="0" y="196"/>
                      <a:pt x="1" y="200"/>
                    </a:cubicBezTo>
                    <a:cubicBezTo>
                      <a:pt x="1" y="203"/>
                      <a:pt x="2" y="205"/>
                      <a:pt x="4" y="207"/>
                    </a:cubicBezTo>
                    <a:cubicBezTo>
                      <a:pt x="9" y="223"/>
                      <a:pt x="25" y="235"/>
                      <a:pt x="40" y="239"/>
                    </a:cubicBezTo>
                    <a:cubicBezTo>
                      <a:pt x="53" y="242"/>
                      <a:pt x="66" y="241"/>
                      <a:pt x="78" y="235"/>
                    </a:cubicBezTo>
                    <a:cubicBezTo>
                      <a:pt x="78" y="236"/>
                      <a:pt x="78" y="236"/>
                      <a:pt x="78" y="236"/>
                    </a:cubicBezTo>
                    <a:cubicBezTo>
                      <a:pt x="79" y="242"/>
                      <a:pt x="86" y="247"/>
                      <a:pt x="90" y="251"/>
                    </a:cubicBezTo>
                    <a:cubicBezTo>
                      <a:pt x="96" y="256"/>
                      <a:pt x="101" y="260"/>
                      <a:pt x="108" y="263"/>
                    </a:cubicBezTo>
                    <a:cubicBezTo>
                      <a:pt x="115" y="267"/>
                      <a:pt x="122" y="269"/>
                      <a:pt x="130" y="270"/>
                    </a:cubicBezTo>
                    <a:cubicBezTo>
                      <a:pt x="138" y="271"/>
                      <a:pt x="145" y="270"/>
                      <a:pt x="153" y="271"/>
                    </a:cubicBezTo>
                    <a:cubicBezTo>
                      <a:pt x="161" y="271"/>
                      <a:pt x="169" y="271"/>
                      <a:pt x="177" y="270"/>
                    </a:cubicBezTo>
                    <a:cubicBezTo>
                      <a:pt x="183" y="269"/>
                      <a:pt x="189" y="266"/>
                      <a:pt x="195" y="263"/>
                    </a:cubicBezTo>
                    <a:cubicBezTo>
                      <a:pt x="200" y="259"/>
                      <a:pt x="205" y="255"/>
                      <a:pt x="210" y="251"/>
                    </a:cubicBezTo>
                    <a:cubicBezTo>
                      <a:pt x="213" y="249"/>
                      <a:pt x="216" y="246"/>
                      <a:pt x="220" y="243"/>
                    </a:cubicBezTo>
                    <a:cubicBezTo>
                      <a:pt x="221" y="244"/>
                      <a:pt x="223" y="245"/>
                      <a:pt x="224" y="245"/>
                    </a:cubicBezTo>
                    <a:cubicBezTo>
                      <a:pt x="234" y="272"/>
                      <a:pt x="252" y="295"/>
                      <a:pt x="274" y="312"/>
                    </a:cubicBezTo>
                    <a:cubicBezTo>
                      <a:pt x="289" y="322"/>
                      <a:pt x="305" y="329"/>
                      <a:pt x="323" y="333"/>
                    </a:cubicBezTo>
                    <a:cubicBezTo>
                      <a:pt x="331" y="335"/>
                      <a:pt x="340" y="336"/>
                      <a:pt x="349" y="338"/>
                    </a:cubicBezTo>
                    <a:cubicBezTo>
                      <a:pt x="350" y="338"/>
                      <a:pt x="351" y="338"/>
                      <a:pt x="351" y="338"/>
                    </a:cubicBezTo>
                    <a:cubicBezTo>
                      <a:pt x="355" y="340"/>
                      <a:pt x="360" y="340"/>
                      <a:pt x="365" y="339"/>
                    </a:cubicBezTo>
                    <a:cubicBezTo>
                      <a:pt x="370" y="339"/>
                      <a:pt x="376" y="338"/>
                      <a:pt x="382" y="337"/>
                    </a:cubicBezTo>
                    <a:cubicBezTo>
                      <a:pt x="392" y="336"/>
                      <a:pt x="402" y="334"/>
                      <a:pt x="413" y="332"/>
                    </a:cubicBezTo>
                    <a:cubicBezTo>
                      <a:pt x="429" y="327"/>
                      <a:pt x="445" y="320"/>
                      <a:pt x="460" y="312"/>
                    </a:cubicBezTo>
                    <a:cubicBezTo>
                      <a:pt x="489" y="294"/>
                      <a:pt x="513" y="269"/>
                      <a:pt x="526" y="238"/>
                    </a:cubicBezTo>
                    <a:cubicBezTo>
                      <a:pt x="526" y="237"/>
                      <a:pt x="527" y="236"/>
                      <a:pt x="527" y="235"/>
                    </a:cubicBezTo>
                    <a:cubicBezTo>
                      <a:pt x="531" y="236"/>
                      <a:pt x="535" y="234"/>
                      <a:pt x="538" y="231"/>
                    </a:cubicBezTo>
                    <a:cubicBezTo>
                      <a:pt x="544" y="236"/>
                      <a:pt x="551" y="240"/>
                      <a:pt x="558" y="243"/>
                    </a:cubicBezTo>
                    <a:cubicBezTo>
                      <a:pt x="567" y="246"/>
                      <a:pt x="576" y="249"/>
                      <a:pt x="586" y="250"/>
                    </a:cubicBezTo>
                    <a:cubicBezTo>
                      <a:pt x="603" y="252"/>
                      <a:pt x="622" y="247"/>
                      <a:pt x="637" y="238"/>
                    </a:cubicBezTo>
                    <a:cubicBezTo>
                      <a:pt x="652" y="229"/>
                      <a:pt x="665" y="214"/>
                      <a:pt x="673" y="198"/>
                    </a:cubicBezTo>
                    <a:cubicBezTo>
                      <a:pt x="675" y="194"/>
                      <a:pt x="677" y="190"/>
                      <a:pt x="678" y="186"/>
                    </a:cubicBezTo>
                    <a:cubicBezTo>
                      <a:pt x="678" y="185"/>
                      <a:pt x="678" y="184"/>
                      <a:pt x="678" y="183"/>
                    </a:cubicBezTo>
                    <a:cubicBezTo>
                      <a:pt x="682" y="183"/>
                      <a:pt x="685" y="182"/>
                      <a:pt x="689" y="181"/>
                    </a:cubicBezTo>
                    <a:cubicBezTo>
                      <a:pt x="706" y="174"/>
                      <a:pt x="716" y="157"/>
                      <a:pt x="718" y="140"/>
                    </a:cubicBezTo>
                    <a:cubicBezTo>
                      <a:pt x="719" y="135"/>
                      <a:pt x="720" y="126"/>
                      <a:pt x="716" y="122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" name="ïśľïďè"/>
              <p:cNvSpPr/>
              <p:nvPr/>
            </p:nvSpPr>
            <p:spPr bwMode="auto">
              <a:xfrm>
                <a:off x="5120612" y="2834324"/>
                <a:ext cx="2134129" cy="1720855"/>
              </a:xfrm>
              <a:custGeom>
                <a:avLst/>
                <a:gdLst>
                  <a:gd name="T0" fmla="*/ 277 w 303"/>
                  <a:gd name="T1" fmla="*/ 210 h 245"/>
                  <a:gd name="T2" fmla="*/ 277 w 303"/>
                  <a:gd name="T3" fmla="*/ 210 h 245"/>
                  <a:gd name="T4" fmla="*/ 249 w 303"/>
                  <a:gd name="T5" fmla="*/ 239 h 245"/>
                  <a:gd name="T6" fmla="*/ 246 w 303"/>
                  <a:gd name="T7" fmla="*/ 239 h 245"/>
                  <a:gd name="T8" fmla="*/ 231 w 303"/>
                  <a:gd name="T9" fmla="*/ 241 h 245"/>
                  <a:gd name="T10" fmla="*/ 203 w 303"/>
                  <a:gd name="T11" fmla="*/ 243 h 245"/>
                  <a:gd name="T12" fmla="*/ 176 w 303"/>
                  <a:gd name="T13" fmla="*/ 245 h 245"/>
                  <a:gd name="T14" fmla="*/ 147 w 303"/>
                  <a:gd name="T15" fmla="*/ 243 h 245"/>
                  <a:gd name="T16" fmla="*/ 90 w 303"/>
                  <a:gd name="T17" fmla="*/ 241 h 245"/>
                  <a:gd name="T18" fmla="*/ 44 w 303"/>
                  <a:gd name="T19" fmla="*/ 239 h 245"/>
                  <a:gd name="T20" fmla="*/ 14 w 303"/>
                  <a:gd name="T21" fmla="*/ 194 h 245"/>
                  <a:gd name="T22" fmla="*/ 13 w 303"/>
                  <a:gd name="T23" fmla="*/ 189 h 245"/>
                  <a:gd name="T24" fmla="*/ 12 w 303"/>
                  <a:gd name="T25" fmla="*/ 189 h 245"/>
                  <a:gd name="T26" fmla="*/ 5 w 303"/>
                  <a:gd name="T27" fmla="*/ 161 h 245"/>
                  <a:gd name="T28" fmla="*/ 18 w 303"/>
                  <a:gd name="T29" fmla="*/ 76 h 245"/>
                  <a:gd name="T30" fmla="*/ 45 w 303"/>
                  <a:gd name="T31" fmla="*/ 39 h 245"/>
                  <a:gd name="T32" fmla="*/ 78 w 303"/>
                  <a:gd name="T33" fmla="*/ 16 h 245"/>
                  <a:gd name="T34" fmla="*/ 94 w 303"/>
                  <a:gd name="T35" fmla="*/ 11 h 245"/>
                  <a:gd name="T36" fmla="*/ 148 w 303"/>
                  <a:gd name="T37" fmla="*/ 2 h 245"/>
                  <a:gd name="T38" fmla="*/ 249 w 303"/>
                  <a:gd name="T39" fmla="*/ 36 h 245"/>
                  <a:gd name="T40" fmla="*/ 291 w 303"/>
                  <a:gd name="T41" fmla="*/ 85 h 245"/>
                  <a:gd name="T42" fmla="*/ 302 w 303"/>
                  <a:gd name="T43" fmla="*/ 116 h 245"/>
                  <a:gd name="T44" fmla="*/ 302 w 303"/>
                  <a:gd name="T45" fmla="*/ 119 h 245"/>
                  <a:gd name="T46" fmla="*/ 303 w 303"/>
                  <a:gd name="T47" fmla="*/ 132 h 245"/>
                  <a:gd name="T48" fmla="*/ 299 w 303"/>
                  <a:gd name="T49" fmla="*/ 161 h 245"/>
                  <a:gd name="T50" fmla="*/ 277 w 303"/>
                  <a:gd name="T51" fmla="*/ 21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3" h="245">
                    <a:moveTo>
                      <a:pt x="277" y="210"/>
                    </a:moveTo>
                    <a:cubicBezTo>
                      <a:pt x="277" y="210"/>
                      <a:pt x="277" y="210"/>
                      <a:pt x="277" y="210"/>
                    </a:cubicBezTo>
                    <a:cubicBezTo>
                      <a:pt x="269" y="221"/>
                      <a:pt x="259" y="230"/>
                      <a:pt x="249" y="239"/>
                    </a:cubicBezTo>
                    <a:cubicBezTo>
                      <a:pt x="248" y="239"/>
                      <a:pt x="247" y="239"/>
                      <a:pt x="246" y="239"/>
                    </a:cubicBezTo>
                    <a:cubicBezTo>
                      <a:pt x="241" y="239"/>
                      <a:pt x="236" y="240"/>
                      <a:pt x="231" y="241"/>
                    </a:cubicBezTo>
                    <a:cubicBezTo>
                      <a:pt x="222" y="241"/>
                      <a:pt x="213" y="242"/>
                      <a:pt x="203" y="243"/>
                    </a:cubicBezTo>
                    <a:cubicBezTo>
                      <a:pt x="194" y="244"/>
                      <a:pt x="185" y="245"/>
                      <a:pt x="176" y="245"/>
                    </a:cubicBezTo>
                    <a:cubicBezTo>
                      <a:pt x="166" y="245"/>
                      <a:pt x="156" y="244"/>
                      <a:pt x="147" y="243"/>
                    </a:cubicBezTo>
                    <a:cubicBezTo>
                      <a:pt x="128" y="243"/>
                      <a:pt x="109" y="242"/>
                      <a:pt x="90" y="241"/>
                    </a:cubicBezTo>
                    <a:cubicBezTo>
                      <a:pt x="75" y="239"/>
                      <a:pt x="59" y="239"/>
                      <a:pt x="44" y="239"/>
                    </a:cubicBezTo>
                    <a:cubicBezTo>
                      <a:pt x="31" y="227"/>
                      <a:pt x="21" y="211"/>
                      <a:pt x="14" y="194"/>
                    </a:cubicBezTo>
                    <a:cubicBezTo>
                      <a:pt x="15" y="193"/>
                      <a:pt x="15" y="191"/>
                      <a:pt x="13" y="189"/>
                    </a:cubicBezTo>
                    <a:cubicBezTo>
                      <a:pt x="13" y="189"/>
                      <a:pt x="12" y="189"/>
                      <a:pt x="12" y="189"/>
                    </a:cubicBezTo>
                    <a:cubicBezTo>
                      <a:pt x="9" y="180"/>
                      <a:pt x="6" y="171"/>
                      <a:pt x="5" y="161"/>
                    </a:cubicBezTo>
                    <a:cubicBezTo>
                      <a:pt x="0" y="132"/>
                      <a:pt x="5" y="102"/>
                      <a:pt x="18" y="76"/>
                    </a:cubicBezTo>
                    <a:cubicBezTo>
                      <a:pt x="24" y="62"/>
                      <a:pt x="33" y="49"/>
                      <a:pt x="45" y="39"/>
                    </a:cubicBezTo>
                    <a:cubicBezTo>
                      <a:pt x="55" y="30"/>
                      <a:pt x="66" y="23"/>
                      <a:pt x="78" y="16"/>
                    </a:cubicBezTo>
                    <a:cubicBezTo>
                      <a:pt x="83" y="14"/>
                      <a:pt x="89" y="13"/>
                      <a:pt x="94" y="11"/>
                    </a:cubicBezTo>
                    <a:cubicBezTo>
                      <a:pt x="111" y="6"/>
                      <a:pt x="130" y="3"/>
                      <a:pt x="148" y="2"/>
                    </a:cubicBezTo>
                    <a:cubicBezTo>
                      <a:pt x="185" y="0"/>
                      <a:pt x="220" y="14"/>
                      <a:pt x="249" y="36"/>
                    </a:cubicBezTo>
                    <a:cubicBezTo>
                      <a:pt x="267" y="49"/>
                      <a:pt x="282" y="65"/>
                      <a:pt x="291" y="85"/>
                    </a:cubicBezTo>
                    <a:cubicBezTo>
                      <a:pt x="296" y="95"/>
                      <a:pt x="299" y="105"/>
                      <a:pt x="302" y="116"/>
                    </a:cubicBezTo>
                    <a:cubicBezTo>
                      <a:pt x="302" y="117"/>
                      <a:pt x="302" y="117"/>
                      <a:pt x="302" y="119"/>
                    </a:cubicBezTo>
                    <a:cubicBezTo>
                      <a:pt x="303" y="123"/>
                      <a:pt x="303" y="127"/>
                      <a:pt x="303" y="132"/>
                    </a:cubicBezTo>
                    <a:cubicBezTo>
                      <a:pt x="302" y="142"/>
                      <a:pt x="302" y="151"/>
                      <a:pt x="299" y="161"/>
                    </a:cubicBezTo>
                    <a:cubicBezTo>
                      <a:pt x="295" y="179"/>
                      <a:pt x="287" y="195"/>
                      <a:pt x="277" y="210"/>
                    </a:cubicBezTo>
                    <a:close/>
                  </a:path>
                </a:pathLst>
              </a:custGeom>
              <a:solidFill>
                <a:srgbClr val="FBBA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" name="ïşliḓé"/>
              <p:cNvSpPr/>
              <p:nvPr/>
            </p:nvSpPr>
            <p:spPr bwMode="auto">
              <a:xfrm>
                <a:off x="5022373" y="3037575"/>
                <a:ext cx="514901" cy="1476954"/>
              </a:xfrm>
              <a:custGeom>
                <a:avLst/>
                <a:gdLst>
                  <a:gd name="T0" fmla="*/ 73 w 73"/>
                  <a:gd name="T1" fmla="*/ 210 h 210"/>
                  <a:gd name="T2" fmla="*/ 65 w 73"/>
                  <a:gd name="T3" fmla="*/ 210 h 210"/>
                  <a:gd name="T4" fmla="*/ 58 w 73"/>
                  <a:gd name="T5" fmla="*/ 210 h 210"/>
                  <a:gd name="T6" fmla="*/ 28 w 73"/>
                  <a:gd name="T7" fmla="*/ 165 h 210"/>
                  <a:gd name="T8" fmla="*/ 27 w 73"/>
                  <a:gd name="T9" fmla="*/ 160 h 210"/>
                  <a:gd name="T10" fmla="*/ 26 w 73"/>
                  <a:gd name="T11" fmla="*/ 160 h 210"/>
                  <a:gd name="T12" fmla="*/ 19 w 73"/>
                  <a:gd name="T13" fmla="*/ 132 h 210"/>
                  <a:gd name="T14" fmla="*/ 17 w 73"/>
                  <a:gd name="T15" fmla="*/ 110 h 210"/>
                  <a:gd name="T16" fmla="*/ 17 w 73"/>
                  <a:gd name="T17" fmla="*/ 109 h 210"/>
                  <a:gd name="T18" fmla="*/ 32 w 73"/>
                  <a:gd name="T19" fmla="*/ 47 h 210"/>
                  <a:gd name="T20" fmla="*/ 59 w 73"/>
                  <a:gd name="T21" fmla="*/ 10 h 210"/>
                  <a:gd name="T22" fmla="*/ 71 w 73"/>
                  <a:gd name="T23" fmla="*/ 0 h 210"/>
                  <a:gd name="T24" fmla="*/ 73 w 73"/>
                  <a:gd name="T2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" h="210">
                    <a:moveTo>
                      <a:pt x="73" y="210"/>
                    </a:moveTo>
                    <a:cubicBezTo>
                      <a:pt x="70" y="210"/>
                      <a:pt x="67" y="210"/>
                      <a:pt x="65" y="210"/>
                    </a:cubicBezTo>
                    <a:cubicBezTo>
                      <a:pt x="62" y="210"/>
                      <a:pt x="60" y="210"/>
                      <a:pt x="58" y="210"/>
                    </a:cubicBezTo>
                    <a:cubicBezTo>
                      <a:pt x="45" y="198"/>
                      <a:pt x="35" y="182"/>
                      <a:pt x="28" y="165"/>
                    </a:cubicBezTo>
                    <a:cubicBezTo>
                      <a:pt x="29" y="164"/>
                      <a:pt x="29" y="162"/>
                      <a:pt x="27" y="160"/>
                    </a:cubicBezTo>
                    <a:cubicBezTo>
                      <a:pt x="27" y="160"/>
                      <a:pt x="26" y="160"/>
                      <a:pt x="26" y="160"/>
                    </a:cubicBezTo>
                    <a:cubicBezTo>
                      <a:pt x="23" y="151"/>
                      <a:pt x="20" y="142"/>
                      <a:pt x="19" y="132"/>
                    </a:cubicBezTo>
                    <a:cubicBezTo>
                      <a:pt x="17" y="125"/>
                      <a:pt x="17" y="118"/>
                      <a:pt x="17" y="110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7" y="87"/>
                      <a:pt x="22" y="66"/>
                      <a:pt x="32" y="47"/>
                    </a:cubicBezTo>
                    <a:cubicBezTo>
                      <a:pt x="38" y="33"/>
                      <a:pt x="47" y="20"/>
                      <a:pt x="59" y="10"/>
                    </a:cubicBezTo>
                    <a:cubicBezTo>
                      <a:pt x="63" y="6"/>
                      <a:pt x="67" y="3"/>
                      <a:pt x="71" y="0"/>
                    </a:cubicBezTo>
                    <a:cubicBezTo>
                      <a:pt x="41" y="32"/>
                      <a:pt x="0" y="101"/>
                      <a:pt x="73" y="2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" name="îšľîḍê"/>
              <p:cNvSpPr/>
              <p:nvPr/>
            </p:nvSpPr>
            <p:spPr bwMode="auto">
              <a:xfrm>
                <a:off x="6543364" y="2902074"/>
                <a:ext cx="1026416" cy="1626005"/>
              </a:xfrm>
              <a:custGeom>
                <a:avLst/>
                <a:gdLst>
                  <a:gd name="T0" fmla="*/ 75 w 146"/>
                  <a:gd name="T1" fmla="*/ 200 h 231"/>
                  <a:gd name="T2" fmla="*/ 75 w 146"/>
                  <a:gd name="T3" fmla="*/ 200 h 231"/>
                  <a:gd name="T4" fmla="*/ 47 w 146"/>
                  <a:gd name="T5" fmla="*/ 229 h 231"/>
                  <a:gd name="T6" fmla="*/ 44 w 146"/>
                  <a:gd name="T7" fmla="*/ 229 h 231"/>
                  <a:gd name="T8" fmla="*/ 29 w 146"/>
                  <a:gd name="T9" fmla="*/ 231 h 231"/>
                  <a:gd name="T10" fmla="*/ 23 w 146"/>
                  <a:gd name="T11" fmla="*/ 231 h 231"/>
                  <a:gd name="T12" fmla="*/ 0 w 146"/>
                  <a:gd name="T13" fmla="*/ 0 h 231"/>
                  <a:gd name="T14" fmla="*/ 47 w 146"/>
                  <a:gd name="T15" fmla="*/ 26 h 231"/>
                  <a:gd name="T16" fmla="*/ 89 w 146"/>
                  <a:gd name="T17" fmla="*/ 75 h 231"/>
                  <a:gd name="T18" fmla="*/ 100 w 146"/>
                  <a:gd name="T19" fmla="*/ 106 h 231"/>
                  <a:gd name="T20" fmla="*/ 100 w 146"/>
                  <a:gd name="T21" fmla="*/ 109 h 231"/>
                  <a:gd name="T22" fmla="*/ 101 w 146"/>
                  <a:gd name="T23" fmla="*/ 122 h 231"/>
                  <a:gd name="T24" fmla="*/ 97 w 146"/>
                  <a:gd name="T25" fmla="*/ 151 h 231"/>
                  <a:gd name="T26" fmla="*/ 75 w 146"/>
                  <a:gd name="T27" fmla="*/ 200 h 231"/>
                  <a:gd name="T28" fmla="*/ 0 w 146"/>
                  <a:gd name="T29" fmla="*/ 0 h 231"/>
                  <a:gd name="T30" fmla="*/ 0 w 146"/>
                  <a:gd name="T31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6" h="231">
                    <a:moveTo>
                      <a:pt x="75" y="200"/>
                    </a:moveTo>
                    <a:cubicBezTo>
                      <a:pt x="75" y="200"/>
                      <a:pt x="75" y="200"/>
                      <a:pt x="75" y="200"/>
                    </a:cubicBezTo>
                    <a:cubicBezTo>
                      <a:pt x="67" y="211"/>
                      <a:pt x="57" y="220"/>
                      <a:pt x="47" y="229"/>
                    </a:cubicBezTo>
                    <a:cubicBezTo>
                      <a:pt x="46" y="229"/>
                      <a:pt x="45" y="229"/>
                      <a:pt x="44" y="229"/>
                    </a:cubicBezTo>
                    <a:cubicBezTo>
                      <a:pt x="39" y="229"/>
                      <a:pt x="34" y="230"/>
                      <a:pt x="29" y="231"/>
                    </a:cubicBezTo>
                    <a:cubicBezTo>
                      <a:pt x="27" y="231"/>
                      <a:pt x="25" y="231"/>
                      <a:pt x="23" y="231"/>
                    </a:cubicBezTo>
                    <a:cubicBezTo>
                      <a:pt x="146" y="77"/>
                      <a:pt x="0" y="0"/>
                      <a:pt x="0" y="0"/>
                    </a:cubicBezTo>
                    <a:cubicBezTo>
                      <a:pt x="17" y="6"/>
                      <a:pt x="33" y="15"/>
                      <a:pt x="47" y="26"/>
                    </a:cubicBezTo>
                    <a:cubicBezTo>
                      <a:pt x="65" y="39"/>
                      <a:pt x="80" y="55"/>
                      <a:pt x="89" y="75"/>
                    </a:cubicBezTo>
                    <a:cubicBezTo>
                      <a:pt x="94" y="85"/>
                      <a:pt x="97" y="95"/>
                      <a:pt x="100" y="106"/>
                    </a:cubicBezTo>
                    <a:cubicBezTo>
                      <a:pt x="100" y="107"/>
                      <a:pt x="100" y="107"/>
                      <a:pt x="100" y="109"/>
                    </a:cubicBezTo>
                    <a:cubicBezTo>
                      <a:pt x="101" y="113"/>
                      <a:pt x="101" y="117"/>
                      <a:pt x="101" y="122"/>
                    </a:cubicBezTo>
                    <a:cubicBezTo>
                      <a:pt x="100" y="132"/>
                      <a:pt x="100" y="141"/>
                      <a:pt x="97" y="151"/>
                    </a:cubicBezTo>
                    <a:cubicBezTo>
                      <a:pt x="93" y="169"/>
                      <a:pt x="85" y="185"/>
                      <a:pt x="75" y="20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694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" name="íṧḷídè"/>
              <p:cNvSpPr/>
              <p:nvPr/>
            </p:nvSpPr>
            <p:spPr bwMode="auto">
              <a:xfrm>
                <a:off x="5466137" y="4548404"/>
                <a:ext cx="1338066" cy="233739"/>
              </a:xfrm>
              <a:custGeom>
                <a:avLst/>
                <a:gdLst>
                  <a:gd name="T0" fmla="*/ 176 w 190"/>
                  <a:gd name="T1" fmla="*/ 10 h 33"/>
                  <a:gd name="T2" fmla="*/ 176 w 190"/>
                  <a:gd name="T3" fmla="*/ 10 h 33"/>
                  <a:gd name="T4" fmla="*/ 175 w 190"/>
                  <a:gd name="T5" fmla="*/ 8 h 33"/>
                  <a:gd name="T6" fmla="*/ 172 w 190"/>
                  <a:gd name="T7" fmla="*/ 6 h 33"/>
                  <a:gd name="T8" fmla="*/ 171 w 190"/>
                  <a:gd name="T9" fmla="*/ 6 h 33"/>
                  <a:gd name="T10" fmla="*/ 169 w 190"/>
                  <a:gd name="T11" fmla="*/ 6 h 33"/>
                  <a:gd name="T12" fmla="*/ 166 w 190"/>
                  <a:gd name="T13" fmla="*/ 7 h 33"/>
                  <a:gd name="T14" fmla="*/ 164 w 190"/>
                  <a:gd name="T15" fmla="*/ 11 h 33"/>
                  <a:gd name="T16" fmla="*/ 166 w 190"/>
                  <a:gd name="T17" fmla="*/ 14 h 33"/>
                  <a:gd name="T18" fmla="*/ 167 w 190"/>
                  <a:gd name="T19" fmla="*/ 15 h 33"/>
                  <a:gd name="T20" fmla="*/ 150 w 190"/>
                  <a:gd name="T21" fmla="*/ 22 h 33"/>
                  <a:gd name="T22" fmla="*/ 116 w 190"/>
                  <a:gd name="T23" fmla="*/ 30 h 33"/>
                  <a:gd name="T24" fmla="*/ 98 w 190"/>
                  <a:gd name="T25" fmla="*/ 32 h 33"/>
                  <a:gd name="T26" fmla="*/ 93 w 190"/>
                  <a:gd name="T27" fmla="*/ 33 h 33"/>
                  <a:gd name="T28" fmla="*/ 78 w 190"/>
                  <a:gd name="T29" fmla="*/ 31 h 33"/>
                  <a:gd name="T30" fmla="*/ 51 w 190"/>
                  <a:gd name="T31" fmla="*/ 27 h 33"/>
                  <a:gd name="T32" fmla="*/ 16 w 190"/>
                  <a:gd name="T33" fmla="*/ 12 h 33"/>
                  <a:gd name="T34" fmla="*/ 16 w 190"/>
                  <a:gd name="T35" fmla="*/ 12 h 33"/>
                  <a:gd name="T36" fmla="*/ 16 w 190"/>
                  <a:gd name="T37" fmla="*/ 3 h 33"/>
                  <a:gd name="T38" fmla="*/ 12 w 190"/>
                  <a:gd name="T39" fmla="*/ 9 h 33"/>
                  <a:gd name="T40" fmla="*/ 3 w 190"/>
                  <a:gd name="T41" fmla="*/ 2 h 33"/>
                  <a:gd name="T42" fmla="*/ 0 w 190"/>
                  <a:gd name="T43" fmla="*/ 0 h 33"/>
                  <a:gd name="T44" fmla="*/ 39 w 190"/>
                  <a:gd name="T45" fmla="*/ 2 h 33"/>
                  <a:gd name="T46" fmla="*/ 96 w 190"/>
                  <a:gd name="T47" fmla="*/ 6 h 33"/>
                  <a:gd name="T48" fmla="*/ 124 w 190"/>
                  <a:gd name="T49" fmla="*/ 8 h 33"/>
                  <a:gd name="T50" fmla="*/ 153 w 190"/>
                  <a:gd name="T51" fmla="*/ 6 h 33"/>
                  <a:gd name="T52" fmla="*/ 181 w 190"/>
                  <a:gd name="T53" fmla="*/ 3 h 33"/>
                  <a:gd name="T54" fmla="*/ 190 w 190"/>
                  <a:gd name="T55" fmla="*/ 2 h 33"/>
                  <a:gd name="T56" fmla="*/ 176 w 190"/>
                  <a:gd name="T57" fmla="*/ 1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90" h="33">
                    <a:moveTo>
                      <a:pt x="176" y="10"/>
                    </a:moveTo>
                    <a:cubicBezTo>
                      <a:pt x="176" y="10"/>
                      <a:pt x="176" y="10"/>
                      <a:pt x="176" y="10"/>
                    </a:cubicBezTo>
                    <a:cubicBezTo>
                      <a:pt x="176" y="9"/>
                      <a:pt x="175" y="8"/>
                      <a:pt x="175" y="8"/>
                    </a:cubicBezTo>
                    <a:cubicBezTo>
                      <a:pt x="174" y="7"/>
                      <a:pt x="173" y="6"/>
                      <a:pt x="172" y="6"/>
                    </a:cubicBezTo>
                    <a:cubicBezTo>
                      <a:pt x="172" y="6"/>
                      <a:pt x="171" y="6"/>
                      <a:pt x="171" y="6"/>
                    </a:cubicBezTo>
                    <a:cubicBezTo>
                      <a:pt x="170" y="6"/>
                      <a:pt x="170" y="6"/>
                      <a:pt x="169" y="6"/>
                    </a:cubicBezTo>
                    <a:cubicBezTo>
                      <a:pt x="168" y="6"/>
                      <a:pt x="166" y="6"/>
                      <a:pt x="166" y="7"/>
                    </a:cubicBezTo>
                    <a:cubicBezTo>
                      <a:pt x="165" y="8"/>
                      <a:pt x="164" y="9"/>
                      <a:pt x="164" y="11"/>
                    </a:cubicBezTo>
                    <a:cubicBezTo>
                      <a:pt x="164" y="12"/>
                      <a:pt x="165" y="13"/>
                      <a:pt x="166" y="14"/>
                    </a:cubicBezTo>
                    <a:cubicBezTo>
                      <a:pt x="166" y="15"/>
                      <a:pt x="166" y="15"/>
                      <a:pt x="167" y="15"/>
                    </a:cubicBezTo>
                    <a:cubicBezTo>
                      <a:pt x="161" y="18"/>
                      <a:pt x="156" y="20"/>
                      <a:pt x="150" y="22"/>
                    </a:cubicBezTo>
                    <a:cubicBezTo>
                      <a:pt x="139" y="26"/>
                      <a:pt x="127" y="28"/>
                      <a:pt x="116" y="30"/>
                    </a:cubicBezTo>
                    <a:cubicBezTo>
                      <a:pt x="110" y="31"/>
                      <a:pt x="104" y="32"/>
                      <a:pt x="98" y="32"/>
                    </a:cubicBezTo>
                    <a:cubicBezTo>
                      <a:pt x="96" y="33"/>
                      <a:pt x="95" y="33"/>
                      <a:pt x="93" y="33"/>
                    </a:cubicBezTo>
                    <a:cubicBezTo>
                      <a:pt x="88" y="32"/>
                      <a:pt x="83" y="32"/>
                      <a:pt x="78" y="31"/>
                    </a:cubicBezTo>
                    <a:cubicBezTo>
                      <a:pt x="69" y="30"/>
                      <a:pt x="60" y="29"/>
                      <a:pt x="51" y="27"/>
                    </a:cubicBezTo>
                    <a:cubicBezTo>
                      <a:pt x="38" y="23"/>
                      <a:pt x="27" y="19"/>
                      <a:pt x="16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22" y="12"/>
                      <a:pt x="22" y="3"/>
                      <a:pt x="16" y="3"/>
                    </a:cubicBezTo>
                    <a:cubicBezTo>
                      <a:pt x="12" y="3"/>
                      <a:pt x="11" y="7"/>
                      <a:pt x="12" y="9"/>
                    </a:cubicBezTo>
                    <a:cubicBezTo>
                      <a:pt x="9" y="7"/>
                      <a:pt x="6" y="5"/>
                      <a:pt x="3" y="2"/>
                    </a:cubicBezTo>
                    <a:cubicBezTo>
                      <a:pt x="2" y="2"/>
                      <a:pt x="1" y="1"/>
                      <a:pt x="0" y="0"/>
                    </a:cubicBezTo>
                    <a:cubicBezTo>
                      <a:pt x="13" y="1"/>
                      <a:pt x="26" y="1"/>
                      <a:pt x="39" y="2"/>
                    </a:cubicBezTo>
                    <a:cubicBezTo>
                      <a:pt x="58" y="4"/>
                      <a:pt x="77" y="5"/>
                      <a:pt x="96" y="6"/>
                    </a:cubicBezTo>
                    <a:cubicBezTo>
                      <a:pt x="105" y="7"/>
                      <a:pt x="115" y="7"/>
                      <a:pt x="124" y="8"/>
                    </a:cubicBezTo>
                    <a:cubicBezTo>
                      <a:pt x="134" y="8"/>
                      <a:pt x="143" y="7"/>
                      <a:pt x="153" y="6"/>
                    </a:cubicBezTo>
                    <a:cubicBezTo>
                      <a:pt x="162" y="5"/>
                      <a:pt x="172" y="4"/>
                      <a:pt x="181" y="3"/>
                    </a:cubicBezTo>
                    <a:cubicBezTo>
                      <a:pt x="184" y="3"/>
                      <a:pt x="187" y="2"/>
                      <a:pt x="190" y="2"/>
                    </a:cubicBezTo>
                    <a:cubicBezTo>
                      <a:pt x="185" y="5"/>
                      <a:pt x="181" y="8"/>
                      <a:pt x="176" y="10"/>
                    </a:cubicBezTo>
                    <a:close/>
                  </a:path>
                </a:pathLst>
              </a:custGeom>
              <a:solidFill>
                <a:srgbClr val="C46E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" name="íṩliḋé"/>
              <p:cNvSpPr/>
              <p:nvPr/>
            </p:nvSpPr>
            <p:spPr bwMode="auto">
              <a:xfrm>
                <a:off x="5577924" y="4555179"/>
                <a:ext cx="1128041" cy="226964"/>
              </a:xfrm>
              <a:custGeom>
                <a:avLst/>
                <a:gdLst>
                  <a:gd name="T0" fmla="*/ 148 w 160"/>
                  <a:gd name="T1" fmla="*/ 10 h 32"/>
                  <a:gd name="T2" fmla="*/ 148 w 160"/>
                  <a:gd name="T3" fmla="*/ 10 h 32"/>
                  <a:gd name="T4" fmla="*/ 147 w 160"/>
                  <a:gd name="T5" fmla="*/ 7 h 32"/>
                  <a:gd name="T6" fmla="*/ 145 w 160"/>
                  <a:gd name="T7" fmla="*/ 6 h 32"/>
                  <a:gd name="T8" fmla="*/ 144 w 160"/>
                  <a:gd name="T9" fmla="*/ 6 h 32"/>
                  <a:gd name="T10" fmla="*/ 143 w 160"/>
                  <a:gd name="T11" fmla="*/ 6 h 32"/>
                  <a:gd name="T12" fmla="*/ 140 w 160"/>
                  <a:gd name="T13" fmla="*/ 7 h 32"/>
                  <a:gd name="T14" fmla="*/ 138 w 160"/>
                  <a:gd name="T15" fmla="*/ 10 h 32"/>
                  <a:gd name="T16" fmla="*/ 140 w 160"/>
                  <a:gd name="T17" fmla="*/ 14 h 32"/>
                  <a:gd name="T18" fmla="*/ 141 w 160"/>
                  <a:gd name="T19" fmla="*/ 15 h 32"/>
                  <a:gd name="T20" fmla="*/ 127 w 160"/>
                  <a:gd name="T21" fmla="*/ 21 h 32"/>
                  <a:gd name="T22" fmla="*/ 98 w 160"/>
                  <a:gd name="T23" fmla="*/ 29 h 32"/>
                  <a:gd name="T24" fmla="*/ 83 w 160"/>
                  <a:gd name="T25" fmla="*/ 31 h 32"/>
                  <a:gd name="T26" fmla="*/ 79 w 160"/>
                  <a:gd name="T27" fmla="*/ 32 h 32"/>
                  <a:gd name="T28" fmla="*/ 66 w 160"/>
                  <a:gd name="T29" fmla="*/ 31 h 32"/>
                  <a:gd name="T30" fmla="*/ 43 w 160"/>
                  <a:gd name="T31" fmla="*/ 26 h 32"/>
                  <a:gd name="T32" fmla="*/ 14 w 160"/>
                  <a:gd name="T33" fmla="*/ 12 h 32"/>
                  <a:gd name="T34" fmla="*/ 14 w 160"/>
                  <a:gd name="T35" fmla="*/ 12 h 32"/>
                  <a:gd name="T36" fmla="*/ 14 w 160"/>
                  <a:gd name="T37" fmla="*/ 3 h 32"/>
                  <a:gd name="T38" fmla="*/ 11 w 160"/>
                  <a:gd name="T39" fmla="*/ 9 h 32"/>
                  <a:gd name="T40" fmla="*/ 3 w 160"/>
                  <a:gd name="T41" fmla="*/ 2 h 32"/>
                  <a:gd name="T42" fmla="*/ 0 w 160"/>
                  <a:gd name="T43" fmla="*/ 0 h 32"/>
                  <a:gd name="T44" fmla="*/ 33 w 160"/>
                  <a:gd name="T45" fmla="*/ 2 h 32"/>
                  <a:gd name="T46" fmla="*/ 81 w 160"/>
                  <a:gd name="T47" fmla="*/ 6 h 32"/>
                  <a:gd name="T48" fmla="*/ 105 w 160"/>
                  <a:gd name="T49" fmla="*/ 7 h 32"/>
                  <a:gd name="T50" fmla="*/ 129 w 160"/>
                  <a:gd name="T51" fmla="*/ 6 h 32"/>
                  <a:gd name="T52" fmla="*/ 153 w 160"/>
                  <a:gd name="T53" fmla="*/ 3 h 32"/>
                  <a:gd name="T54" fmla="*/ 160 w 160"/>
                  <a:gd name="T55" fmla="*/ 2 h 32"/>
                  <a:gd name="T56" fmla="*/ 148 w 160"/>
                  <a:gd name="T57" fmla="*/ 1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60" h="32">
                    <a:moveTo>
                      <a:pt x="148" y="10"/>
                    </a:moveTo>
                    <a:cubicBezTo>
                      <a:pt x="148" y="10"/>
                      <a:pt x="148" y="10"/>
                      <a:pt x="148" y="10"/>
                    </a:cubicBezTo>
                    <a:cubicBezTo>
                      <a:pt x="148" y="9"/>
                      <a:pt x="148" y="8"/>
                      <a:pt x="147" y="7"/>
                    </a:cubicBezTo>
                    <a:cubicBezTo>
                      <a:pt x="147" y="7"/>
                      <a:pt x="146" y="6"/>
                      <a:pt x="145" y="6"/>
                    </a:cubicBezTo>
                    <a:cubicBezTo>
                      <a:pt x="145" y="6"/>
                      <a:pt x="144" y="6"/>
                      <a:pt x="144" y="6"/>
                    </a:cubicBezTo>
                    <a:cubicBezTo>
                      <a:pt x="143" y="6"/>
                      <a:pt x="143" y="6"/>
                      <a:pt x="143" y="6"/>
                    </a:cubicBezTo>
                    <a:cubicBezTo>
                      <a:pt x="142" y="5"/>
                      <a:pt x="140" y="6"/>
                      <a:pt x="140" y="7"/>
                    </a:cubicBezTo>
                    <a:cubicBezTo>
                      <a:pt x="139" y="8"/>
                      <a:pt x="138" y="9"/>
                      <a:pt x="138" y="10"/>
                    </a:cubicBezTo>
                    <a:cubicBezTo>
                      <a:pt x="138" y="12"/>
                      <a:pt x="139" y="13"/>
                      <a:pt x="140" y="14"/>
                    </a:cubicBezTo>
                    <a:cubicBezTo>
                      <a:pt x="140" y="14"/>
                      <a:pt x="140" y="14"/>
                      <a:pt x="141" y="15"/>
                    </a:cubicBezTo>
                    <a:cubicBezTo>
                      <a:pt x="136" y="17"/>
                      <a:pt x="131" y="19"/>
                      <a:pt x="127" y="21"/>
                    </a:cubicBezTo>
                    <a:cubicBezTo>
                      <a:pt x="117" y="25"/>
                      <a:pt x="108" y="27"/>
                      <a:pt x="98" y="29"/>
                    </a:cubicBezTo>
                    <a:cubicBezTo>
                      <a:pt x="93" y="30"/>
                      <a:pt x="88" y="31"/>
                      <a:pt x="83" y="31"/>
                    </a:cubicBezTo>
                    <a:cubicBezTo>
                      <a:pt x="81" y="32"/>
                      <a:pt x="80" y="32"/>
                      <a:pt x="79" y="32"/>
                    </a:cubicBezTo>
                    <a:cubicBezTo>
                      <a:pt x="75" y="31"/>
                      <a:pt x="70" y="31"/>
                      <a:pt x="66" y="31"/>
                    </a:cubicBezTo>
                    <a:cubicBezTo>
                      <a:pt x="59" y="30"/>
                      <a:pt x="51" y="28"/>
                      <a:pt x="43" y="26"/>
                    </a:cubicBezTo>
                    <a:cubicBezTo>
                      <a:pt x="33" y="23"/>
                      <a:pt x="23" y="18"/>
                      <a:pt x="14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9" y="12"/>
                      <a:pt x="19" y="3"/>
                      <a:pt x="14" y="3"/>
                    </a:cubicBezTo>
                    <a:cubicBezTo>
                      <a:pt x="11" y="3"/>
                      <a:pt x="10" y="7"/>
                      <a:pt x="11" y="9"/>
                    </a:cubicBezTo>
                    <a:cubicBezTo>
                      <a:pt x="8" y="7"/>
                      <a:pt x="5" y="5"/>
                      <a:pt x="3" y="2"/>
                    </a:cubicBezTo>
                    <a:cubicBezTo>
                      <a:pt x="2" y="1"/>
                      <a:pt x="1" y="1"/>
                      <a:pt x="0" y="0"/>
                    </a:cubicBezTo>
                    <a:cubicBezTo>
                      <a:pt x="11" y="1"/>
                      <a:pt x="22" y="1"/>
                      <a:pt x="33" y="2"/>
                    </a:cubicBezTo>
                    <a:cubicBezTo>
                      <a:pt x="49" y="4"/>
                      <a:pt x="65" y="5"/>
                      <a:pt x="81" y="6"/>
                    </a:cubicBezTo>
                    <a:cubicBezTo>
                      <a:pt x="89" y="6"/>
                      <a:pt x="97" y="7"/>
                      <a:pt x="105" y="7"/>
                    </a:cubicBezTo>
                    <a:cubicBezTo>
                      <a:pt x="113" y="8"/>
                      <a:pt x="121" y="7"/>
                      <a:pt x="129" y="6"/>
                    </a:cubicBezTo>
                    <a:cubicBezTo>
                      <a:pt x="137" y="5"/>
                      <a:pt x="145" y="4"/>
                      <a:pt x="153" y="3"/>
                    </a:cubicBezTo>
                    <a:cubicBezTo>
                      <a:pt x="155" y="3"/>
                      <a:pt x="158" y="2"/>
                      <a:pt x="160" y="2"/>
                    </a:cubicBezTo>
                    <a:cubicBezTo>
                      <a:pt x="156" y="5"/>
                      <a:pt x="152" y="8"/>
                      <a:pt x="148" y="10"/>
                    </a:cubicBezTo>
                    <a:close/>
                  </a:path>
                </a:pathLst>
              </a:custGeom>
              <a:solidFill>
                <a:srgbClr val="EB86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" name="iṣliḍe"/>
              <p:cNvSpPr/>
              <p:nvPr/>
            </p:nvSpPr>
            <p:spPr bwMode="auto">
              <a:xfrm>
                <a:off x="5459362" y="3149364"/>
                <a:ext cx="1392266" cy="416665"/>
              </a:xfrm>
              <a:custGeom>
                <a:avLst/>
                <a:gdLst>
                  <a:gd name="T0" fmla="*/ 197 w 198"/>
                  <a:gd name="T1" fmla="*/ 31 h 59"/>
                  <a:gd name="T2" fmla="*/ 197 w 198"/>
                  <a:gd name="T3" fmla="*/ 31 h 59"/>
                  <a:gd name="T4" fmla="*/ 186 w 198"/>
                  <a:gd name="T5" fmla="*/ 49 h 59"/>
                  <a:gd name="T6" fmla="*/ 163 w 198"/>
                  <a:gd name="T7" fmla="*/ 55 h 59"/>
                  <a:gd name="T8" fmla="*/ 148 w 198"/>
                  <a:gd name="T9" fmla="*/ 55 h 59"/>
                  <a:gd name="T10" fmla="*/ 129 w 198"/>
                  <a:gd name="T11" fmla="*/ 55 h 59"/>
                  <a:gd name="T12" fmla="*/ 89 w 198"/>
                  <a:gd name="T13" fmla="*/ 57 h 59"/>
                  <a:gd name="T14" fmla="*/ 50 w 198"/>
                  <a:gd name="T15" fmla="*/ 58 h 59"/>
                  <a:gd name="T16" fmla="*/ 24 w 198"/>
                  <a:gd name="T17" fmla="*/ 59 h 59"/>
                  <a:gd name="T18" fmla="*/ 12 w 198"/>
                  <a:gd name="T19" fmla="*/ 57 h 59"/>
                  <a:gd name="T20" fmla="*/ 3 w 198"/>
                  <a:gd name="T21" fmla="*/ 53 h 59"/>
                  <a:gd name="T22" fmla="*/ 0 w 198"/>
                  <a:gd name="T23" fmla="*/ 41 h 59"/>
                  <a:gd name="T24" fmla="*/ 9 w 198"/>
                  <a:gd name="T25" fmla="*/ 14 h 59"/>
                  <a:gd name="T26" fmla="*/ 29 w 198"/>
                  <a:gd name="T27" fmla="*/ 3 h 59"/>
                  <a:gd name="T28" fmla="*/ 58 w 198"/>
                  <a:gd name="T29" fmla="*/ 3 h 59"/>
                  <a:gd name="T30" fmla="*/ 101 w 198"/>
                  <a:gd name="T31" fmla="*/ 2 h 59"/>
                  <a:gd name="T32" fmla="*/ 143 w 198"/>
                  <a:gd name="T33" fmla="*/ 5 h 59"/>
                  <a:gd name="T34" fmla="*/ 152 w 198"/>
                  <a:gd name="T35" fmla="*/ 4 h 59"/>
                  <a:gd name="T36" fmla="*/ 162 w 198"/>
                  <a:gd name="T37" fmla="*/ 4 h 59"/>
                  <a:gd name="T38" fmla="*/ 171 w 198"/>
                  <a:gd name="T39" fmla="*/ 3 h 59"/>
                  <a:gd name="T40" fmla="*/ 177 w 198"/>
                  <a:gd name="T41" fmla="*/ 3 h 59"/>
                  <a:gd name="T42" fmla="*/ 184 w 198"/>
                  <a:gd name="T43" fmla="*/ 5 h 59"/>
                  <a:gd name="T44" fmla="*/ 193 w 198"/>
                  <a:gd name="T45" fmla="*/ 11 h 59"/>
                  <a:gd name="T46" fmla="*/ 197 w 198"/>
                  <a:gd name="T47" fmla="*/ 3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8" h="59">
                    <a:moveTo>
                      <a:pt x="197" y="31"/>
                    </a:moveTo>
                    <a:cubicBezTo>
                      <a:pt x="197" y="31"/>
                      <a:pt x="197" y="31"/>
                      <a:pt x="197" y="31"/>
                    </a:cubicBezTo>
                    <a:cubicBezTo>
                      <a:pt x="196" y="38"/>
                      <a:pt x="192" y="44"/>
                      <a:pt x="186" y="49"/>
                    </a:cubicBezTo>
                    <a:cubicBezTo>
                      <a:pt x="180" y="53"/>
                      <a:pt x="171" y="54"/>
                      <a:pt x="163" y="55"/>
                    </a:cubicBezTo>
                    <a:cubicBezTo>
                      <a:pt x="159" y="53"/>
                      <a:pt x="153" y="55"/>
                      <a:pt x="148" y="55"/>
                    </a:cubicBezTo>
                    <a:cubicBezTo>
                      <a:pt x="142" y="55"/>
                      <a:pt x="135" y="55"/>
                      <a:pt x="129" y="55"/>
                    </a:cubicBezTo>
                    <a:cubicBezTo>
                      <a:pt x="116" y="55"/>
                      <a:pt x="102" y="56"/>
                      <a:pt x="89" y="57"/>
                    </a:cubicBezTo>
                    <a:cubicBezTo>
                      <a:pt x="76" y="57"/>
                      <a:pt x="63" y="58"/>
                      <a:pt x="50" y="58"/>
                    </a:cubicBezTo>
                    <a:cubicBezTo>
                      <a:pt x="41" y="58"/>
                      <a:pt x="32" y="59"/>
                      <a:pt x="24" y="59"/>
                    </a:cubicBezTo>
                    <a:cubicBezTo>
                      <a:pt x="20" y="58"/>
                      <a:pt x="16" y="58"/>
                      <a:pt x="12" y="57"/>
                    </a:cubicBezTo>
                    <a:cubicBezTo>
                      <a:pt x="9" y="56"/>
                      <a:pt x="5" y="55"/>
                      <a:pt x="3" y="53"/>
                    </a:cubicBezTo>
                    <a:cubicBezTo>
                      <a:pt x="0" y="50"/>
                      <a:pt x="0" y="44"/>
                      <a:pt x="0" y="41"/>
                    </a:cubicBezTo>
                    <a:cubicBezTo>
                      <a:pt x="0" y="30"/>
                      <a:pt x="2" y="22"/>
                      <a:pt x="9" y="14"/>
                    </a:cubicBezTo>
                    <a:cubicBezTo>
                      <a:pt x="15" y="8"/>
                      <a:pt x="22" y="6"/>
                      <a:pt x="29" y="3"/>
                    </a:cubicBezTo>
                    <a:cubicBezTo>
                      <a:pt x="39" y="4"/>
                      <a:pt x="48" y="4"/>
                      <a:pt x="58" y="3"/>
                    </a:cubicBezTo>
                    <a:cubicBezTo>
                      <a:pt x="72" y="2"/>
                      <a:pt x="86" y="0"/>
                      <a:pt x="101" y="2"/>
                    </a:cubicBezTo>
                    <a:cubicBezTo>
                      <a:pt x="115" y="4"/>
                      <a:pt x="129" y="4"/>
                      <a:pt x="143" y="5"/>
                    </a:cubicBezTo>
                    <a:cubicBezTo>
                      <a:pt x="146" y="5"/>
                      <a:pt x="149" y="4"/>
                      <a:pt x="152" y="4"/>
                    </a:cubicBezTo>
                    <a:cubicBezTo>
                      <a:pt x="155" y="4"/>
                      <a:pt x="158" y="4"/>
                      <a:pt x="162" y="4"/>
                    </a:cubicBezTo>
                    <a:cubicBezTo>
                      <a:pt x="165" y="4"/>
                      <a:pt x="168" y="3"/>
                      <a:pt x="171" y="3"/>
                    </a:cubicBezTo>
                    <a:cubicBezTo>
                      <a:pt x="173" y="3"/>
                      <a:pt x="175" y="3"/>
                      <a:pt x="177" y="3"/>
                    </a:cubicBezTo>
                    <a:cubicBezTo>
                      <a:pt x="179" y="4"/>
                      <a:pt x="182" y="5"/>
                      <a:pt x="184" y="5"/>
                    </a:cubicBezTo>
                    <a:cubicBezTo>
                      <a:pt x="187" y="7"/>
                      <a:pt x="190" y="8"/>
                      <a:pt x="193" y="11"/>
                    </a:cubicBezTo>
                    <a:cubicBezTo>
                      <a:pt x="198" y="16"/>
                      <a:pt x="198" y="24"/>
                      <a:pt x="197" y="31"/>
                    </a:cubicBezTo>
                    <a:close/>
                  </a:path>
                </a:pathLst>
              </a:custGeom>
              <a:solidFill>
                <a:srgbClr val="8A63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" name="iŝľîdê"/>
              <p:cNvSpPr/>
              <p:nvPr/>
            </p:nvSpPr>
            <p:spPr bwMode="auto">
              <a:xfrm>
                <a:off x="6191064" y="3169689"/>
                <a:ext cx="660565" cy="372626"/>
              </a:xfrm>
              <a:custGeom>
                <a:avLst/>
                <a:gdLst>
                  <a:gd name="T0" fmla="*/ 93 w 94"/>
                  <a:gd name="T1" fmla="*/ 28 h 53"/>
                  <a:gd name="T2" fmla="*/ 93 w 94"/>
                  <a:gd name="T3" fmla="*/ 28 h 53"/>
                  <a:gd name="T4" fmla="*/ 82 w 94"/>
                  <a:gd name="T5" fmla="*/ 46 h 53"/>
                  <a:gd name="T6" fmla="*/ 59 w 94"/>
                  <a:gd name="T7" fmla="*/ 52 h 53"/>
                  <a:gd name="T8" fmla="*/ 44 w 94"/>
                  <a:gd name="T9" fmla="*/ 52 h 53"/>
                  <a:gd name="T10" fmla="*/ 25 w 94"/>
                  <a:gd name="T11" fmla="*/ 52 h 53"/>
                  <a:gd name="T12" fmla="*/ 0 w 94"/>
                  <a:gd name="T13" fmla="*/ 53 h 53"/>
                  <a:gd name="T14" fmla="*/ 21 w 94"/>
                  <a:gd name="T15" fmla="*/ 45 h 53"/>
                  <a:gd name="T16" fmla="*/ 71 w 94"/>
                  <a:gd name="T17" fmla="*/ 0 h 53"/>
                  <a:gd name="T18" fmla="*/ 73 w 94"/>
                  <a:gd name="T19" fmla="*/ 0 h 53"/>
                  <a:gd name="T20" fmla="*/ 80 w 94"/>
                  <a:gd name="T21" fmla="*/ 2 h 53"/>
                  <a:gd name="T22" fmla="*/ 89 w 94"/>
                  <a:gd name="T23" fmla="*/ 8 h 53"/>
                  <a:gd name="T24" fmla="*/ 93 w 94"/>
                  <a:gd name="T25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53">
                    <a:moveTo>
                      <a:pt x="93" y="28"/>
                    </a:moveTo>
                    <a:cubicBezTo>
                      <a:pt x="93" y="28"/>
                      <a:pt x="93" y="28"/>
                      <a:pt x="93" y="28"/>
                    </a:cubicBezTo>
                    <a:cubicBezTo>
                      <a:pt x="92" y="35"/>
                      <a:pt x="88" y="41"/>
                      <a:pt x="82" y="46"/>
                    </a:cubicBezTo>
                    <a:cubicBezTo>
                      <a:pt x="76" y="50"/>
                      <a:pt x="67" y="51"/>
                      <a:pt x="59" y="52"/>
                    </a:cubicBezTo>
                    <a:cubicBezTo>
                      <a:pt x="55" y="50"/>
                      <a:pt x="49" y="52"/>
                      <a:pt x="44" y="52"/>
                    </a:cubicBezTo>
                    <a:cubicBezTo>
                      <a:pt x="38" y="52"/>
                      <a:pt x="31" y="52"/>
                      <a:pt x="25" y="52"/>
                    </a:cubicBezTo>
                    <a:cubicBezTo>
                      <a:pt x="17" y="52"/>
                      <a:pt x="9" y="52"/>
                      <a:pt x="0" y="53"/>
                    </a:cubicBezTo>
                    <a:cubicBezTo>
                      <a:pt x="2" y="51"/>
                      <a:pt x="9" y="48"/>
                      <a:pt x="21" y="45"/>
                    </a:cubicBezTo>
                    <a:cubicBezTo>
                      <a:pt x="75" y="34"/>
                      <a:pt x="75" y="12"/>
                      <a:pt x="71" y="0"/>
                    </a:cubicBezTo>
                    <a:cubicBezTo>
                      <a:pt x="72" y="0"/>
                      <a:pt x="72" y="0"/>
                      <a:pt x="73" y="0"/>
                    </a:cubicBezTo>
                    <a:cubicBezTo>
                      <a:pt x="75" y="1"/>
                      <a:pt x="78" y="2"/>
                      <a:pt x="80" y="2"/>
                    </a:cubicBezTo>
                    <a:cubicBezTo>
                      <a:pt x="83" y="4"/>
                      <a:pt x="86" y="5"/>
                      <a:pt x="89" y="8"/>
                    </a:cubicBezTo>
                    <a:cubicBezTo>
                      <a:pt x="94" y="13"/>
                      <a:pt x="94" y="21"/>
                      <a:pt x="93" y="28"/>
                    </a:cubicBezTo>
                    <a:close/>
                  </a:path>
                </a:pathLst>
              </a:custGeom>
              <a:solidFill>
                <a:srgbClr val="6B4A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" name="iSľíďé"/>
              <p:cNvSpPr/>
              <p:nvPr/>
            </p:nvSpPr>
            <p:spPr bwMode="auto">
              <a:xfrm>
                <a:off x="8013542" y="3274700"/>
                <a:ext cx="528451" cy="423440"/>
              </a:xfrm>
              <a:custGeom>
                <a:avLst/>
                <a:gdLst>
                  <a:gd name="T0" fmla="*/ 71 w 75"/>
                  <a:gd name="T1" fmla="*/ 32 h 60"/>
                  <a:gd name="T2" fmla="*/ 71 w 75"/>
                  <a:gd name="T3" fmla="*/ 32 h 60"/>
                  <a:gd name="T4" fmla="*/ 58 w 75"/>
                  <a:gd name="T5" fmla="*/ 52 h 60"/>
                  <a:gd name="T6" fmla="*/ 23 w 75"/>
                  <a:gd name="T7" fmla="*/ 54 h 60"/>
                  <a:gd name="T8" fmla="*/ 2 w 75"/>
                  <a:gd name="T9" fmla="*/ 25 h 60"/>
                  <a:gd name="T10" fmla="*/ 10 w 75"/>
                  <a:gd name="T11" fmla="*/ 6 h 60"/>
                  <a:gd name="T12" fmla="*/ 14 w 75"/>
                  <a:gd name="T13" fmla="*/ 0 h 60"/>
                  <a:gd name="T14" fmla="*/ 16 w 75"/>
                  <a:gd name="T15" fmla="*/ 1 h 60"/>
                  <a:gd name="T16" fmla="*/ 18 w 75"/>
                  <a:gd name="T17" fmla="*/ 1 h 60"/>
                  <a:gd name="T18" fmla="*/ 20 w 75"/>
                  <a:gd name="T19" fmla="*/ 1 h 60"/>
                  <a:gd name="T20" fmla="*/ 21 w 75"/>
                  <a:gd name="T21" fmla="*/ 2 h 60"/>
                  <a:gd name="T22" fmla="*/ 21 w 75"/>
                  <a:gd name="T23" fmla="*/ 2 h 60"/>
                  <a:gd name="T24" fmla="*/ 21 w 75"/>
                  <a:gd name="T25" fmla="*/ 3 h 60"/>
                  <a:gd name="T26" fmla="*/ 18 w 75"/>
                  <a:gd name="T27" fmla="*/ 9 h 60"/>
                  <a:gd name="T28" fmla="*/ 15 w 75"/>
                  <a:gd name="T29" fmla="*/ 26 h 60"/>
                  <a:gd name="T30" fmla="*/ 29 w 75"/>
                  <a:gd name="T31" fmla="*/ 39 h 60"/>
                  <a:gd name="T32" fmla="*/ 60 w 75"/>
                  <a:gd name="T33" fmla="*/ 30 h 60"/>
                  <a:gd name="T34" fmla="*/ 70 w 75"/>
                  <a:gd name="T35" fmla="*/ 16 h 60"/>
                  <a:gd name="T36" fmla="*/ 70 w 75"/>
                  <a:gd name="T37" fmla="*/ 15 h 60"/>
                  <a:gd name="T38" fmla="*/ 71 w 75"/>
                  <a:gd name="T39" fmla="*/ 15 h 60"/>
                  <a:gd name="T40" fmla="*/ 74 w 75"/>
                  <a:gd name="T41" fmla="*/ 16 h 60"/>
                  <a:gd name="T42" fmla="*/ 75 w 75"/>
                  <a:gd name="T43" fmla="*/ 17 h 60"/>
                  <a:gd name="T44" fmla="*/ 74 w 75"/>
                  <a:gd name="T45" fmla="*/ 20 h 60"/>
                  <a:gd name="T46" fmla="*/ 71 w 75"/>
                  <a:gd name="T47" fmla="*/ 3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5" h="60">
                    <a:moveTo>
                      <a:pt x="71" y="32"/>
                    </a:moveTo>
                    <a:cubicBezTo>
                      <a:pt x="71" y="32"/>
                      <a:pt x="71" y="32"/>
                      <a:pt x="71" y="32"/>
                    </a:cubicBezTo>
                    <a:cubicBezTo>
                      <a:pt x="68" y="40"/>
                      <a:pt x="64" y="47"/>
                      <a:pt x="58" y="52"/>
                    </a:cubicBezTo>
                    <a:cubicBezTo>
                      <a:pt x="48" y="60"/>
                      <a:pt x="34" y="59"/>
                      <a:pt x="23" y="54"/>
                    </a:cubicBezTo>
                    <a:cubicBezTo>
                      <a:pt x="12" y="49"/>
                      <a:pt x="0" y="38"/>
                      <a:pt x="2" y="25"/>
                    </a:cubicBezTo>
                    <a:cubicBezTo>
                      <a:pt x="3" y="18"/>
                      <a:pt x="7" y="12"/>
                      <a:pt x="10" y="6"/>
                    </a:cubicBezTo>
                    <a:cubicBezTo>
                      <a:pt x="11" y="4"/>
                      <a:pt x="13" y="2"/>
                      <a:pt x="14" y="0"/>
                    </a:cubicBezTo>
                    <a:cubicBezTo>
                      <a:pt x="14" y="0"/>
                      <a:pt x="15" y="0"/>
                      <a:pt x="16" y="1"/>
                    </a:cubicBezTo>
                    <a:cubicBezTo>
                      <a:pt x="16" y="1"/>
                      <a:pt x="18" y="1"/>
                      <a:pt x="18" y="1"/>
                    </a:cubicBezTo>
                    <a:cubicBezTo>
                      <a:pt x="18" y="1"/>
                      <a:pt x="19" y="1"/>
                      <a:pt x="20" y="1"/>
                    </a:cubicBezTo>
                    <a:cubicBezTo>
                      <a:pt x="20" y="1"/>
                      <a:pt x="22" y="2"/>
                      <a:pt x="21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1" y="2"/>
                      <a:pt x="21" y="3"/>
                      <a:pt x="21" y="3"/>
                    </a:cubicBezTo>
                    <a:cubicBezTo>
                      <a:pt x="20" y="5"/>
                      <a:pt x="19" y="7"/>
                      <a:pt x="18" y="9"/>
                    </a:cubicBezTo>
                    <a:cubicBezTo>
                      <a:pt x="14" y="14"/>
                      <a:pt x="13" y="20"/>
                      <a:pt x="15" y="26"/>
                    </a:cubicBezTo>
                    <a:cubicBezTo>
                      <a:pt x="17" y="32"/>
                      <a:pt x="22" y="37"/>
                      <a:pt x="29" y="39"/>
                    </a:cubicBezTo>
                    <a:cubicBezTo>
                      <a:pt x="40" y="43"/>
                      <a:pt x="53" y="38"/>
                      <a:pt x="60" y="30"/>
                    </a:cubicBezTo>
                    <a:cubicBezTo>
                      <a:pt x="64" y="25"/>
                      <a:pt x="67" y="20"/>
                      <a:pt x="70" y="16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70" y="15"/>
                      <a:pt x="70" y="15"/>
                      <a:pt x="71" y="15"/>
                    </a:cubicBezTo>
                    <a:cubicBezTo>
                      <a:pt x="72" y="16"/>
                      <a:pt x="73" y="16"/>
                      <a:pt x="74" y="16"/>
                    </a:cubicBezTo>
                    <a:cubicBezTo>
                      <a:pt x="74" y="16"/>
                      <a:pt x="74" y="16"/>
                      <a:pt x="75" y="17"/>
                    </a:cubicBezTo>
                    <a:cubicBezTo>
                      <a:pt x="74" y="18"/>
                      <a:pt x="74" y="19"/>
                      <a:pt x="74" y="20"/>
                    </a:cubicBezTo>
                    <a:cubicBezTo>
                      <a:pt x="72" y="24"/>
                      <a:pt x="72" y="28"/>
                      <a:pt x="71" y="32"/>
                    </a:cubicBezTo>
                    <a:close/>
                  </a:path>
                </a:pathLst>
              </a:custGeom>
              <a:solidFill>
                <a:srgbClr val="FFC9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" name="îśḷiḋè"/>
              <p:cNvSpPr/>
              <p:nvPr/>
            </p:nvSpPr>
            <p:spPr bwMode="auto">
              <a:xfrm>
                <a:off x="8274379" y="3383101"/>
                <a:ext cx="267614" cy="308264"/>
              </a:xfrm>
              <a:custGeom>
                <a:avLst/>
                <a:gdLst>
                  <a:gd name="T0" fmla="*/ 34 w 38"/>
                  <a:gd name="T1" fmla="*/ 17 h 44"/>
                  <a:gd name="T2" fmla="*/ 34 w 38"/>
                  <a:gd name="T3" fmla="*/ 17 h 44"/>
                  <a:gd name="T4" fmla="*/ 21 w 38"/>
                  <a:gd name="T5" fmla="*/ 37 h 44"/>
                  <a:gd name="T6" fmla="*/ 0 w 38"/>
                  <a:gd name="T7" fmla="*/ 43 h 44"/>
                  <a:gd name="T8" fmla="*/ 10 w 38"/>
                  <a:gd name="T9" fmla="*/ 23 h 44"/>
                  <a:gd name="T10" fmla="*/ 23 w 38"/>
                  <a:gd name="T11" fmla="*/ 15 h 44"/>
                  <a:gd name="T12" fmla="*/ 33 w 38"/>
                  <a:gd name="T13" fmla="*/ 1 h 44"/>
                  <a:gd name="T14" fmla="*/ 33 w 38"/>
                  <a:gd name="T15" fmla="*/ 0 h 44"/>
                  <a:gd name="T16" fmla="*/ 34 w 38"/>
                  <a:gd name="T17" fmla="*/ 0 h 44"/>
                  <a:gd name="T18" fmla="*/ 37 w 38"/>
                  <a:gd name="T19" fmla="*/ 1 h 44"/>
                  <a:gd name="T20" fmla="*/ 38 w 38"/>
                  <a:gd name="T21" fmla="*/ 2 h 44"/>
                  <a:gd name="T22" fmla="*/ 37 w 38"/>
                  <a:gd name="T23" fmla="*/ 5 h 44"/>
                  <a:gd name="T24" fmla="*/ 34 w 38"/>
                  <a:gd name="T25" fmla="*/ 1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44">
                    <a:moveTo>
                      <a:pt x="34" y="17"/>
                    </a:moveTo>
                    <a:cubicBezTo>
                      <a:pt x="34" y="17"/>
                      <a:pt x="34" y="17"/>
                      <a:pt x="34" y="17"/>
                    </a:cubicBezTo>
                    <a:cubicBezTo>
                      <a:pt x="31" y="25"/>
                      <a:pt x="27" y="32"/>
                      <a:pt x="21" y="37"/>
                    </a:cubicBezTo>
                    <a:cubicBezTo>
                      <a:pt x="15" y="42"/>
                      <a:pt x="7" y="44"/>
                      <a:pt x="0" y="43"/>
                    </a:cubicBezTo>
                    <a:cubicBezTo>
                      <a:pt x="4" y="39"/>
                      <a:pt x="8" y="33"/>
                      <a:pt x="10" y="23"/>
                    </a:cubicBezTo>
                    <a:cubicBezTo>
                      <a:pt x="15" y="22"/>
                      <a:pt x="20" y="19"/>
                      <a:pt x="23" y="15"/>
                    </a:cubicBezTo>
                    <a:cubicBezTo>
                      <a:pt x="27" y="10"/>
                      <a:pt x="30" y="5"/>
                      <a:pt x="33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3" y="0"/>
                      <a:pt x="33" y="0"/>
                      <a:pt x="34" y="0"/>
                    </a:cubicBezTo>
                    <a:cubicBezTo>
                      <a:pt x="35" y="1"/>
                      <a:pt x="36" y="1"/>
                      <a:pt x="37" y="1"/>
                    </a:cubicBezTo>
                    <a:cubicBezTo>
                      <a:pt x="37" y="1"/>
                      <a:pt x="37" y="1"/>
                      <a:pt x="38" y="2"/>
                    </a:cubicBezTo>
                    <a:cubicBezTo>
                      <a:pt x="37" y="3"/>
                      <a:pt x="37" y="4"/>
                      <a:pt x="37" y="5"/>
                    </a:cubicBezTo>
                    <a:cubicBezTo>
                      <a:pt x="35" y="9"/>
                      <a:pt x="35" y="13"/>
                      <a:pt x="34" y="17"/>
                    </a:cubicBezTo>
                    <a:close/>
                  </a:path>
                </a:pathLst>
              </a:custGeom>
              <a:solidFill>
                <a:srgbClr val="D1A5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" name="ïṥlïḍé"/>
              <p:cNvSpPr/>
              <p:nvPr/>
            </p:nvSpPr>
            <p:spPr bwMode="auto">
              <a:xfrm>
                <a:off x="7386853" y="3704915"/>
                <a:ext cx="846877" cy="450540"/>
              </a:xfrm>
              <a:custGeom>
                <a:avLst/>
                <a:gdLst>
                  <a:gd name="T0" fmla="*/ 114 w 120"/>
                  <a:gd name="T1" fmla="*/ 24 h 64"/>
                  <a:gd name="T2" fmla="*/ 114 w 120"/>
                  <a:gd name="T3" fmla="*/ 24 h 64"/>
                  <a:gd name="T4" fmla="*/ 104 w 120"/>
                  <a:gd name="T5" fmla="*/ 38 h 64"/>
                  <a:gd name="T6" fmla="*/ 100 w 120"/>
                  <a:gd name="T7" fmla="*/ 33 h 64"/>
                  <a:gd name="T8" fmla="*/ 93 w 120"/>
                  <a:gd name="T9" fmla="*/ 25 h 64"/>
                  <a:gd name="T10" fmla="*/ 86 w 120"/>
                  <a:gd name="T11" fmla="*/ 18 h 64"/>
                  <a:gd name="T12" fmla="*/ 93 w 120"/>
                  <a:gd name="T13" fmla="*/ 10 h 64"/>
                  <a:gd name="T14" fmla="*/ 93 w 120"/>
                  <a:gd name="T15" fmla="*/ 10 h 64"/>
                  <a:gd name="T16" fmla="*/ 98 w 120"/>
                  <a:gd name="T17" fmla="*/ 16 h 64"/>
                  <a:gd name="T18" fmla="*/ 104 w 120"/>
                  <a:gd name="T19" fmla="*/ 21 h 64"/>
                  <a:gd name="T20" fmla="*/ 112 w 120"/>
                  <a:gd name="T21" fmla="*/ 24 h 64"/>
                  <a:gd name="T22" fmla="*/ 113 w 120"/>
                  <a:gd name="T23" fmla="*/ 18 h 64"/>
                  <a:gd name="T24" fmla="*/ 107 w 120"/>
                  <a:gd name="T25" fmla="*/ 13 h 64"/>
                  <a:gd name="T26" fmla="*/ 96 w 120"/>
                  <a:gd name="T27" fmla="*/ 4 h 64"/>
                  <a:gd name="T28" fmla="*/ 98 w 120"/>
                  <a:gd name="T29" fmla="*/ 0 h 64"/>
                  <a:gd name="T30" fmla="*/ 101 w 120"/>
                  <a:gd name="T31" fmla="*/ 3 h 64"/>
                  <a:gd name="T32" fmla="*/ 120 w 120"/>
                  <a:gd name="T33" fmla="*/ 10 h 64"/>
                  <a:gd name="T34" fmla="*/ 120 w 120"/>
                  <a:gd name="T35" fmla="*/ 12 h 64"/>
                  <a:gd name="T36" fmla="*/ 114 w 120"/>
                  <a:gd name="T37" fmla="*/ 24 h 64"/>
                  <a:gd name="T38" fmla="*/ 0 w 120"/>
                  <a:gd name="T39" fmla="*/ 52 h 64"/>
                  <a:gd name="T40" fmla="*/ 0 w 120"/>
                  <a:gd name="T41" fmla="*/ 52 h 64"/>
                  <a:gd name="T42" fmla="*/ 1 w 120"/>
                  <a:gd name="T43" fmla="*/ 51 h 64"/>
                  <a:gd name="T44" fmla="*/ 13 w 120"/>
                  <a:gd name="T45" fmla="*/ 26 h 64"/>
                  <a:gd name="T46" fmla="*/ 13 w 120"/>
                  <a:gd name="T47" fmla="*/ 26 h 64"/>
                  <a:gd name="T48" fmla="*/ 20 w 120"/>
                  <a:gd name="T49" fmla="*/ 29 h 64"/>
                  <a:gd name="T50" fmla="*/ 30 w 120"/>
                  <a:gd name="T51" fmla="*/ 32 h 64"/>
                  <a:gd name="T52" fmla="*/ 26 w 120"/>
                  <a:gd name="T53" fmla="*/ 43 h 64"/>
                  <a:gd name="T54" fmla="*/ 21 w 120"/>
                  <a:gd name="T55" fmla="*/ 55 h 64"/>
                  <a:gd name="T56" fmla="*/ 19 w 120"/>
                  <a:gd name="T57" fmla="*/ 59 h 64"/>
                  <a:gd name="T58" fmla="*/ 0 w 120"/>
                  <a:gd name="T59" fmla="*/ 52 h 64"/>
                  <a:gd name="T60" fmla="*/ 28 w 120"/>
                  <a:gd name="T61" fmla="*/ 62 h 64"/>
                  <a:gd name="T62" fmla="*/ 28 w 120"/>
                  <a:gd name="T63" fmla="*/ 62 h 64"/>
                  <a:gd name="T64" fmla="*/ 26 w 120"/>
                  <a:gd name="T65" fmla="*/ 61 h 64"/>
                  <a:gd name="T66" fmla="*/ 26 w 120"/>
                  <a:gd name="T67" fmla="*/ 59 h 64"/>
                  <a:gd name="T68" fmla="*/ 31 w 120"/>
                  <a:gd name="T69" fmla="*/ 48 h 64"/>
                  <a:gd name="T70" fmla="*/ 35 w 120"/>
                  <a:gd name="T71" fmla="*/ 33 h 64"/>
                  <a:gd name="T72" fmla="*/ 47 w 120"/>
                  <a:gd name="T73" fmla="*/ 35 h 64"/>
                  <a:gd name="T74" fmla="*/ 51 w 120"/>
                  <a:gd name="T75" fmla="*/ 34 h 64"/>
                  <a:gd name="T76" fmla="*/ 50 w 120"/>
                  <a:gd name="T77" fmla="*/ 49 h 64"/>
                  <a:gd name="T78" fmla="*/ 49 w 120"/>
                  <a:gd name="T79" fmla="*/ 60 h 64"/>
                  <a:gd name="T80" fmla="*/ 49 w 120"/>
                  <a:gd name="T81" fmla="*/ 64 h 64"/>
                  <a:gd name="T82" fmla="*/ 28 w 120"/>
                  <a:gd name="T83" fmla="*/ 62 h 64"/>
                  <a:gd name="T84" fmla="*/ 55 w 120"/>
                  <a:gd name="T85" fmla="*/ 64 h 64"/>
                  <a:gd name="T86" fmla="*/ 55 w 120"/>
                  <a:gd name="T87" fmla="*/ 64 h 64"/>
                  <a:gd name="T88" fmla="*/ 55 w 120"/>
                  <a:gd name="T89" fmla="*/ 61 h 64"/>
                  <a:gd name="T90" fmla="*/ 56 w 120"/>
                  <a:gd name="T91" fmla="*/ 51 h 64"/>
                  <a:gd name="T92" fmla="*/ 56 w 120"/>
                  <a:gd name="T93" fmla="*/ 34 h 64"/>
                  <a:gd name="T94" fmla="*/ 64 w 120"/>
                  <a:gd name="T95" fmla="*/ 32 h 64"/>
                  <a:gd name="T96" fmla="*/ 67 w 120"/>
                  <a:gd name="T97" fmla="*/ 45 h 64"/>
                  <a:gd name="T98" fmla="*/ 70 w 120"/>
                  <a:gd name="T99" fmla="*/ 61 h 64"/>
                  <a:gd name="T100" fmla="*/ 62 w 120"/>
                  <a:gd name="T101" fmla="*/ 63 h 64"/>
                  <a:gd name="T102" fmla="*/ 55 w 120"/>
                  <a:gd name="T103" fmla="*/ 64 h 64"/>
                  <a:gd name="T104" fmla="*/ 75 w 120"/>
                  <a:gd name="T105" fmla="*/ 59 h 64"/>
                  <a:gd name="T106" fmla="*/ 75 w 120"/>
                  <a:gd name="T107" fmla="*/ 59 h 64"/>
                  <a:gd name="T108" fmla="*/ 73 w 120"/>
                  <a:gd name="T109" fmla="*/ 46 h 64"/>
                  <a:gd name="T110" fmla="*/ 71 w 120"/>
                  <a:gd name="T111" fmla="*/ 37 h 64"/>
                  <a:gd name="T112" fmla="*/ 68 w 120"/>
                  <a:gd name="T113" fmla="*/ 30 h 64"/>
                  <a:gd name="T114" fmla="*/ 81 w 120"/>
                  <a:gd name="T115" fmla="*/ 23 h 64"/>
                  <a:gd name="T116" fmla="*/ 82 w 120"/>
                  <a:gd name="T117" fmla="*/ 22 h 64"/>
                  <a:gd name="T118" fmla="*/ 93 w 120"/>
                  <a:gd name="T119" fmla="*/ 35 h 64"/>
                  <a:gd name="T120" fmla="*/ 98 w 120"/>
                  <a:gd name="T121" fmla="*/ 44 h 64"/>
                  <a:gd name="T122" fmla="*/ 75 w 120"/>
                  <a:gd name="T123" fmla="*/ 59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0" h="64">
                    <a:moveTo>
                      <a:pt x="114" y="24"/>
                    </a:moveTo>
                    <a:cubicBezTo>
                      <a:pt x="114" y="24"/>
                      <a:pt x="114" y="24"/>
                      <a:pt x="114" y="24"/>
                    </a:cubicBezTo>
                    <a:cubicBezTo>
                      <a:pt x="111" y="29"/>
                      <a:pt x="108" y="34"/>
                      <a:pt x="104" y="38"/>
                    </a:cubicBezTo>
                    <a:cubicBezTo>
                      <a:pt x="103" y="36"/>
                      <a:pt x="102" y="35"/>
                      <a:pt x="100" y="33"/>
                    </a:cubicBezTo>
                    <a:cubicBezTo>
                      <a:pt x="98" y="30"/>
                      <a:pt x="96" y="27"/>
                      <a:pt x="93" y="25"/>
                    </a:cubicBezTo>
                    <a:cubicBezTo>
                      <a:pt x="91" y="23"/>
                      <a:pt x="88" y="21"/>
                      <a:pt x="86" y="18"/>
                    </a:cubicBezTo>
                    <a:cubicBezTo>
                      <a:pt x="88" y="16"/>
                      <a:pt x="91" y="13"/>
                      <a:pt x="93" y="10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4" y="12"/>
                      <a:pt x="96" y="14"/>
                      <a:pt x="98" y="16"/>
                    </a:cubicBezTo>
                    <a:cubicBezTo>
                      <a:pt x="100" y="18"/>
                      <a:pt x="102" y="19"/>
                      <a:pt x="104" y="21"/>
                    </a:cubicBezTo>
                    <a:cubicBezTo>
                      <a:pt x="107" y="22"/>
                      <a:pt x="109" y="25"/>
                      <a:pt x="112" y="24"/>
                    </a:cubicBezTo>
                    <a:cubicBezTo>
                      <a:pt x="114" y="23"/>
                      <a:pt x="114" y="20"/>
                      <a:pt x="113" y="18"/>
                    </a:cubicBezTo>
                    <a:cubicBezTo>
                      <a:pt x="112" y="16"/>
                      <a:pt x="109" y="14"/>
                      <a:pt x="107" y="13"/>
                    </a:cubicBezTo>
                    <a:cubicBezTo>
                      <a:pt x="103" y="10"/>
                      <a:pt x="99" y="8"/>
                      <a:pt x="96" y="4"/>
                    </a:cubicBezTo>
                    <a:cubicBezTo>
                      <a:pt x="97" y="3"/>
                      <a:pt x="97" y="2"/>
                      <a:pt x="98" y="0"/>
                    </a:cubicBezTo>
                    <a:cubicBezTo>
                      <a:pt x="99" y="1"/>
                      <a:pt x="100" y="2"/>
                      <a:pt x="101" y="3"/>
                    </a:cubicBezTo>
                    <a:cubicBezTo>
                      <a:pt x="107" y="6"/>
                      <a:pt x="114" y="9"/>
                      <a:pt x="120" y="10"/>
                    </a:cubicBezTo>
                    <a:cubicBezTo>
                      <a:pt x="120" y="11"/>
                      <a:pt x="120" y="11"/>
                      <a:pt x="120" y="12"/>
                    </a:cubicBezTo>
                    <a:cubicBezTo>
                      <a:pt x="118" y="16"/>
                      <a:pt x="116" y="20"/>
                      <a:pt x="114" y="24"/>
                    </a:cubicBezTo>
                    <a:close/>
                    <a:moveTo>
                      <a:pt x="0" y="52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7" y="43"/>
                      <a:pt x="12" y="36"/>
                      <a:pt x="13" y="26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6" y="27"/>
                      <a:pt x="18" y="28"/>
                      <a:pt x="20" y="29"/>
                    </a:cubicBezTo>
                    <a:cubicBezTo>
                      <a:pt x="23" y="31"/>
                      <a:pt x="27" y="32"/>
                      <a:pt x="30" y="32"/>
                    </a:cubicBezTo>
                    <a:cubicBezTo>
                      <a:pt x="29" y="36"/>
                      <a:pt x="28" y="40"/>
                      <a:pt x="26" y="43"/>
                    </a:cubicBezTo>
                    <a:cubicBezTo>
                      <a:pt x="25" y="47"/>
                      <a:pt x="23" y="51"/>
                      <a:pt x="21" y="55"/>
                    </a:cubicBezTo>
                    <a:cubicBezTo>
                      <a:pt x="20" y="56"/>
                      <a:pt x="20" y="58"/>
                      <a:pt x="19" y="59"/>
                    </a:cubicBezTo>
                    <a:cubicBezTo>
                      <a:pt x="12" y="57"/>
                      <a:pt x="6" y="54"/>
                      <a:pt x="0" y="52"/>
                    </a:cubicBezTo>
                    <a:close/>
                    <a:moveTo>
                      <a:pt x="28" y="62"/>
                    </a:moveTo>
                    <a:cubicBezTo>
                      <a:pt x="28" y="62"/>
                      <a:pt x="28" y="62"/>
                      <a:pt x="28" y="62"/>
                    </a:cubicBezTo>
                    <a:cubicBezTo>
                      <a:pt x="27" y="61"/>
                      <a:pt x="26" y="61"/>
                      <a:pt x="26" y="61"/>
                    </a:cubicBezTo>
                    <a:cubicBezTo>
                      <a:pt x="26" y="61"/>
                      <a:pt x="26" y="60"/>
                      <a:pt x="26" y="59"/>
                    </a:cubicBezTo>
                    <a:cubicBezTo>
                      <a:pt x="28" y="56"/>
                      <a:pt x="30" y="52"/>
                      <a:pt x="31" y="48"/>
                    </a:cubicBezTo>
                    <a:cubicBezTo>
                      <a:pt x="33" y="44"/>
                      <a:pt x="34" y="38"/>
                      <a:pt x="35" y="33"/>
                    </a:cubicBezTo>
                    <a:cubicBezTo>
                      <a:pt x="39" y="34"/>
                      <a:pt x="43" y="35"/>
                      <a:pt x="47" y="35"/>
                    </a:cubicBezTo>
                    <a:cubicBezTo>
                      <a:pt x="48" y="35"/>
                      <a:pt x="50" y="35"/>
                      <a:pt x="51" y="34"/>
                    </a:cubicBezTo>
                    <a:cubicBezTo>
                      <a:pt x="50" y="39"/>
                      <a:pt x="50" y="44"/>
                      <a:pt x="50" y="49"/>
                    </a:cubicBezTo>
                    <a:cubicBezTo>
                      <a:pt x="49" y="53"/>
                      <a:pt x="49" y="56"/>
                      <a:pt x="49" y="60"/>
                    </a:cubicBezTo>
                    <a:cubicBezTo>
                      <a:pt x="48" y="61"/>
                      <a:pt x="48" y="63"/>
                      <a:pt x="49" y="64"/>
                    </a:cubicBezTo>
                    <a:cubicBezTo>
                      <a:pt x="42" y="64"/>
                      <a:pt x="35" y="63"/>
                      <a:pt x="28" y="62"/>
                    </a:cubicBezTo>
                    <a:close/>
                    <a:moveTo>
                      <a:pt x="55" y="64"/>
                    </a:moveTo>
                    <a:cubicBezTo>
                      <a:pt x="55" y="64"/>
                      <a:pt x="55" y="64"/>
                      <a:pt x="55" y="64"/>
                    </a:cubicBezTo>
                    <a:cubicBezTo>
                      <a:pt x="55" y="63"/>
                      <a:pt x="55" y="62"/>
                      <a:pt x="55" y="61"/>
                    </a:cubicBezTo>
                    <a:cubicBezTo>
                      <a:pt x="55" y="57"/>
                      <a:pt x="56" y="54"/>
                      <a:pt x="56" y="51"/>
                    </a:cubicBezTo>
                    <a:cubicBezTo>
                      <a:pt x="56" y="45"/>
                      <a:pt x="56" y="39"/>
                      <a:pt x="56" y="34"/>
                    </a:cubicBezTo>
                    <a:cubicBezTo>
                      <a:pt x="59" y="33"/>
                      <a:pt x="61" y="33"/>
                      <a:pt x="64" y="32"/>
                    </a:cubicBezTo>
                    <a:cubicBezTo>
                      <a:pt x="64" y="36"/>
                      <a:pt x="66" y="40"/>
                      <a:pt x="67" y="45"/>
                    </a:cubicBezTo>
                    <a:cubicBezTo>
                      <a:pt x="68" y="50"/>
                      <a:pt x="68" y="56"/>
                      <a:pt x="70" y="61"/>
                    </a:cubicBezTo>
                    <a:cubicBezTo>
                      <a:pt x="67" y="61"/>
                      <a:pt x="65" y="62"/>
                      <a:pt x="62" y="63"/>
                    </a:cubicBezTo>
                    <a:cubicBezTo>
                      <a:pt x="60" y="63"/>
                      <a:pt x="57" y="64"/>
                      <a:pt x="55" y="64"/>
                    </a:cubicBezTo>
                    <a:close/>
                    <a:moveTo>
                      <a:pt x="75" y="59"/>
                    </a:moveTo>
                    <a:cubicBezTo>
                      <a:pt x="75" y="59"/>
                      <a:pt x="75" y="59"/>
                      <a:pt x="75" y="59"/>
                    </a:cubicBezTo>
                    <a:cubicBezTo>
                      <a:pt x="75" y="54"/>
                      <a:pt x="74" y="50"/>
                      <a:pt x="73" y="46"/>
                    </a:cubicBezTo>
                    <a:cubicBezTo>
                      <a:pt x="72" y="43"/>
                      <a:pt x="72" y="40"/>
                      <a:pt x="71" y="37"/>
                    </a:cubicBezTo>
                    <a:cubicBezTo>
                      <a:pt x="70" y="35"/>
                      <a:pt x="69" y="33"/>
                      <a:pt x="68" y="30"/>
                    </a:cubicBezTo>
                    <a:cubicBezTo>
                      <a:pt x="73" y="29"/>
                      <a:pt x="77" y="26"/>
                      <a:pt x="81" y="23"/>
                    </a:cubicBezTo>
                    <a:cubicBezTo>
                      <a:pt x="81" y="23"/>
                      <a:pt x="82" y="22"/>
                      <a:pt x="82" y="22"/>
                    </a:cubicBezTo>
                    <a:cubicBezTo>
                      <a:pt x="85" y="27"/>
                      <a:pt x="90" y="31"/>
                      <a:pt x="93" y="35"/>
                    </a:cubicBezTo>
                    <a:cubicBezTo>
                      <a:pt x="95" y="38"/>
                      <a:pt x="97" y="41"/>
                      <a:pt x="98" y="44"/>
                    </a:cubicBezTo>
                    <a:cubicBezTo>
                      <a:pt x="91" y="50"/>
                      <a:pt x="83" y="55"/>
                      <a:pt x="75" y="59"/>
                    </a:cubicBezTo>
                    <a:close/>
                  </a:path>
                </a:pathLst>
              </a:custGeom>
              <a:solidFill>
                <a:srgbClr val="8A63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" name="iŝḷíde"/>
              <p:cNvSpPr/>
              <p:nvPr/>
            </p:nvSpPr>
            <p:spPr bwMode="auto">
              <a:xfrm>
                <a:off x="7386853" y="3762502"/>
                <a:ext cx="846877" cy="392951"/>
              </a:xfrm>
              <a:custGeom>
                <a:avLst/>
                <a:gdLst>
                  <a:gd name="T0" fmla="*/ 114 w 120"/>
                  <a:gd name="T1" fmla="*/ 16 h 56"/>
                  <a:gd name="T2" fmla="*/ 114 w 120"/>
                  <a:gd name="T3" fmla="*/ 16 h 56"/>
                  <a:gd name="T4" fmla="*/ 104 w 120"/>
                  <a:gd name="T5" fmla="*/ 30 h 56"/>
                  <a:gd name="T6" fmla="*/ 100 w 120"/>
                  <a:gd name="T7" fmla="*/ 25 h 56"/>
                  <a:gd name="T8" fmla="*/ 96 w 120"/>
                  <a:gd name="T9" fmla="*/ 20 h 56"/>
                  <a:gd name="T10" fmla="*/ 104 w 120"/>
                  <a:gd name="T11" fmla="*/ 12 h 56"/>
                  <a:gd name="T12" fmla="*/ 104 w 120"/>
                  <a:gd name="T13" fmla="*/ 13 h 56"/>
                  <a:gd name="T14" fmla="*/ 112 w 120"/>
                  <a:gd name="T15" fmla="*/ 16 h 56"/>
                  <a:gd name="T16" fmla="*/ 113 w 120"/>
                  <a:gd name="T17" fmla="*/ 10 h 56"/>
                  <a:gd name="T18" fmla="*/ 109 w 120"/>
                  <a:gd name="T19" fmla="*/ 6 h 56"/>
                  <a:gd name="T20" fmla="*/ 114 w 120"/>
                  <a:gd name="T21" fmla="*/ 0 h 56"/>
                  <a:gd name="T22" fmla="*/ 120 w 120"/>
                  <a:gd name="T23" fmla="*/ 2 h 56"/>
                  <a:gd name="T24" fmla="*/ 120 w 120"/>
                  <a:gd name="T25" fmla="*/ 4 h 56"/>
                  <a:gd name="T26" fmla="*/ 114 w 120"/>
                  <a:gd name="T27" fmla="*/ 16 h 56"/>
                  <a:gd name="T28" fmla="*/ 10 w 120"/>
                  <a:gd name="T29" fmla="*/ 31 h 56"/>
                  <a:gd name="T30" fmla="*/ 25 w 120"/>
                  <a:gd name="T31" fmla="*/ 37 h 56"/>
                  <a:gd name="T32" fmla="*/ 21 w 120"/>
                  <a:gd name="T33" fmla="*/ 47 h 56"/>
                  <a:gd name="T34" fmla="*/ 19 w 120"/>
                  <a:gd name="T35" fmla="*/ 51 h 56"/>
                  <a:gd name="T36" fmla="*/ 0 w 120"/>
                  <a:gd name="T37" fmla="*/ 44 h 56"/>
                  <a:gd name="T38" fmla="*/ 0 w 120"/>
                  <a:gd name="T39" fmla="*/ 44 h 56"/>
                  <a:gd name="T40" fmla="*/ 1 w 120"/>
                  <a:gd name="T41" fmla="*/ 43 h 56"/>
                  <a:gd name="T42" fmla="*/ 10 w 120"/>
                  <a:gd name="T43" fmla="*/ 31 h 56"/>
                  <a:gd name="T44" fmla="*/ 32 w 120"/>
                  <a:gd name="T45" fmla="*/ 39 h 56"/>
                  <a:gd name="T46" fmla="*/ 50 w 120"/>
                  <a:gd name="T47" fmla="*/ 41 h 56"/>
                  <a:gd name="T48" fmla="*/ 50 w 120"/>
                  <a:gd name="T49" fmla="*/ 41 h 56"/>
                  <a:gd name="T50" fmla="*/ 49 w 120"/>
                  <a:gd name="T51" fmla="*/ 52 h 56"/>
                  <a:gd name="T52" fmla="*/ 49 w 120"/>
                  <a:gd name="T53" fmla="*/ 56 h 56"/>
                  <a:gd name="T54" fmla="*/ 28 w 120"/>
                  <a:gd name="T55" fmla="*/ 54 h 56"/>
                  <a:gd name="T56" fmla="*/ 28 w 120"/>
                  <a:gd name="T57" fmla="*/ 54 h 56"/>
                  <a:gd name="T58" fmla="*/ 26 w 120"/>
                  <a:gd name="T59" fmla="*/ 53 h 56"/>
                  <a:gd name="T60" fmla="*/ 26 w 120"/>
                  <a:gd name="T61" fmla="*/ 51 h 56"/>
                  <a:gd name="T62" fmla="*/ 31 w 120"/>
                  <a:gd name="T63" fmla="*/ 40 h 56"/>
                  <a:gd name="T64" fmla="*/ 32 w 120"/>
                  <a:gd name="T65" fmla="*/ 39 h 56"/>
                  <a:gd name="T66" fmla="*/ 56 w 120"/>
                  <a:gd name="T67" fmla="*/ 40 h 56"/>
                  <a:gd name="T68" fmla="*/ 67 w 120"/>
                  <a:gd name="T69" fmla="*/ 38 h 56"/>
                  <a:gd name="T70" fmla="*/ 70 w 120"/>
                  <a:gd name="T71" fmla="*/ 53 h 56"/>
                  <a:gd name="T72" fmla="*/ 62 w 120"/>
                  <a:gd name="T73" fmla="*/ 55 h 56"/>
                  <a:gd name="T74" fmla="*/ 55 w 120"/>
                  <a:gd name="T75" fmla="*/ 56 h 56"/>
                  <a:gd name="T76" fmla="*/ 55 w 120"/>
                  <a:gd name="T77" fmla="*/ 56 h 56"/>
                  <a:gd name="T78" fmla="*/ 55 w 120"/>
                  <a:gd name="T79" fmla="*/ 53 h 56"/>
                  <a:gd name="T80" fmla="*/ 56 w 120"/>
                  <a:gd name="T81" fmla="*/ 43 h 56"/>
                  <a:gd name="T82" fmla="*/ 56 w 120"/>
                  <a:gd name="T83" fmla="*/ 40 h 56"/>
                  <a:gd name="T84" fmla="*/ 73 w 120"/>
                  <a:gd name="T85" fmla="*/ 35 h 56"/>
                  <a:gd name="T86" fmla="*/ 91 w 120"/>
                  <a:gd name="T87" fmla="*/ 25 h 56"/>
                  <a:gd name="T88" fmla="*/ 93 w 120"/>
                  <a:gd name="T89" fmla="*/ 27 h 56"/>
                  <a:gd name="T90" fmla="*/ 98 w 120"/>
                  <a:gd name="T91" fmla="*/ 36 h 56"/>
                  <a:gd name="T92" fmla="*/ 75 w 120"/>
                  <a:gd name="T93" fmla="*/ 51 h 56"/>
                  <a:gd name="T94" fmla="*/ 75 w 120"/>
                  <a:gd name="T95" fmla="*/ 51 h 56"/>
                  <a:gd name="T96" fmla="*/ 73 w 120"/>
                  <a:gd name="T97" fmla="*/ 38 h 56"/>
                  <a:gd name="T98" fmla="*/ 73 w 120"/>
                  <a:gd name="T99" fmla="*/ 3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0" h="56">
                    <a:moveTo>
                      <a:pt x="114" y="16"/>
                    </a:moveTo>
                    <a:cubicBezTo>
                      <a:pt x="114" y="16"/>
                      <a:pt x="114" y="16"/>
                      <a:pt x="114" y="16"/>
                    </a:cubicBezTo>
                    <a:cubicBezTo>
                      <a:pt x="111" y="21"/>
                      <a:pt x="108" y="26"/>
                      <a:pt x="104" y="30"/>
                    </a:cubicBezTo>
                    <a:cubicBezTo>
                      <a:pt x="103" y="28"/>
                      <a:pt x="102" y="27"/>
                      <a:pt x="100" y="25"/>
                    </a:cubicBezTo>
                    <a:cubicBezTo>
                      <a:pt x="99" y="24"/>
                      <a:pt x="98" y="22"/>
                      <a:pt x="96" y="20"/>
                    </a:cubicBezTo>
                    <a:cubicBezTo>
                      <a:pt x="99" y="18"/>
                      <a:pt x="101" y="15"/>
                      <a:pt x="104" y="12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7" y="14"/>
                      <a:pt x="109" y="17"/>
                      <a:pt x="112" y="16"/>
                    </a:cubicBezTo>
                    <a:cubicBezTo>
                      <a:pt x="114" y="15"/>
                      <a:pt x="114" y="12"/>
                      <a:pt x="113" y="10"/>
                    </a:cubicBezTo>
                    <a:cubicBezTo>
                      <a:pt x="112" y="9"/>
                      <a:pt x="111" y="7"/>
                      <a:pt x="109" y="6"/>
                    </a:cubicBezTo>
                    <a:cubicBezTo>
                      <a:pt x="111" y="4"/>
                      <a:pt x="112" y="2"/>
                      <a:pt x="114" y="0"/>
                    </a:cubicBezTo>
                    <a:cubicBezTo>
                      <a:pt x="116" y="1"/>
                      <a:pt x="118" y="2"/>
                      <a:pt x="120" y="2"/>
                    </a:cubicBezTo>
                    <a:cubicBezTo>
                      <a:pt x="120" y="3"/>
                      <a:pt x="120" y="3"/>
                      <a:pt x="120" y="4"/>
                    </a:cubicBezTo>
                    <a:cubicBezTo>
                      <a:pt x="118" y="8"/>
                      <a:pt x="116" y="12"/>
                      <a:pt x="114" y="16"/>
                    </a:cubicBezTo>
                    <a:close/>
                    <a:moveTo>
                      <a:pt x="10" y="31"/>
                    </a:moveTo>
                    <a:cubicBezTo>
                      <a:pt x="13" y="33"/>
                      <a:pt x="19" y="35"/>
                      <a:pt x="25" y="37"/>
                    </a:cubicBezTo>
                    <a:cubicBezTo>
                      <a:pt x="24" y="40"/>
                      <a:pt x="23" y="44"/>
                      <a:pt x="21" y="47"/>
                    </a:cubicBezTo>
                    <a:cubicBezTo>
                      <a:pt x="20" y="48"/>
                      <a:pt x="20" y="50"/>
                      <a:pt x="19" y="51"/>
                    </a:cubicBezTo>
                    <a:cubicBezTo>
                      <a:pt x="12" y="49"/>
                      <a:pt x="6" y="46"/>
                      <a:pt x="0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4" y="39"/>
                      <a:pt x="7" y="35"/>
                      <a:pt x="10" y="31"/>
                    </a:cubicBezTo>
                    <a:close/>
                    <a:moveTo>
                      <a:pt x="32" y="39"/>
                    </a:moveTo>
                    <a:cubicBezTo>
                      <a:pt x="37" y="40"/>
                      <a:pt x="43" y="41"/>
                      <a:pt x="50" y="41"/>
                    </a:cubicBezTo>
                    <a:cubicBezTo>
                      <a:pt x="50" y="41"/>
                      <a:pt x="50" y="41"/>
                      <a:pt x="50" y="41"/>
                    </a:cubicBezTo>
                    <a:cubicBezTo>
                      <a:pt x="49" y="45"/>
                      <a:pt x="49" y="48"/>
                      <a:pt x="49" y="52"/>
                    </a:cubicBezTo>
                    <a:cubicBezTo>
                      <a:pt x="48" y="53"/>
                      <a:pt x="48" y="55"/>
                      <a:pt x="49" y="56"/>
                    </a:cubicBezTo>
                    <a:cubicBezTo>
                      <a:pt x="42" y="56"/>
                      <a:pt x="35" y="55"/>
                      <a:pt x="28" y="54"/>
                    </a:cubicBezTo>
                    <a:cubicBezTo>
                      <a:pt x="28" y="54"/>
                      <a:pt x="28" y="54"/>
                      <a:pt x="28" y="54"/>
                    </a:cubicBezTo>
                    <a:cubicBezTo>
                      <a:pt x="27" y="53"/>
                      <a:pt x="26" y="53"/>
                      <a:pt x="26" y="53"/>
                    </a:cubicBezTo>
                    <a:cubicBezTo>
                      <a:pt x="26" y="53"/>
                      <a:pt x="26" y="52"/>
                      <a:pt x="26" y="51"/>
                    </a:cubicBezTo>
                    <a:cubicBezTo>
                      <a:pt x="28" y="48"/>
                      <a:pt x="30" y="44"/>
                      <a:pt x="31" y="40"/>
                    </a:cubicBezTo>
                    <a:cubicBezTo>
                      <a:pt x="31" y="40"/>
                      <a:pt x="31" y="39"/>
                      <a:pt x="32" y="39"/>
                    </a:cubicBezTo>
                    <a:close/>
                    <a:moveTo>
                      <a:pt x="56" y="40"/>
                    </a:moveTo>
                    <a:cubicBezTo>
                      <a:pt x="60" y="40"/>
                      <a:pt x="63" y="39"/>
                      <a:pt x="67" y="38"/>
                    </a:cubicBezTo>
                    <a:cubicBezTo>
                      <a:pt x="68" y="42"/>
                      <a:pt x="68" y="48"/>
                      <a:pt x="70" y="53"/>
                    </a:cubicBezTo>
                    <a:cubicBezTo>
                      <a:pt x="67" y="53"/>
                      <a:pt x="65" y="54"/>
                      <a:pt x="62" y="55"/>
                    </a:cubicBezTo>
                    <a:cubicBezTo>
                      <a:pt x="60" y="55"/>
                      <a:pt x="57" y="56"/>
                      <a:pt x="55" y="56"/>
                    </a:cubicBezTo>
                    <a:cubicBezTo>
                      <a:pt x="55" y="56"/>
                      <a:pt x="55" y="56"/>
                      <a:pt x="55" y="56"/>
                    </a:cubicBezTo>
                    <a:cubicBezTo>
                      <a:pt x="55" y="55"/>
                      <a:pt x="55" y="54"/>
                      <a:pt x="55" y="53"/>
                    </a:cubicBezTo>
                    <a:cubicBezTo>
                      <a:pt x="55" y="49"/>
                      <a:pt x="56" y="46"/>
                      <a:pt x="56" y="43"/>
                    </a:cubicBezTo>
                    <a:cubicBezTo>
                      <a:pt x="56" y="42"/>
                      <a:pt x="56" y="41"/>
                      <a:pt x="56" y="40"/>
                    </a:cubicBezTo>
                    <a:close/>
                    <a:moveTo>
                      <a:pt x="73" y="35"/>
                    </a:moveTo>
                    <a:cubicBezTo>
                      <a:pt x="79" y="33"/>
                      <a:pt x="85" y="30"/>
                      <a:pt x="91" y="25"/>
                    </a:cubicBezTo>
                    <a:cubicBezTo>
                      <a:pt x="91" y="26"/>
                      <a:pt x="92" y="26"/>
                      <a:pt x="93" y="27"/>
                    </a:cubicBezTo>
                    <a:cubicBezTo>
                      <a:pt x="95" y="30"/>
                      <a:pt x="97" y="33"/>
                      <a:pt x="98" y="36"/>
                    </a:cubicBezTo>
                    <a:cubicBezTo>
                      <a:pt x="91" y="42"/>
                      <a:pt x="83" y="47"/>
                      <a:pt x="75" y="51"/>
                    </a:cubicBezTo>
                    <a:cubicBezTo>
                      <a:pt x="75" y="51"/>
                      <a:pt x="75" y="51"/>
                      <a:pt x="75" y="51"/>
                    </a:cubicBezTo>
                    <a:cubicBezTo>
                      <a:pt x="75" y="46"/>
                      <a:pt x="74" y="42"/>
                      <a:pt x="73" y="38"/>
                    </a:cubicBezTo>
                    <a:cubicBezTo>
                      <a:pt x="73" y="37"/>
                      <a:pt x="73" y="36"/>
                      <a:pt x="73" y="35"/>
                    </a:cubicBezTo>
                    <a:close/>
                  </a:path>
                </a:pathLst>
              </a:custGeom>
              <a:solidFill>
                <a:srgbClr val="6B4A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" name="íṣľiḋé"/>
              <p:cNvSpPr/>
              <p:nvPr/>
            </p:nvSpPr>
            <p:spPr bwMode="auto">
              <a:xfrm>
                <a:off x="7308941" y="3718465"/>
                <a:ext cx="91464" cy="304876"/>
              </a:xfrm>
              <a:custGeom>
                <a:avLst/>
                <a:gdLst>
                  <a:gd name="T0" fmla="*/ 4 w 13"/>
                  <a:gd name="T1" fmla="*/ 24 h 43"/>
                  <a:gd name="T2" fmla="*/ 4 w 13"/>
                  <a:gd name="T3" fmla="*/ 24 h 43"/>
                  <a:gd name="T4" fmla="*/ 6 w 13"/>
                  <a:gd name="T5" fmla="*/ 22 h 43"/>
                  <a:gd name="T6" fmla="*/ 6 w 13"/>
                  <a:gd name="T7" fmla="*/ 0 h 43"/>
                  <a:gd name="T8" fmla="*/ 8 w 13"/>
                  <a:gd name="T9" fmla="*/ 3 h 43"/>
                  <a:gd name="T10" fmla="*/ 12 w 13"/>
                  <a:gd name="T11" fmla="*/ 22 h 43"/>
                  <a:gd name="T12" fmla="*/ 4 w 13"/>
                  <a:gd name="T13" fmla="*/ 39 h 43"/>
                  <a:gd name="T14" fmla="*/ 0 w 13"/>
                  <a:gd name="T15" fmla="*/ 43 h 43"/>
                  <a:gd name="T16" fmla="*/ 4 w 13"/>
                  <a:gd name="T17" fmla="*/ 2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43">
                    <a:moveTo>
                      <a:pt x="4" y="24"/>
                    </a:moveTo>
                    <a:cubicBezTo>
                      <a:pt x="4" y="24"/>
                      <a:pt x="4" y="24"/>
                      <a:pt x="4" y="24"/>
                    </a:cubicBezTo>
                    <a:cubicBezTo>
                      <a:pt x="5" y="24"/>
                      <a:pt x="6" y="23"/>
                      <a:pt x="6" y="22"/>
                    </a:cubicBezTo>
                    <a:cubicBezTo>
                      <a:pt x="8" y="15"/>
                      <a:pt x="7" y="8"/>
                      <a:pt x="6" y="0"/>
                    </a:cubicBezTo>
                    <a:cubicBezTo>
                      <a:pt x="7" y="1"/>
                      <a:pt x="8" y="2"/>
                      <a:pt x="8" y="3"/>
                    </a:cubicBezTo>
                    <a:cubicBezTo>
                      <a:pt x="12" y="9"/>
                      <a:pt x="13" y="16"/>
                      <a:pt x="12" y="22"/>
                    </a:cubicBezTo>
                    <a:cubicBezTo>
                      <a:pt x="12" y="29"/>
                      <a:pt x="7" y="34"/>
                      <a:pt x="4" y="39"/>
                    </a:cubicBezTo>
                    <a:cubicBezTo>
                      <a:pt x="3" y="40"/>
                      <a:pt x="1" y="42"/>
                      <a:pt x="0" y="43"/>
                    </a:cubicBezTo>
                    <a:cubicBezTo>
                      <a:pt x="2" y="37"/>
                      <a:pt x="3" y="31"/>
                      <a:pt x="4" y="24"/>
                    </a:cubicBezTo>
                    <a:close/>
                  </a:path>
                </a:pathLst>
              </a:custGeom>
              <a:solidFill>
                <a:srgbClr val="EB86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" name="íšļïḋe"/>
              <p:cNvSpPr/>
              <p:nvPr/>
            </p:nvSpPr>
            <p:spPr bwMode="auto">
              <a:xfrm>
                <a:off x="4155171" y="3952202"/>
                <a:ext cx="873977" cy="352301"/>
              </a:xfrm>
              <a:custGeom>
                <a:avLst/>
                <a:gdLst>
                  <a:gd name="T0" fmla="*/ 119 w 124"/>
                  <a:gd name="T1" fmla="*/ 31 h 50"/>
                  <a:gd name="T2" fmla="*/ 112 w 124"/>
                  <a:gd name="T3" fmla="*/ 36 h 50"/>
                  <a:gd name="T4" fmla="*/ 101 w 124"/>
                  <a:gd name="T5" fmla="*/ 6 h 50"/>
                  <a:gd name="T6" fmla="*/ 108 w 124"/>
                  <a:gd name="T7" fmla="*/ 0 h 50"/>
                  <a:gd name="T8" fmla="*/ 122 w 124"/>
                  <a:gd name="T9" fmla="*/ 26 h 50"/>
                  <a:gd name="T10" fmla="*/ 119 w 124"/>
                  <a:gd name="T11" fmla="*/ 31 h 50"/>
                  <a:gd name="T12" fmla="*/ 0 w 124"/>
                  <a:gd name="T13" fmla="*/ 24 h 50"/>
                  <a:gd name="T14" fmla="*/ 22 w 124"/>
                  <a:gd name="T15" fmla="*/ 9 h 50"/>
                  <a:gd name="T16" fmla="*/ 15 w 124"/>
                  <a:gd name="T17" fmla="*/ 18 h 50"/>
                  <a:gd name="T18" fmla="*/ 7 w 124"/>
                  <a:gd name="T19" fmla="*/ 28 h 50"/>
                  <a:gd name="T20" fmla="*/ 13 w 124"/>
                  <a:gd name="T21" fmla="*/ 33 h 50"/>
                  <a:gd name="T22" fmla="*/ 12 w 124"/>
                  <a:gd name="T23" fmla="*/ 32 h 50"/>
                  <a:gd name="T24" fmla="*/ 26 w 124"/>
                  <a:gd name="T25" fmla="*/ 14 h 50"/>
                  <a:gd name="T26" fmla="*/ 33 w 124"/>
                  <a:gd name="T27" fmla="*/ 14 h 50"/>
                  <a:gd name="T28" fmla="*/ 35 w 124"/>
                  <a:gd name="T29" fmla="*/ 27 h 50"/>
                  <a:gd name="T30" fmla="*/ 13 w 124"/>
                  <a:gd name="T31" fmla="*/ 33 h 50"/>
                  <a:gd name="T32" fmla="*/ 30 w 124"/>
                  <a:gd name="T33" fmla="*/ 44 h 50"/>
                  <a:gd name="T34" fmla="*/ 41 w 124"/>
                  <a:gd name="T35" fmla="*/ 23 h 50"/>
                  <a:gd name="T36" fmla="*/ 57 w 124"/>
                  <a:gd name="T37" fmla="*/ 18 h 50"/>
                  <a:gd name="T38" fmla="*/ 48 w 124"/>
                  <a:gd name="T39" fmla="*/ 49 h 50"/>
                  <a:gd name="T40" fmla="*/ 51 w 124"/>
                  <a:gd name="T41" fmla="*/ 49 h 50"/>
                  <a:gd name="T42" fmla="*/ 57 w 124"/>
                  <a:gd name="T43" fmla="*/ 36 h 50"/>
                  <a:gd name="T44" fmla="*/ 59 w 124"/>
                  <a:gd name="T45" fmla="*/ 18 h 50"/>
                  <a:gd name="T46" fmla="*/ 69 w 124"/>
                  <a:gd name="T47" fmla="*/ 18 h 50"/>
                  <a:gd name="T48" fmla="*/ 69 w 124"/>
                  <a:gd name="T49" fmla="*/ 49 h 50"/>
                  <a:gd name="T50" fmla="*/ 72 w 124"/>
                  <a:gd name="T51" fmla="*/ 49 h 50"/>
                  <a:gd name="T52" fmla="*/ 73 w 124"/>
                  <a:gd name="T53" fmla="*/ 30 h 50"/>
                  <a:gd name="T54" fmla="*/ 85 w 124"/>
                  <a:gd name="T55" fmla="*/ 14 h 50"/>
                  <a:gd name="T56" fmla="*/ 88 w 124"/>
                  <a:gd name="T57" fmla="*/ 28 h 50"/>
                  <a:gd name="T58" fmla="*/ 91 w 124"/>
                  <a:gd name="T59" fmla="*/ 48 h 50"/>
                  <a:gd name="T60" fmla="*/ 72 w 124"/>
                  <a:gd name="T61" fmla="*/ 49 h 50"/>
                  <a:gd name="T62" fmla="*/ 105 w 124"/>
                  <a:gd name="T63" fmla="*/ 41 h 50"/>
                  <a:gd name="T64" fmla="*/ 94 w 124"/>
                  <a:gd name="T65" fmla="*/ 28 h 50"/>
                  <a:gd name="T66" fmla="*/ 90 w 124"/>
                  <a:gd name="T67" fmla="*/ 12 h 50"/>
                  <a:gd name="T68" fmla="*/ 96 w 124"/>
                  <a:gd name="T69" fmla="*/ 9 h 50"/>
                  <a:gd name="T70" fmla="*/ 109 w 124"/>
                  <a:gd name="T71" fmla="*/ 37 h 50"/>
                  <a:gd name="T72" fmla="*/ 105 w 124"/>
                  <a:gd name="T73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4" h="50">
                    <a:moveTo>
                      <a:pt x="119" y="31"/>
                    </a:moveTo>
                    <a:cubicBezTo>
                      <a:pt x="119" y="31"/>
                      <a:pt x="119" y="31"/>
                      <a:pt x="119" y="31"/>
                    </a:cubicBezTo>
                    <a:cubicBezTo>
                      <a:pt x="117" y="33"/>
                      <a:pt x="114" y="35"/>
                      <a:pt x="112" y="37"/>
                    </a:cubicBezTo>
                    <a:cubicBezTo>
                      <a:pt x="112" y="37"/>
                      <a:pt x="112" y="36"/>
                      <a:pt x="112" y="36"/>
                    </a:cubicBezTo>
                    <a:cubicBezTo>
                      <a:pt x="110" y="29"/>
                      <a:pt x="107" y="22"/>
                      <a:pt x="104" y="15"/>
                    </a:cubicBezTo>
                    <a:cubicBezTo>
                      <a:pt x="103" y="12"/>
                      <a:pt x="102" y="9"/>
                      <a:pt x="101" y="6"/>
                    </a:cubicBezTo>
                    <a:cubicBezTo>
                      <a:pt x="103" y="4"/>
                      <a:pt x="105" y="3"/>
                      <a:pt x="107" y="1"/>
                    </a:cubicBezTo>
                    <a:cubicBezTo>
                      <a:pt x="107" y="1"/>
                      <a:pt x="107" y="0"/>
                      <a:pt x="108" y="0"/>
                    </a:cubicBezTo>
                    <a:cubicBezTo>
                      <a:pt x="108" y="1"/>
                      <a:pt x="108" y="2"/>
                      <a:pt x="108" y="4"/>
                    </a:cubicBezTo>
                    <a:cubicBezTo>
                      <a:pt x="110" y="12"/>
                      <a:pt x="115" y="20"/>
                      <a:pt x="122" y="26"/>
                    </a:cubicBezTo>
                    <a:cubicBezTo>
                      <a:pt x="123" y="27"/>
                      <a:pt x="123" y="27"/>
                      <a:pt x="124" y="28"/>
                    </a:cubicBezTo>
                    <a:cubicBezTo>
                      <a:pt x="123" y="29"/>
                      <a:pt x="121" y="30"/>
                      <a:pt x="119" y="31"/>
                    </a:cubicBezTo>
                    <a:close/>
                    <a:moveTo>
                      <a:pt x="0" y="24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7" y="19"/>
                      <a:pt x="12" y="13"/>
                      <a:pt x="16" y="5"/>
                    </a:cubicBezTo>
                    <a:cubicBezTo>
                      <a:pt x="18" y="7"/>
                      <a:pt x="20" y="8"/>
                      <a:pt x="22" y="9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0" y="12"/>
                      <a:pt x="17" y="15"/>
                      <a:pt x="15" y="18"/>
                    </a:cubicBezTo>
                    <a:cubicBezTo>
                      <a:pt x="13" y="20"/>
                      <a:pt x="11" y="23"/>
                      <a:pt x="9" y="26"/>
                    </a:cubicBezTo>
                    <a:cubicBezTo>
                      <a:pt x="8" y="27"/>
                      <a:pt x="8" y="27"/>
                      <a:pt x="7" y="28"/>
                    </a:cubicBezTo>
                    <a:cubicBezTo>
                      <a:pt x="5" y="26"/>
                      <a:pt x="3" y="25"/>
                      <a:pt x="0" y="24"/>
                    </a:cubicBezTo>
                    <a:close/>
                    <a:moveTo>
                      <a:pt x="13" y="33"/>
                    </a:moveTo>
                    <a:cubicBezTo>
                      <a:pt x="13" y="33"/>
                      <a:pt x="13" y="33"/>
                      <a:pt x="13" y="33"/>
                    </a:cubicBezTo>
                    <a:cubicBezTo>
                      <a:pt x="13" y="32"/>
                      <a:pt x="12" y="32"/>
                      <a:pt x="12" y="32"/>
                    </a:cubicBezTo>
                    <a:cubicBezTo>
                      <a:pt x="14" y="28"/>
                      <a:pt x="17" y="25"/>
                      <a:pt x="20" y="22"/>
                    </a:cubicBezTo>
                    <a:cubicBezTo>
                      <a:pt x="22" y="19"/>
                      <a:pt x="24" y="17"/>
                      <a:pt x="26" y="14"/>
                    </a:cubicBezTo>
                    <a:cubicBezTo>
                      <a:pt x="27" y="14"/>
                      <a:pt x="28" y="13"/>
                      <a:pt x="28" y="12"/>
                    </a:cubicBezTo>
                    <a:cubicBezTo>
                      <a:pt x="30" y="13"/>
                      <a:pt x="32" y="13"/>
                      <a:pt x="33" y="14"/>
                    </a:cubicBezTo>
                    <a:cubicBezTo>
                      <a:pt x="35" y="15"/>
                      <a:pt x="38" y="15"/>
                      <a:pt x="40" y="16"/>
                    </a:cubicBezTo>
                    <a:cubicBezTo>
                      <a:pt x="38" y="19"/>
                      <a:pt x="36" y="24"/>
                      <a:pt x="35" y="27"/>
                    </a:cubicBezTo>
                    <a:cubicBezTo>
                      <a:pt x="33" y="32"/>
                      <a:pt x="31" y="38"/>
                      <a:pt x="27" y="42"/>
                    </a:cubicBezTo>
                    <a:cubicBezTo>
                      <a:pt x="22" y="39"/>
                      <a:pt x="18" y="36"/>
                      <a:pt x="13" y="33"/>
                    </a:cubicBezTo>
                    <a:close/>
                    <a:moveTo>
                      <a:pt x="30" y="44"/>
                    </a:moveTo>
                    <a:cubicBezTo>
                      <a:pt x="30" y="44"/>
                      <a:pt x="30" y="44"/>
                      <a:pt x="30" y="44"/>
                    </a:cubicBezTo>
                    <a:cubicBezTo>
                      <a:pt x="34" y="40"/>
                      <a:pt x="36" y="35"/>
                      <a:pt x="38" y="31"/>
                    </a:cubicBezTo>
                    <a:cubicBezTo>
                      <a:pt x="40" y="28"/>
                      <a:pt x="40" y="26"/>
                      <a:pt x="41" y="23"/>
                    </a:cubicBezTo>
                    <a:cubicBezTo>
                      <a:pt x="42" y="21"/>
                      <a:pt x="43" y="19"/>
                      <a:pt x="44" y="17"/>
                    </a:cubicBezTo>
                    <a:cubicBezTo>
                      <a:pt x="48" y="18"/>
                      <a:pt x="52" y="18"/>
                      <a:pt x="57" y="18"/>
                    </a:cubicBezTo>
                    <a:cubicBezTo>
                      <a:pt x="54" y="22"/>
                      <a:pt x="53" y="28"/>
                      <a:pt x="52" y="32"/>
                    </a:cubicBezTo>
                    <a:cubicBezTo>
                      <a:pt x="51" y="38"/>
                      <a:pt x="50" y="44"/>
                      <a:pt x="48" y="49"/>
                    </a:cubicBezTo>
                    <a:cubicBezTo>
                      <a:pt x="42" y="48"/>
                      <a:pt x="36" y="46"/>
                      <a:pt x="30" y="44"/>
                    </a:cubicBezTo>
                    <a:close/>
                    <a:moveTo>
                      <a:pt x="51" y="49"/>
                    </a:moveTo>
                    <a:cubicBezTo>
                      <a:pt x="51" y="49"/>
                      <a:pt x="51" y="49"/>
                      <a:pt x="51" y="49"/>
                    </a:cubicBezTo>
                    <a:cubicBezTo>
                      <a:pt x="54" y="45"/>
                      <a:pt x="55" y="41"/>
                      <a:pt x="57" y="36"/>
                    </a:cubicBezTo>
                    <a:cubicBezTo>
                      <a:pt x="58" y="31"/>
                      <a:pt x="60" y="24"/>
                      <a:pt x="60" y="19"/>
                    </a:cubicBezTo>
                    <a:cubicBezTo>
                      <a:pt x="60" y="19"/>
                      <a:pt x="60" y="19"/>
                      <a:pt x="59" y="18"/>
                    </a:cubicBezTo>
                    <a:cubicBezTo>
                      <a:pt x="61" y="18"/>
                      <a:pt x="63" y="18"/>
                      <a:pt x="65" y="18"/>
                    </a:cubicBezTo>
                    <a:cubicBezTo>
                      <a:pt x="66" y="18"/>
                      <a:pt x="68" y="18"/>
                      <a:pt x="69" y="18"/>
                    </a:cubicBezTo>
                    <a:cubicBezTo>
                      <a:pt x="68" y="22"/>
                      <a:pt x="69" y="26"/>
                      <a:pt x="68" y="30"/>
                    </a:cubicBezTo>
                    <a:cubicBezTo>
                      <a:pt x="68" y="36"/>
                      <a:pt x="68" y="43"/>
                      <a:pt x="69" y="49"/>
                    </a:cubicBezTo>
                    <a:cubicBezTo>
                      <a:pt x="63" y="49"/>
                      <a:pt x="57" y="49"/>
                      <a:pt x="51" y="49"/>
                    </a:cubicBezTo>
                    <a:close/>
                    <a:moveTo>
                      <a:pt x="72" y="49"/>
                    </a:moveTo>
                    <a:cubicBezTo>
                      <a:pt x="72" y="49"/>
                      <a:pt x="72" y="49"/>
                      <a:pt x="72" y="49"/>
                    </a:cubicBezTo>
                    <a:cubicBezTo>
                      <a:pt x="73" y="43"/>
                      <a:pt x="73" y="36"/>
                      <a:pt x="73" y="30"/>
                    </a:cubicBezTo>
                    <a:cubicBezTo>
                      <a:pt x="74" y="26"/>
                      <a:pt x="75" y="21"/>
                      <a:pt x="74" y="17"/>
                    </a:cubicBezTo>
                    <a:cubicBezTo>
                      <a:pt x="78" y="16"/>
                      <a:pt x="81" y="15"/>
                      <a:pt x="85" y="14"/>
                    </a:cubicBezTo>
                    <a:cubicBezTo>
                      <a:pt x="85" y="15"/>
                      <a:pt x="85" y="17"/>
                      <a:pt x="86" y="18"/>
                    </a:cubicBezTo>
                    <a:cubicBezTo>
                      <a:pt x="86" y="21"/>
                      <a:pt x="87" y="24"/>
                      <a:pt x="88" y="28"/>
                    </a:cubicBezTo>
                    <a:cubicBezTo>
                      <a:pt x="89" y="34"/>
                      <a:pt x="89" y="41"/>
                      <a:pt x="91" y="47"/>
                    </a:cubicBezTo>
                    <a:cubicBezTo>
                      <a:pt x="91" y="48"/>
                      <a:pt x="91" y="48"/>
                      <a:pt x="91" y="48"/>
                    </a:cubicBezTo>
                    <a:cubicBezTo>
                      <a:pt x="91" y="48"/>
                      <a:pt x="90" y="48"/>
                      <a:pt x="90" y="48"/>
                    </a:cubicBezTo>
                    <a:cubicBezTo>
                      <a:pt x="84" y="50"/>
                      <a:pt x="78" y="49"/>
                      <a:pt x="72" y="49"/>
                    </a:cubicBezTo>
                    <a:close/>
                    <a:moveTo>
                      <a:pt x="105" y="41"/>
                    </a:moveTo>
                    <a:cubicBezTo>
                      <a:pt x="105" y="41"/>
                      <a:pt x="105" y="41"/>
                      <a:pt x="105" y="41"/>
                    </a:cubicBezTo>
                    <a:cubicBezTo>
                      <a:pt x="102" y="44"/>
                      <a:pt x="98" y="46"/>
                      <a:pt x="94" y="47"/>
                    </a:cubicBezTo>
                    <a:cubicBezTo>
                      <a:pt x="95" y="41"/>
                      <a:pt x="95" y="34"/>
                      <a:pt x="94" y="28"/>
                    </a:cubicBezTo>
                    <a:cubicBezTo>
                      <a:pt x="93" y="24"/>
                      <a:pt x="93" y="21"/>
                      <a:pt x="92" y="18"/>
                    </a:cubicBezTo>
                    <a:cubicBezTo>
                      <a:pt x="91" y="16"/>
                      <a:pt x="91" y="14"/>
                      <a:pt x="90" y="12"/>
                    </a:cubicBezTo>
                    <a:cubicBezTo>
                      <a:pt x="92" y="11"/>
                      <a:pt x="93" y="10"/>
                      <a:pt x="95" y="9"/>
                    </a:cubicBezTo>
                    <a:cubicBezTo>
                      <a:pt x="95" y="9"/>
                      <a:pt x="96" y="9"/>
                      <a:pt x="96" y="9"/>
                    </a:cubicBezTo>
                    <a:cubicBezTo>
                      <a:pt x="97" y="12"/>
                      <a:pt x="98" y="15"/>
                      <a:pt x="100" y="18"/>
                    </a:cubicBezTo>
                    <a:cubicBezTo>
                      <a:pt x="102" y="25"/>
                      <a:pt x="104" y="32"/>
                      <a:pt x="109" y="37"/>
                    </a:cubicBezTo>
                    <a:cubicBezTo>
                      <a:pt x="109" y="38"/>
                      <a:pt x="110" y="38"/>
                      <a:pt x="110" y="38"/>
                    </a:cubicBezTo>
                    <a:cubicBezTo>
                      <a:pt x="109" y="39"/>
                      <a:pt x="107" y="40"/>
                      <a:pt x="105" y="41"/>
                    </a:cubicBezTo>
                    <a:close/>
                  </a:path>
                </a:pathLst>
              </a:custGeom>
              <a:solidFill>
                <a:srgbClr val="8A63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" name="i$ļïḑê"/>
              <p:cNvSpPr/>
              <p:nvPr/>
            </p:nvSpPr>
            <p:spPr bwMode="auto">
              <a:xfrm>
                <a:off x="4155171" y="4036891"/>
                <a:ext cx="873977" cy="267614"/>
              </a:xfrm>
              <a:custGeom>
                <a:avLst/>
                <a:gdLst>
                  <a:gd name="T0" fmla="*/ 119 w 124"/>
                  <a:gd name="T1" fmla="*/ 19 h 38"/>
                  <a:gd name="T2" fmla="*/ 119 w 124"/>
                  <a:gd name="T3" fmla="*/ 19 h 38"/>
                  <a:gd name="T4" fmla="*/ 112 w 124"/>
                  <a:gd name="T5" fmla="*/ 25 h 38"/>
                  <a:gd name="T6" fmla="*/ 112 w 124"/>
                  <a:gd name="T7" fmla="*/ 24 h 38"/>
                  <a:gd name="T8" fmla="*/ 107 w 124"/>
                  <a:gd name="T9" fmla="*/ 11 h 38"/>
                  <a:gd name="T10" fmla="*/ 115 w 124"/>
                  <a:gd name="T11" fmla="*/ 6 h 38"/>
                  <a:gd name="T12" fmla="*/ 122 w 124"/>
                  <a:gd name="T13" fmla="*/ 14 h 38"/>
                  <a:gd name="T14" fmla="*/ 124 w 124"/>
                  <a:gd name="T15" fmla="*/ 16 h 38"/>
                  <a:gd name="T16" fmla="*/ 119 w 124"/>
                  <a:gd name="T17" fmla="*/ 19 h 38"/>
                  <a:gd name="T18" fmla="*/ 12 w 124"/>
                  <a:gd name="T19" fmla="*/ 0 h 38"/>
                  <a:gd name="T20" fmla="*/ 16 w 124"/>
                  <a:gd name="T21" fmla="*/ 5 h 38"/>
                  <a:gd name="T22" fmla="*/ 15 w 124"/>
                  <a:gd name="T23" fmla="*/ 6 h 38"/>
                  <a:gd name="T24" fmla="*/ 9 w 124"/>
                  <a:gd name="T25" fmla="*/ 14 h 38"/>
                  <a:gd name="T26" fmla="*/ 7 w 124"/>
                  <a:gd name="T27" fmla="*/ 16 h 38"/>
                  <a:gd name="T28" fmla="*/ 0 w 124"/>
                  <a:gd name="T29" fmla="*/ 12 h 38"/>
                  <a:gd name="T30" fmla="*/ 0 w 124"/>
                  <a:gd name="T31" fmla="*/ 12 h 38"/>
                  <a:gd name="T32" fmla="*/ 12 w 124"/>
                  <a:gd name="T33" fmla="*/ 0 h 38"/>
                  <a:gd name="T34" fmla="*/ 21 w 124"/>
                  <a:gd name="T35" fmla="*/ 9 h 38"/>
                  <a:gd name="T36" fmla="*/ 34 w 124"/>
                  <a:gd name="T37" fmla="*/ 18 h 38"/>
                  <a:gd name="T38" fmla="*/ 27 w 124"/>
                  <a:gd name="T39" fmla="*/ 30 h 38"/>
                  <a:gd name="T40" fmla="*/ 13 w 124"/>
                  <a:gd name="T41" fmla="*/ 21 h 38"/>
                  <a:gd name="T42" fmla="*/ 13 w 124"/>
                  <a:gd name="T43" fmla="*/ 21 h 38"/>
                  <a:gd name="T44" fmla="*/ 12 w 124"/>
                  <a:gd name="T45" fmla="*/ 20 h 38"/>
                  <a:gd name="T46" fmla="*/ 20 w 124"/>
                  <a:gd name="T47" fmla="*/ 10 h 38"/>
                  <a:gd name="T48" fmla="*/ 21 w 124"/>
                  <a:gd name="T49" fmla="*/ 9 h 38"/>
                  <a:gd name="T50" fmla="*/ 38 w 124"/>
                  <a:gd name="T51" fmla="*/ 20 h 38"/>
                  <a:gd name="T52" fmla="*/ 52 w 124"/>
                  <a:gd name="T53" fmla="*/ 24 h 38"/>
                  <a:gd name="T54" fmla="*/ 48 w 124"/>
                  <a:gd name="T55" fmla="*/ 37 h 38"/>
                  <a:gd name="T56" fmla="*/ 30 w 124"/>
                  <a:gd name="T57" fmla="*/ 32 h 38"/>
                  <a:gd name="T58" fmla="*/ 30 w 124"/>
                  <a:gd name="T59" fmla="*/ 32 h 38"/>
                  <a:gd name="T60" fmla="*/ 38 w 124"/>
                  <a:gd name="T61" fmla="*/ 20 h 38"/>
                  <a:gd name="T62" fmla="*/ 56 w 124"/>
                  <a:gd name="T63" fmla="*/ 25 h 38"/>
                  <a:gd name="T64" fmla="*/ 68 w 124"/>
                  <a:gd name="T65" fmla="*/ 25 h 38"/>
                  <a:gd name="T66" fmla="*/ 69 w 124"/>
                  <a:gd name="T67" fmla="*/ 37 h 38"/>
                  <a:gd name="T68" fmla="*/ 51 w 124"/>
                  <a:gd name="T69" fmla="*/ 37 h 38"/>
                  <a:gd name="T70" fmla="*/ 51 w 124"/>
                  <a:gd name="T71" fmla="*/ 37 h 38"/>
                  <a:gd name="T72" fmla="*/ 56 w 124"/>
                  <a:gd name="T73" fmla="*/ 25 h 38"/>
                  <a:gd name="T74" fmla="*/ 73 w 124"/>
                  <a:gd name="T75" fmla="*/ 24 h 38"/>
                  <a:gd name="T76" fmla="*/ 88 w 124"/>
                  <a:gd name="T77" fmla="*/ 20 h 38"/>
                  <a:gd name="T78" fmla="*/ 91 w 124"/>
                  <a:gd name="T79" fmla="*/ 35 h 38"/>
                  <a:gd name="T80" fmla="*/ 91 w 124"/>
                  <a:gd name="T81" fmla="*/ 36 h 38"/>
                  <a:gd name="T82" fmla="*/ 90 w 124"/>
                  <a:gd name="T83" fmla="*/ 36 h 38"/>
                  <a:gd name="T84" fmla="*/ 72 w 124"/>
                  <a:gd name="T85" fmla="*/ 37 h 38"/>
                  <a:gd name="T86" fmla="*/ 72 w 124"/>
                  <a:gd name="T87" fmla="*/ 37 h 38"/>
                  <a:gd name="T88" fmla="*/ 73 w 124"/>
                  <a:gd name="T89" fmla="*/ 24 h 38"/>
                  <a:gd name="T90" fmla="*/ 94 w 124"/>
                  <a:gd name="T91" fmla="*/ 18 h 38"/>
                  <a:gd name="T92" fmla="*/ 103 w 124"/>
                  <a:gd name="T93" fmla="*/ 14 h 38"/>
                  <a:gd name="T94" fmla="*/ 109 w 124"/>
                  <a:gd name="T95" fmla="*/ 25 h 38"/>
                  <a:gd name="T96" fmla="*/ 110 w 124"/>
                  <a:gd name="T97" fmla="*/ 26 h 38"/>
                  <a:gd name="T98" fmla="*/ 105 w 124"/>
                  <a:gd name="T99" fmla="*/ 29 h 38"/>
                  <a:gd name="T100" fmla="*/ 105 w 124"/>
                  <a:gd name="T101" fmla="*/ 29 h 38"/>
                  <a:gd name="T102" fmla="*/ 94 w 124"/>
                  <a:gd name="T103" fmla="*/ 35 h 38"/>
                  <a:gd name="T104" fmla="*/ 94 w 124"/>
                  <a:gd name="T105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4" h="38">
                    <a:moveTo>
                      <a:pt x="119" y="19"/>
                    </a:moveTo>
                    <a:cubicBezTo>
                      <a:pt x="119" y="19"/>
                      <a:pt x="119" y="19"/>
                      <a:pt x="119" y="19"/>
                    </a:cubicBezTo>
                    <a:cubicBezTo>
                      <a:pt x="117" y="21"/>
                      <a:pt x="114" y="23"/>
                      <a:pt x="112" y="25"/>
                    </a:cubicBezTo>
                    <a:cubicBezTo>
                      <a:pt x="112" y="25"/>
                      <a:pt x="112" y="24"/>
                      <a:pt x="112" y="24"/>
                    </a:cubicBezTo>
                    <a:cubicBezTo>
                      <a:pt x="111" y="20"/>
                      <a:pt x="109" y="16"/>
                      <a:pt x="107" y="11"/>
                    </a:cubicBezTo>
                    <a:cubicBezTo>
                      <a:pt x="110" y="10"/>
                      <a:pt x="113" y="8"/>
                      <a:pt x="115" y="6"/>
                    </a:cubicBezTo>
                    <a:cubicBezTo>
                      <a:pt x="117" y="9"/>
                      <a:pt x="119" y="12"/>
                      <a:pt x="122" y="14"/>
                    </a:cubicBezTo>
                    <a:cubicBezTo>
                      <a:pt x="123" y="15"/>
                      <a:pt x="123" y="15"/>
                      <a:pt x="124" y="16"/>
                    </a:cubicBezTo>
                    <a:cubicBezTo>
                      <a:pt x="123" y="17"/>
                      <a:pt x="121" y="18"/>
                      <a:pt x="119" y="19"/>
                    </a:cubicBezTo>
                    <a:close/>
                    <a:moveTo>
                      <a:pt x="12" y="0"/>
                    </a:moveTo>
                    <a:cubicBezTo>
                      <a:pt x="13" y="2"/>
                      <a:pt x="14" y="3"/>
                      <a:pt x="16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3" y="8"/>
                      <a:pt x="11" y="11"/>
                      <a:pt x="9" y="14"/>
                    </a:cubicBezTo>
                    <a:cubicBezTo>
                      <a:pt x="8" y="15"/>
                      <a:pt x="8" y="15"/>
                      <a:pt x="7" y="16"/>
                    </a:cubicBezTo>
                    <a:cubicBezTo>
                      <a:pt x="5" y="14"/>
                      <a:pt x="3" y="13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5" y="9"/>
                      <a:pt x="9" y="5"/>
                      <a:pt x="12" y="0"/>
                    </a:cubicBezTo>
                    <a:close/>
                    <a:moveTo>
                      <a:pt x="21" y="9"/>
                    </a:moveTo>
                    <a:cubicBezTo>
                      <a:pt x="24" y="12"/>
                      <a:pt x="29" y="15"/>
                      <a:pt x="34" y="18"/>
                    </a:cubicBezTo>
                    <a:cubicBezTo>
                      <a:pt x="32" y="22"/>
                      <a:pt x="30" y="26"/>
                      <a:pt x="27" y="30"/>
                    </a:cubicBezTo>
                    <a:cubicBezTo>
                      <a:pt x="22" y="27"/>
                      <a:pt x="18" y="24"/>
                      <a:pt x="13" y="21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20"/>
                      <a:pt x="12" y="20"/>
                      <a:pt x="12" y="20"/>
                    </a:cubicBezTo>
                    <a:cubicBezTo>
                      <a:pt x="14" y="16"/>
                      <a:pt x="17" y="13"/>
                      <a:pt x="20" y="10"/>
                    </a:cubicBezTo>
                    <a:lnTo>
                      <a:pt x="21" y="9"/>
                    </a:lnTo>
                    <a:close/>
                    <a:moveTo>
                      <a:pt x="38" y="20"/>
                    </a:moveTo>
                    <a:cubicBezTo>
                      <a:pt x="42" y="21"/>
                      <a:pt x="47" y="23"/>
                      <a:pt x="52" y="24"/>
                    </a:cubicBezTo>
                    <a:cubicBezTo>
                      <a:pt x="51" y="28"/>
                      <a:pt x="49" y="33"/>
                      <a:pt x="48" y="37"/>
                    </a:cubicBezTo>
                    <a:cubicBezTo>
                      <a:pt x="42" y="36"/>
                      <a:pt x="36" y="34"/>
                      <a:pt x="30" y="32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4" y="28"/>
                      <a:pt x="36" y="24"/>
                      <a:pt x="38" y="20"/>
                    </a:cubicBezTo>
                    <a:close/>
                    <a:moveTo>
                      <a:pt x="56" y="25"/>
                    </a:moveTo>
                    <a:cubicBezTo>
                      <a:pt x="60" y="25"/>
                      <a:pt x="64" y="25"/>
                      <a:pt x="68" y="25"/>
                    </a:cubicBezTo>
                    <a:cubicBezTo>
                      <a:pt x="68" y="29"/>
                      <a:pt x="68" y="33"/>
                      <a:pt x="69" y="37"/>
                    </a:cubicBezTo>
                    <a:cubicBezTo>
                      <a:pt x="63" y="37"/>
                      <a:pt x="57" y="37"/>
                      <a:pt x="51" y="37"/>
                    </a:cubicBezTo>
                    <a:cubicBezTo>
                      <a:pt x="51" y="37"/>
                      <a:pt x="51" y="37"/>
                      <a:pt x="51" y="37"/>
                    </a:cubicBezTo>
                    <a:cubicBezTo>
                      <a:pt x="53" y="33"/>
                      <a:pt x="55" y="29"/>
                      <a:pt x="56" y="25"/>
                    </a:cubicBezTo>
                    <a:close/>
                    <a:moveTo>
                      <a:pt x="73" y="24"/>
                    </a:moveTo>
                    <a:cubicBezTo>
                      <a:pt x="78" y="24"/>
                      <a:pt x="83" y="22"/>
                      <a:pt x="88" y="20"/>
                    </a:cubicBezTo>
                    <a:cubicBezTo>
                      <a:pt x="89" y="25"/>
                      <a:pt x="89" y="30"/>
                      <a:pt x="91" y="35"/>
                    </a:cubicBezTo>
                    <a:cubicBezTo>
                      <a:pt x="91" y="36"/>
                      <a:pt x="91" y="36"/>
                      <a:pt x="91" y="36"/>
                    </a:cubicBezTo>
                    <a:cubicBezTo>
                      <a:pt x="91" y="36"/>
                      <a:pt x="90" y="36"/>
                      <a:pt x="90" y="36"/>
                    </a:cubicBezTo>
                    <a:cubicBezTo>
                      <a:pt x="84" y="38"/>
                      <a:pt x="78" y="37"/>
                      <a:pt x="72" y="37"/>
                    </a:cubicBezTo>
                    <a:cubicBezTo>
                      <a:pt x="72" y="37"/>
                      <a:pt x="72" y="37"/>
                      <a:pt x="72" y="37"/>
                    </a:cubicBezTo>
                    <a:cubicBezTo>
                      <a:pt x="72" y="33"/>
                      <a:pt x="73" y="29"/>
                      <a:pt x="73" y="24"/>
                    </a:cubicBezTo>
                    <a:close/>
                    <a:moveTo>
                      <a:pt x="94" y="18"/>
                    </a:moveTo>
                    <a:cubicBezTo>
                      <a:pt x="97" y="17"/>
                      <a:pt x="100" y="16"/>
                      <a:pt x="103" y="14"/>
                    </a:cubicBezTo>
                    <a:cubicBezTo>
                      <a:pt x="104" y="18"/>
                      <a:pt x="106" y="22"/>
                      <a:pt x="109" y="25"/>
                    </a:cubicBezTo>
                    <a:cubicBezTo>
                      <a:pt x="109" y="26"/>
                      <a:pt x="110" y="26"/>
                      <a:pt x="110" y="26"/>
                    </a:cubicBezTo>
                    <a:cubicBezTo>
                      <a:pt x="109" y="27"/>
                      <a:pt x="107" y="28"/>
                      <a:pt x="105" y="29"/>
                    </a:cubicBezTo>
                    <a:cubicBezTo>
                      <a:pt x="105" y="29"/>
                      <a:pt x="105" y="29"/>
                      <a:pt x="105" y="29"/>
                    </a:cubicBezTo>
                    <a:cubicBezTo>
                      <a:pt x="102" y="32"/>
                      <a:pt x="98" y="34"/>
                      <a:pt x="94" y="35"/>
                    </a:cubicBezTo>
                    <a:cubicBezTo>
                      <a:pt x="95" y="30"/>
                      <a:pt x="95" y="24"/>
                      <a:pt x="94" y="18"/>
                    </a:cubicBezTo>
                    <a:close/>
                  </a:path>
                </a:pathLst>
              </a:custGeom>
              <a:solidFill>
                <a:srgbClr val="6B4A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" name="ïşľïḍê"/>
              <p:cNvSpPr/>
              <p:nvPr/>
            </p:nvSpPr>
            <p:spPr bwMode="auto">
              <a:xfrm>
                <a:off x="3643659" y="3515215"/>
                <a:ext cx="569101" cy="569102"/>
              </a:xfrm>
              <a:custGeom>
                <a:avLst/>
                <a:gdLst>
                  <a:gd name="T0" fmla="*/ 40 w 81"/>
                  <a:gd name="T1" fmla="*/ 81 h 81"/>
                  <a:gd name="T2" fmla="*/ 40 w 81"/>
                  <a:gd name="T3" fmla="*/ 81 h 81"/>
                  <a:gd name="T4" fmla="*/ 21 w 81"/>
                  <a:gd name="T5" fmla="*/ 75 h 81"/>
                  <a:gd name="T6" fmla="*/ 3 w 81"/>
                  <a:gd name="T7" fmla="*/ 58 h 81"/>
                  <a:gd name="T8" fmla="*/ 2 w 81"/>
                  <a:gd name="T9" fmla="*/ 57 h 81"/>
                  <a:gd name="T10" fmla="*/ 1 w 81"/>
                  <a:gd name="T11" fmla="*/ 53 h 81"/>
                  <a:gd name="T12" fmla="*/ 2 w 81"/>
                  <a:gd name="T13" fmla="*/ 49 h 81"/>
                  <a:gd name="T14" fmla="*/ 5 w 81"/>
                  <a:gd name="T15" fmla="*/ 45 h 81"/>
                  <a:gd name="T16" fmla="*/ 15 w 81"/>
                  <a:gd name="T17" fmla="*/ 54 h 81"/>
                  <a:gd name="T18" fmla="*/ 33 w 81"/>
                  <a:gd name="T19" fmla="*/ 63 h 81"/>
                  <a:gd name="T20" fmla="*/ 64 w 81"/>
                  <a:gd name="T21" fmla="*/ 52 h 81"/>
                  <a:gd name="T22" fmla="*/ 57 w 81"/>
                  <a:gd name="T23" fmla="*/ 23 h 81"/>
                  <a:gd name="T24" fmla="*/ 45 w 81"/>
                  <a:gd name="T25" fmla="*/ 14 h 81"/>
                  <a:gd name="T26" fmla="*/ 39 w 81"/>
                  <a:gd name="T27" fmla="*/ 10 h 81"/>
                  <a:gd name="T28" fmla="*/ 41 w 81"/>
                  <a:gd name="T29" fmla="*/ 5 h 81"/>
                  <a:gd name="T30" fmla="*/ 43 w 81"/>
                  <a:gd name="T31" fmla="*/ 1 h 81"/>
                  <a:gd name="T32" fmla="*/ 46 w 81"/>
                  <a:gd name="T33" fmla="*/ 0 h 81"/>
                  <a:gd name="T34" fmla="*/ 61 w 81"/>
                  <a:gd name="T35" fmla="*/ 12 h 81"/>
                  <a:gd name="T36" fmla="*/ 75 w 81"/>
                  <a:gd name="T37" fmla="*/ 30 h 81"/>
                  <a:gd name="T38" fmla="*/ 73 w 81"/>
                  <a:gd name="T39" fmla="*/ 68 h 81"/>
                  <a:gd name="T40" fmla="*/ 40 w 81"/>
                  <a:gd name="T41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" h="81">
                    <a:moveTo>
                      <a:pt x="40" y="81"/>
                    </a:moveTo>
                    <a:cubicBezTo>
                      <a:pt x="40" y="81"/>
                      <a:pt x="40" y="81"/>
                      <a:pt x="40" y="81"/>
                    </a:cubicBezTo>
                    <a:cubicBezTo>
                      <a:pt x="34" y="81"/>
                      <a:pt x="27" y="79"/>
                      <a:pt x="21" y="75"/>
                    </a:cubicBezTo>
                    <a:cubicBezTo>
                      <a:pt x="14" y="71"/>
                      <a:pt x="9" y="64"/>
                      <a:pt x="3" y="58"/>
                    </a:cubicBezTo>
                    <a:cubicBezTo>
                      <a:pt x="2" y="58"/>
                      <a:pt x="2" y="57"/>
                      <a:pt x="2" y="57"/>
                    </a:cubicBezTo>
                    <a:cubicBezTo>
                      <a:pt x="2" y="56"/>
                      <a:pt x="1" y="55"/>
                      <a:pt x="1" y="53"/>
                    </a:cubicBezTo>
                    <a:cubicBezTo>
                      <a:pt x="0" y="52"/>
                      <a:pt x="1" y="51"/>
                      <a:pt x="2" y="49"/>
                    </a:cubicBezTo>
                    <a:cubicBezTo>
                      <a:pt x="3" y="48"/>
                      <a:pt x="4" y="46"/>
                      <a:pt x="5" y="45"/>
                    </a:cubicBezTo>
                    <a:cubicBezTo>
                      <a:pt x="8" y="49"/>
                      <a:pt x="12" y="52"/>
                      <a:pt x="15" y="54"/>
                    </a:cubicBezTo>
                    <a:cubicBezTo>
                      <a:pt x="21" y="58"/>
                      <a:pt x="27" y="61"/>
                      <a:pt x="33" y="63"/>
                    </a:cubicBezTo>
                    <a:cubicBezTo>
                      <a:pt x="44" y="66"/>
                      <a:pt x="59" y="62"/>
                      <a:pt x="64" y="52"/>
                    </a:cubicBezTo>
                    <a:cubicBezTo>
                      <a:pt x="70" y="42"/>
                      <a:pt x="64" y="30"/>
                      <a:pt x="57" y="23"/>
                    </a:cubicBezTo>
                    <a:cubicBezTo>
                      <a:pt x="53" y="20"/>
                      <a:pt x="49" y="17"/>
                      <a:pt x="45" y="14"/>
                    </a:cubicBezTo>
                    <a:cubicBezTo>
                      <a:pt x="43" y="13"/>
                      <a:pt x="41" y="12"/>
                      <a:pt x="39" y="10"/>
                    </a:cubicBezTo>
                    <a:cubicBezTo>
                      <a:pt x="40" y="8"/>
                      <a:pt x="40" y="6"/>
                      <a:pt x="41" y="5"/>
                    </a:cubicBezTo>
                    <a:cubicBezTo>
                      <a:pt x="41" y="3"/>
                      <a:pt x="41" y="2"/>
                      <a:pt x="43" y="1"/>
                    </a:cubicBezTo>
                    <a:cubicBezTo>
                      <a:pt x="43" y="0"/>
                      <a:pt x="45" y="0"/>
                      <a:pt x="46" y="0"/>
                    </a:cubicBezTo>
                    <a:cubicBezTo>
                      <a:pt x="51" y="4"/>
                      <a:pt x="56" y="8"/>
                      <a:pt x="61" y="12"/>
                    </a:cubicBezTo>
                    <a:cubicBezTo>
                      <a:pt x="67" y="17"/>
                      <a:pt x="72" y="23"/>
                      <a:pt x="75" y="30"/>
                    </a:cubicBezTo>
                    <a:cubicBezTo>
                      <a:pt x="81" y="42"/>
                      <a:pt x="81" y="58"/>
                      <a:pt x="73" y="68"/>
                    </a:cubicBezTo>
                    <a:cubicBezTo>
                      <a:pt x="65" y="78"/>
                      <a:pt x="52" y="81"/>
                      <a:pt x="40" y="81"/>
                    </a:cubicBezTo>
                    <a:close/>
                  </a:path>
                </a:pathLst>
              </a:custGeom>
              <a:solidFill>
                <a:srgbClr val="FFC9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" name="ïṡlïḍè"/>
              <p:cNvSpPr/>
              <p:nvPr/>
            </p:nvSpPr>
            <p:spPr bwMode="auto">
              <a:xfrm>
                <a:off x="3643659" y="3830252"/>
                <a:ext cx="504740" cy="254064"/>
              </a:xfrm>
              <a:custGeom>
                <a:avLst/>
                <a:gdLst>
                  <a:gd name="T0" fmla="*/ 40 w 72"/>
                  <a:gd name="T1" fmla="*/ 36 h 36"/>
                  <a:gd name="T2" fmla="*/ 40 w 72"/>
                  <a:gd name="T3" fmla="*/ 36 h 36"/>
                  <a:gd name="T4" fmla="*/ 21 w 72"/>
                  <a:gd name="T5" fmla="*/ 30 h 36"/>
                  <a:gd name="T6" fmla="*/ 3 w 72"/>
                  <a:gd name="T7" fmla="*/ 13 h 36"/>
                  <a:gd name="T8" fmla="*/ 2 w 72"/>
                  <a:gd name="T9" fmla="*/ 12 h 36"/>
                  <a:gd name="T10" fmla="*/ 1 w 72"/>
                  <a:gd name="T11" fmla="*/ 8 h 36"/>
                  <a:gd name="T12" fmla="*/ 2 w 72"/>
                  <a:gd name="T13" fmla="*/ 4 h 36"/>
                  <a:gd name="T14" fmla="*/ 5 w 72"/>
                  <a:gd name="T15" fmla="*/ 0 h 36"/>
                  <a:gd name="T16" fmla="*/ 15 w 72"/>
                  <a:gd name="T17" fmla="*/ 9 h 36"/>
                  <a:gd name="T18" fmla="*/ 33 w 72"/>
                  <a:gd name="T19" fmla="*/ 18 h 36"/>
                  <a:gd name="T20" fmla="*/ 46 w 72"/>
                  <a:gd name="T21" fmla="*/ 18 h 36"/>
                  <a:gd name="T22" fmla="*/ 72 w 72"/>
                  <a:gd name="T23" fmla="*/ 24 h 36"/>
                  <a:gd name="T24" fmla="*/ 40 w 72"/>
                  <a:gd name="T2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2" h="36">
                    <a:moveTo>
                      <a:pt x="40" y="36"/>
                    </a:moveTo>
                    <a:cubicBezTo>
                      <a:pt x="40" y="36"/>
                      <a:pt x="40" y="36"/>
                      <a:pt x="40" y="36"/>
                    </a:cubicBezTo>
                    <a:cubicBezTo>
                      <a:pt x="34" y="36"/>
                      <a:pt x="27" y="34"/>
                      <a:pt x="21" y="30"/>
                    </a:cubicBezTo>
                    <a:cubicBezTo>
                      <a:pt x="14" y="26"/>
                      <a:pt x="9" y="19"/>
                      <a:pt x="3" y="13"/>
                    </a:cubicBezTo>
                    <a:cubicBezTo>
                      <a:pt x="2" y="13"/>
                      <a:pt x="2" y="12"/>
                      <a:pt x="2" y="12"/>
                    </a:cubicBezTo>
                    <a:cubicBezTo>
                      <a:pt x="2" y="11"/>
                      <a:pt x="1" y="10"/>
                      <a:pt x="1" y="8"/>
                    </a:cubicBezTo>
                    <a:cubicBezTo>
                      <a:pt x="0" y="7"/>
                      <a:pt x="1" y="6"/>
                      <a:pt x="2" y="4"/>
                    </a:cubicBezTo>
                    <a:cubicBezTo>
                      <a:pt x="3" y="3"/>
                      <a:pt x="4" y="1"/>
                      <a:pt x="5" y="0"/>
                    </a:cubicBezTo>
                    <a:cubicBezTo>
                      <a:pt x="8" y="4"/>
                      <a:pt x="12" y="7"/>
                      <a:pt x="15" y="9"/>
                    </a:cubicBezTo>
                    <a:cubicBezTo>
                      <a:pt x="21" y="13"/>
                      <a:pt x="27" y="16"/>
                      <a:pt x="33" y="18"/>
                    </a:cubicBezTo>
                    <a:cubicBezTo>
                      <a:pt x="37" y="19"/>
                      <a:pt x="42" y="19"/>
                      <a:pt x="46" y="18"/>
                    </a:cubicBezTo>
                    <a:cubicBezTo>
                      <a:pt x="53" y="21"/>
                      <a:pt x="62" y="23"/>
                      <a:pt x="72" y="24"/>
                    </a:cubicBezTo>
                    <a:cubicBezTo>
                      <a:pt x="64" y="33"/>
                      <a:pt x="52" y="36"/>
                      <a:pt x="40" y="36"/>
                    </a:cubicBezTo>
                    <a:close/>
                  </a:path>
                </a:pathLst>
              </a:custGeom>
              <a:solidFill>
                <a:srgbClr val="D1A5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" name="iŝḻíďè"/>
              <p:cNvSpPr/>
              <p:nvPr/>
            </p:nvSpPr>
            <p:spPr bwMode="auto">
              <a:xfrm>
                <a:off x="4988498" y="3776052"/>
                <a:ext cx="105014" cy="315039"/>
              </a:xfrm>
              <a:custGeom>
                <a:avLst/>
                <a:gdLst>
                  <a:gd name="T0" fmla="*/ 5 w 15"/>
                  <a:gd name="T1" fmla="*/ 7 h 45"/>
                  <a:gd name="T2" fmla="*/ 5 w 15"/>
                  <a:gd name="T3" fmla="*/ 7 h 45"/>
                  <a:gd name="T4" fmla="*/ 10 w 15"/>
                  <a:gd name="T5" fmla="*/ 0 h 45"/>
                  <a:gd name="T6" fmla="*/ 15 w 15"/>
                  <a:gd name="T7" fmla="*/ 45 h 45"/>
                  <a:gd name="T8" fmla="*/ 14 w 15"/>
                  <a:gd name="T9" fmla="*/ 44 h 45"/>
                  <a:gd name="T10" fmla="*/ 2 w 15"/>
                  <a:gd name="T11" fmla="*/ 27 h 45"/>
                  <a:gd name="T12" fmla="*/ 5 w 15"/>
                  <a:gd name="T13" fmla="*/ 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45">
                    <a:moveTo>
                      <a:pt x="5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6" y="4"/>
                      <a:pt x="8" y="2"/>
                      <a:pt x="10" y="0"/>
                    </a:cubicBezTo>
                    <a:cubicBezTo>
                      <a:pt x="10" y="15"/>
                      <a:pt x="11" y="30"/>
                      <a:pt x="15" y="45"/>
                    </a:cubicBezTo>
                    <a:cubicBezTo>
                      <a:pt x="15" y="45"/>
                      <a:pt x="14" y="44"/>
                      <a:pt x="14" y="44"/>
                    </a:cubicBezTo>
                    <a:cubicBezTo>
                      <a:pt x="8" y="39"/>
                      <a:pt x="4" y="34"/>
                      <a:pt x="2" y="27"/>
                    </a:cubicBezTo>
                    <a:cubicBezTo>
                      <a:pt x="0" y="20"/>
                      <a:pt x="1" y="13"/>
                      <a:pt x="5" y="7"/>
                    </a:cubicBezTo>
                    <a:close/>
                  </a:path>
                </a:pathLst>
              </a:custGeom>
              <a:solidFill>
                <a:srgbClr val="EB86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" name="iṡ1iḓè"/>
              <p:cNvSpPr/>
              <p:nvPr/>
            </p:nvSpPr>
            <p:spPr bwMode="auto">
              <a:xfrm>
                <a:off x="5530499" y="2573487"/>
                <a:ext cx="172764" cy="315039"/>
              </a:xfrm>
              <a:custGeom>
                <a:avLst/>
                <a:gdLst>
                  <a:gd name="T0" fmla="*/ 11 w 25"/>
                  <a:gd name="T1" fmla="*/ 37 h 45"/>
                  <a:gd name="T2" fmla="*/ 11 w 25"/>
                  <a:gd name="T3" fmla="*/ 37 h 45"/>
                  <a:gd name="T4" fmla="*/ 6 w 25"/>
                  <a:gd name="T5" fmla="*/ 21 h 45"/>
                  <a:gd name="T6" fmla="*/ 10 w 25"/>
                  <a:gd name="T7" fmla="*/ 1 h 45"/>
                  <a:gd name="T8" fmla="*/ 18 w 25"/>
                  <a:gd name="T9" fmla="*/ 17 h 45"/>
                  <a:gd name="T10" fmla="*/ 22 w 25"/>
                  <a:gd name="T11" fmla="*/ 30 h 45"/>
                  <a:gd name="T12" fmla="*/ 24 w 25"/>
                  <a:gd name="T13" fmla="*/ 37 h 45"/>
                  <a:gd name="T14" fmla="*/ 25 w 25"/>
                  <a:gd name="T15" fmla="*/ 40 h 45"/>
                  <a:gd name="T16" fmla="*/ 14 w 25"/>
                  <a:gd name="T17" fmla="*/ 44 h 45"/>
                  <a:gd name="T18" fmla="*/ 12 w 25"/>
                  <a:gd name="T19" fmla="*/ 45 h 45"/>
                  <a:gd name="T20" fmla="*/ 11 w 25"/>
                  <a:gd name="T21" fmla="*/ 3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45">
                    <a:moveTo>
                      <a:pt x="11" y="37"/>
                    </a:moveTo>
                    <a:cubicBezTo>
                      <a:pt x="11" y="37"/>
                      <a:pt x="11" y="37"/>
                      <a:pt x="11" y="37"/>
                    </a:cubicBezTo>
                    <a:cubicBezTo>
                      <a:pt x="10" y="32"/>
                      <a:pt x="8" y="27"/>
                      <a:pt x="6" y="21"/>
                    </a:cubicBezTo>
                    <a:cubicBezTo>
                      <a:pt x="3" y="14"/>
                      <a:pt x="0" y="3"/>
                      <a:pt x="10" y="1"/>
                    </a:cubicBezTo>
                    <a:cubicBezTo>
                      <a:pt x="15" y="0"/>
                      <a:pt x="17" y="13"/>
                      <a:pt x="18" y="17"/>
                    </a:cubicBezTo>
                    <a:cubicBezTo>
                      <a:pt x="19" y="21"/>
                      <a:pt x="20" y="25"/>
                      <a:pt x="22" y="30"/>
                    </a:cubicBezTo>
                    <a:cubicBezTo>
                      <a:pt x="23" y="32"/>
                      <a:pt x="24" y="35"/>
                      <a:pt x="24" y="37"/>
                    </a:cubicBezTo>
                    <a:cubicBezTo>
                      <a:pt x="25" y="38"/>
                      <a:pt x="25" y="39"/>
                      <a:pt x="25" y="40"/>
                    </a:cubicBezTo>
                    <a:cubicBezTo>
                      <a:pt x="21" y="41"/>
                      <a:pt x="18" y="43"/>
                      <a:pt x="14" y="44"/>
                    </a:cubicBezTo>
                    <a:cubicBezTo>
                      <a:pt x="13" y="45"/>
                      <a:pt x="13" y="45"/>
                      <a:pt x="12" y="45"/>
                    </a:cubicBezTo>
                    <a:cubicBezTo>
                      <a:pt x="12" y="43"/>
                      <a:pt x="11" y="40"/>
                      <a:pt x="11" y="37"/>
                    </a:cubicBezTo>
                    <a:close/>
                  </a:path>
                </a:pathLst>
              </a:custGeom>
              <a:solidFill>
                <a:srgbClr val="FFC9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" name="ïṧľiḓe"/>
              <p:cNvSpPr/>
              <p:nvPr/>
            </p:nvSpPr>
            <p:spPr bwMode="auto">
              <a:xfrm>
                <a:off x="6682251" y="2600587"/>
                <a:ext cx="220189" cy="311651"/>
              </a:xfrm>
              <a:custGeom>
                <a:avLst/>
                <a:gdLst>
                  <a:gd name="T0" fmla="*/ 8 w 31"/>
                  <a:gd name="T1" fmla="*/ 20 h 44"/>
                  <a:gd name="T2" fmla="*/ 8 w 31"/>
                  <a:gd name="T3" fmla="*/ 20 h 44"/>
                  <a:gd name="T4" fmla="*/ 23 w 31"/>
                  <a:gd name="T5" fmla="*/ 1 h 44"/>
                  <a:gd name="T6" fmla="*/ 29 w 31"/>
                  <a:gd name="T7" fmla="*/ 6 h 44"/>
                  <a:gd name="T8" fmla="*/ 27 w 31"/>
                  <a:gd name="T9" fmla="*/ 21 h 44"/>
                  <a:gd name="T10" fmla="*/ 18 w 31"/>
                  <a:gd name="T11" fmla="*/ 36 h 44"/>
                  <a:gd name="T12" fmla="*/ 13 w 31"/>
                  <a:gd name="T13" fmla="*/ 44 h 44"/>
                  <a:gd name="T14" fmla="*/ 0 w 31"/>
                  <a:gd name="T15" fmla="*/ 37 h 44"/>
                  <a:gd name="T16" fmla="*/ 8 w 31"/>
                  <a:gd name="T17" fmla="*/ 2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44">
                    <a:moveTo>
                      <a:pt x="8" y="20"/>
                    </a:moveTo>
                    <a:cubicBezTo>
                      <a:pt x="8" y="20"/>
                      <a:pt x="8" y="20"/>
                      <a:pt x="8" y="20"/>
                    </a:cubicBezTo>
                    <a:cubicBezTo>
                      <a:pt x="11" y="13"/>
                      <a:pt x="16" y="4"/>
                      <a:pt x="23" y="1"/>
                    </a:cubicBezTo>
                    <a:cubicBezTo>
                      <a:pt x="27" y="0"/>
                      <a:pt x="29" y="3"/>
                      <a:pt x="29" y="6"/>
                    </a:cubicBezTo>
                    <a:cubicBezTo>
                      <a:pt x="31" y="11"/>
                      <a:pt x="29" y="16"/>
                      <a:pt x="27" y="21"/>
                    </a:cubicBezTo>
                    <a:cubicBezTo>
                      <a:pt x="24" y="26"/>
                      <a:pt x="21" y="31"/>
                      <a:pt x="18" y="36"/>
                    </a:cubicBezTo>
                    <a:cubicBezTo>
                      <a:pt x="16" y="39"/>
                      <a:pt x="14" y="41"/>
                      <a:pt x="13" y="44"/>
                    </a:cubicBezTo>
                    <a:cubicBezTo>
                      <a:pt x="9" y="42"/>
                      <a:pt x="4" y="39"/>
                      <a:pt x="0" y="37"/>
                    </a:cubicBezTo>
                    <a:cubicBezTo>
                      <a:pt x="3" y="32"/>
                      <a:pt x="6" y="26"/>
                      <a:pt x="8" y="20"/>
                    </a:cubicBezTo>
                    <a:close/>
                  </a:path>
                </a:pathLst>
              </a:custGeom>
              <a:solidFill>
                <a:srgbClr val="FFC9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" name="ïṩlîḑe"/>
              <p:cNvSpPr/>
              <p:nvPr/>
            </p:nvSpPr>
            <p:spPr bwMode="auto">
              <a:xfrm>
                <a:off x="5621963" y="3711690"/>
                <a:ext cx="74525" cy="182926"/>
              </a:xfrm>
              <a:custGeom>
                <a:avLst/>
                <a:gdLst>
                  <a:gd name="T0" fmla="*/ 3 w 11"/>
                  <a:gd name="T1" fmla="*/ 2 h 26"/>
                  <a:gd name="T2" fmla="*/ 2 w 11"/>
                  <a:gd name="T3" fmla="*/ 23 h 26"/>
                  <a:gd name="T4" fmla="*/ 5 w 11"/>
                  <a:gd name="T5" fmla="*/ 26 h 26"/>
                  <a:gd name="T6" fmla="*/ 7 w 11"/>
                  <a:gd name="T7" fmla="*/ 26 h 26"/>
                  <a:gd name="T8" fmla="*/ 10 w 11"/>
                  <a:gd name="T9" fmla="*/ 23 h 26"/>
                  <a:gd name="T10" fmla="*/ 8 w 11"/>
                  <a:gd name="T11" fmla="*/ 3 h 26"/>
                  <a:gd name="T12" fmla="*/ 3 w 11"/>
                  <a:gd name="T13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26">
                    <a:moveTo>
                      <a:pt x="3" y="2"/>
                    </a:moveTo>
                    <a:cubicBezTo>
                      <a:pt x="0" y="9"/>
                      <a:pt x="1" y="17"/>
                      <a:pt x="2" y="23"/>
                    </a:cubicBezTo>
                    <a:cubicBezTo>
                      <a:pt x="3" y="24"/>
                      <a:pt x="4" y="26"/>
                      <a:pt x="5" y="26"/>
                    </a:cubicBezTo>
                    <a:cubicBezTo>
                      <a:pt x="6" y="26"/>
                      <a:pt x="6" y="26"/>
                      <a:pt x="7" y="26"/>
                    </a:cubicBezTo>
                    <a:cubicBezTo>
                      <a:pt x="8" y="26"/>
                      <a:pt x="10" y="24"/>
                      <a:pt x="10" y="23"/>
                    </a:cubicBezTo>
                    <a:cubicBezTo>
                      <a:pt x="11" y="17"/>
                      <a:pt x="10" y="9"/>
                      <a:pt x="8" y="3"/>
                    </a:cubicBezTo>
                    <a:cubicBezTo>
                      <a:pt x="7" y="1"/>
                      <a:pt x="4" y="0"/>
                      <a:pt x="3" y="2"/>
                    </a:cubicBezTo>
                    <a:close/>
                  </a:path>
                </a:pathLst>
              </a:custGeom>
              <a:solidFill>
                <a:srgbClr val="493220"/>
              </a:solidFill>
              <a:ln w="6350" cap="flat">
                <a:solidFill>
                  <a:srgbClr val="FBBA20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" name="ïṥlíḋê"/>
              <p:cNvSpPr/>
              <p:nvPr/>
            </p:nvSpPr>
            <p:spPr bwMode="auto">
              <a:xfrm>
                <a:off x="5530499" y="3698140"/>
                <a:ext cx="60975" cy="196476"/>
              </a:xfrm>
              <a:custGeom>
                <a:avLst/>
                <a:gdLst>
                  <a:gd name="T0" fmla="*/ 1 w 9"/>
                  <a:gd name="T1" fmla="*/ 3 h 28"/>
                  <a:gd name="T2" fmla="*/ 0 w 9"/>
                  <a:gd name="T3" fmla="*/ 13 h 28"/>
                  <a:gd name="T4" fmla="*/ 0 w 9"/>
                  <a:gd name="T5" fmla="*/ 23 h 28"/>
                  <a:gd name="T6" fmla="*/ 8 w 9"/>
                  <a:gd name="T7" fmla="*/ 24 h 28"/>
                  <a:gd name="T8" fmla="*/ 6 w 9"/>
                  <a:gd name="T9" fmla="*/ 3 h 28"/>
                  <a:gd name="T10" fmla="*/ 1 w 9"/>
                  <a:gd name="T11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28">
                    <a:moveTo>
                      <a:pt x="1" y="3"/>
                    </a:moveTo>
                    <a:cubicBezTo>
                      <a:pt x="0" y="6"/>
                      <a:pt x="0" y="9"/>
                      <a:pt x="0" y="13"/>
                    </a:cubicBezTo>
                    <a:cubicBezTo>
                      <a:pt x="0" y="16"/>
                      <a:pt x="0" y="19"/>
                      <a:pt x="0" y="23"/>
                    </a:cubicBezTo>
                    <a:cubicBezTo>
                      <a:pt x="0" y="27"/>
                      <a:pt x="7" y="28"/>
                      <a:pt x="8" y="24"/>
                    </a:cubicBezTo>
                    <a:cubicBezTo>
                      <a:pt x="9" y="17"/>
                      <a:pt x="9" y="8"/>
                      <a:pt x="6" y="3"/>
                    </a:cubicBezTo>
                    <a:cubicBezTo>
                      <a:pt x="5" y="0"/>
                      <a:pt x="2" y="1"/>
                      <a:pt x="1" y="3"/>
                    </a:cubicBezTo>
                    <a:close/>
                  </a:path>
                </a:pathLst>
              </a:custGeom>
              <a:solidFill>
                <a:srgbClr val="493220"/>
              </a:solidFill>
              <a:ln w="6350" cap="flat">
                <a:solidFill>
                  <a:srgbClr val="FBBA20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" name="íṥļíďé"/>
              <p:cNvSpPr/>
              <p:nvPr/>
            </p:nvSpPr>
            <p:spPr bwMode="auto">
              <a:xfrm>
                <a:off x="5394999" y="3718465"/>
                <a:ext cx="64364" cy="196476"/>
              </a:xfrm>
              <a:custGeom>
                <a:avLst/>
                <a:gdLst>
                  <a:gd name="T0" fmla="*/ 6 w 9"/>
                  <a:gd name="T1" fmla="*/ 0 h 28"/>
                  <a:gd name="T2" fmla="*/ 4 w 9"/>
                  <a:gd name="T3" fmla="*/ 0 h 28"/>
                  <a:gd name="T4" fmla="*/ 1 w 9"/>
                  <a:gd name="T5" fmla="*/ 10 h 28"/>
                  <a:gd name="T6" fmla="*/ 1 w 9"/>
                  <a:gd name="T7" fmla="*/ 24 h 28"/>
                  <a:gd name="T8" fmla="*/ 9 w 9"/>
                  <a:gd name="T9" fmla="*/ 24 h 28"/>
                  <a:gd name="T10" fmla="*/ 9 w 9"/>
                  <a:gd name="T11" fmla="*/ 11 h 28"/>
                  <a:gd name="T12" fmla="*/ 6 w 9"/>
                  <a:gd name="T1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28">
                    <a:moveTo>
                      <a:pt x="6" y="0"/>
                    </a:moveTo>
                    <a:cubicBezTo>
                      <a:pt x="5" y="0"/>
                      <a:pt x="4" y="0"/>
                      <a:pt x="4" y="0"/>
                    </a:cubicBezTo>
                    <a:cubicBezTo>
                      <a:pt x="1" y="2"/>
                      <a:pt x="1" y="6"/>
                      <a:pt x="1" y="10"/>
                    </a:cubicBezTo>
                    <a:cubicBezTo>
                      <a:pt x="1" y="15"/>
                      <a:pt x="0" y="19"/>
                      <a:pt x="1" y="24"/>
                    </a:cubicBezTo>
                    <a:cubicBezTo>
                      <a:pt x="2" y="28"/>
                      <a:pt x="8" y="28"/>
                      <a:pt x="9" y="24"/>
                    </a:cubicBezTo>
                    <a:cubicBezTo>
                      <a:pt x="9" y="20"/>
                      <a:pt x="9" y="15"/>
                      <a:pt x="9" y="11"/>
                    </a:cubicBezTo>
                    <a:cubicBezTo>
                      <a:pt x="9" y="8"/>
                      <a:pt x="9" y="3"/>
                      <a:pt x="6" y="0"/>
                    </a:cubicBezTo>
                    <a:close/>
                  </a:path>
                </a:pathLst>
              </a:custGeom>
              <a:solidFill>
                <a:srgbClr val="493220"/>
              </a:solidFill>
              <a:ln w="6350" cap="flat">
                <a:solidFill>
                  <a:srgbClr val="FBBA20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" name="iŝliḑe"/>
              <p:cNvSpPr/>
              <p:nvPr/>
            </p:nvSpPr>
            <p:spPr bwMode="auto">
              <a:xfrm>
                <a:off x="6492551" y="3840416"/>
                <a:ext cx="359076" cy="555552"/>
              </a:xfrm>
              <a:custGeom>
                <a:avLst/>
                <a:gdLst>
                  <a:gd name="T0" fmla="*/ 37 w 51"/>
                  <a:gd name="T1" fmla="*/ 77 h 79"/>
                  <a:gd name="T2" fmla="*/ 37 w 51"/>
                  <a:gd name="T3" fmla="*/ 77 h 79"/>
                  <a:gd name="T4" fmla="*/ 17 w 51"/>
                  <a:gd name="T5" fmla="*/ 79 h 79"/>
                  <a:gd name="T6" fmla="*/ 4 w 51"/>
                  <a:gd name="T7" fmla="*/ 75 h 79"/>
                  <a:gd name="T8" fmla="*/ 1 w 51"/>
                  <a:gd name="T9" fmla="*/ 66 h 79"/>
                  <a:gd name="T10" fmla="*/ 2 w 51"/>
                  <a:gd name="T11" fmla="*/ 40 h 79"/>
                  <a:gd name="T12" fmla="*/ 3 w 51"/>
                  <a:gd name="T13" fmla="*/ 0 h 79"/>
                  <a:gd name="T14" fmla="*/ 7 w 51"/>
                  <a:gd name="T15" fmla="*/ 0 h 79"/>
                  <a:gd name="T16" fmla="*/ 14 w 51"/>
                  <a:gd name="T17" fmla="*/ 0 h 79"/>
                  <a:gd name="T18" fmla="*/ 28 w 51"/>
                  <a:gd name="T19" fmla="*/ 1 h 79"/>
                  <a:gd name="T20" fmla="*/ 42 w 51"/>
                  <a:gd name="T21" fmla="*/ 2 h 79"/>
                  <a:gd name="T22" fmla="*/ 47 w 51"/>
                  <a:gd name="T23" fmla="*/ 2 h 79"/>
                  <a:gd name="T24" fmla="*/ 50 w 51"/>
                  <a:gd name="T25" fmla="*/ 2 h 79"/>
                  <a:gd name="T26" fmla="*/ 50 w 51"/>
                  <a:gd name="T27" fmla="*/ 2 h 79"/>
                  <a:gd name="T28" fmla="*/ 50 w 51"/>
                  <a:gd name="T29" fmla="*/ 19 h 79"/>
                  <a:gd name="T30" fmla="*/ 50 w 51"/>
                  <a:gd name="T31" fmla="*/ 42 h 79"/>
                  <a:gd name="T32" fmla="*/ 50 w 51"/>
                  <a:gd name="T33" fmla="*/ 63 h 79"/>
                  <a:gd name="T34" fmla="*/ 50 w 51"/>
                  <a:gd name="T35" fmla="*/ 75 h 79"/>
                  <a:gd name="T36" fmla="*/ 37 w 51"/>
                  <a:gd name="T37" fmla="*/ 77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" h="79">
                    <a:moveTo>
                      <a:pt x="37" y="77"/>
                    </a:moveTo>
                    <a:cubicBezTo>
                      <a:pt x="37" y="77"/>
                      <a:pt x="37" y="77"/>
                      <a:pt x="37" y="77"/>
                    </a:cubicBezTo>
                    <a:cubicBezTo>
                      <a:pt x="30" y="78"/>
                      <a:pt x="24" y="79"/>
                      <a:pt x="17" y="79"/>
                    </a:cubicBezTo>
                    <a:cubicBezTo>
                      <a:pt x="13" y="79"/>
                      <a:pt x="7" y="78"/>
                      <a:pt x="4" y="75"/>
                    </a:cubicBezTo>
                    <a:cubicBezTo>
                      <a:pt x="1" y="73"/>
                      <a:pt x="1" y="69"/>
                      <a:pt x="1" y="66"/>
                    </a:cubicBezTo>
                    <a:cubicBezTo>
                      <a:pt x="0" y="57"/>
                      <a:pt x="2" y="48"/>
                      <a:pt x="2" y="40"/>
                    </a:cubicBezTo>
                    <a:cubicBezTo>
                      <a:pt x="2" y="26"/>
                      <a:pt x="2" y="13"/>
                      <a:pt x="3" y="0"/>
                    </a:cubicBezTo>
                    <a:cubicBezTo>
                      <a:pt x="4" y="0"/>
                      <a:pt x="5" y="0"/>
                      <a:pt x="7" y="0"/>
                    </a:cubicBezTo>
                    <a:cubicBezTo>
                      <a:pt x="9" y="0"/>
                      <a:pt x="12" y="0"/>
                      <a:pt x="14" y="0"/>
                    </a:cubicBezTo>
                    <a:cubicBezTo>
                      <a:pt x="19" y="0"/>
                      <a:pt x="24" y="1"/>
                      <a:pt x="28" y="1"/>
                    </a:cubicBezTo>
                    <a:cubicBezTo>
                      <a:pt x="33" y="1"/>
                      <a:pt x="38" y="2"/>
                      <a:pt x="42" y="2"/>
                    </a:cubicBezTo>
                    <a:cubicBezTo>
                      <a:pt x="44" y="2"/>
                      <a:pt x="46" y="2"/>
                      <a:pt x="47" y="2"/>
                    </a:cubicBezTo>
                    <a:cubicBezTo>
                      <a:pt x="48" y="2"/>
                      <a:pt x="49" y="2"/>
                      <a:pt x="50" y="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49" y="7"/>
                      <a:pt x="50" y="13"/>
                      <a:pt x="50" y="19"/>
                    </a:cubicBezTo>
                    <a:cubicBezTo>
                      <a:pt x="50" y="27"/>
                      <a:pt x="50" y="34"/>
                      <a:pt x="50" y="42"/>
                    </a:cubicBezTo>
                    <a:cubicBezTo>
                      <a:pt x="50" y="49"/>
                      <a:pt x="51" y="56"/>
                      <a:pt x="50" y="63"/>
                    </a:cubicBezTo>
                    <a:cubicBezTo>
                      <a:pt x="50" y="67"/>
                      <a:pt x="49" y="71"/>
                      <a:pt x="50" y="75"/>
                    </a:cubicBezTo>
                    <a:cubicBezTo>
                      <a:pt x="45" y="75"/>
                      <a:pt x="41" y="76"/>
                      <a:pt x="37" y="77"/>
                    </a:cubicBezTo>
                    <a:close/>
                  </a:path>
                </a:pathLst>
              </a:custGeom>
              <a:solidFill>
                <a:srgbClr val="8A63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" name="ïṧlidé"/>
              <p:cNvSpPr/>
              <p:nvPr/>
            </p:nvSpPr>
            <p:spPr bwMode="auto">
              <a:xfrm>
                <a:off x="6536589" y="3847191"/>
                <a:ext cx="315039" cy="548777"/>
              </a:xfrm>
              <a:custGeom>
                <a:avLst/>
                <a:gdLst>
                  <a:gd name="T0" fmla="*/ 31 w 45"/>
                  <a:gd name="T1" fmla="*/ 76 h 78"/>
                  <a:gd name="T2" fmla="*/ 31 w 45"/>
                  <a:gd name="T3" fmla="*/ 76 h 78"/>
                  <a:gd name="T4" fmla="*/ 11 w 45"/>
                  <a:gd name="T5" fmla="*/ 78 h 78"/>
                  <a:gd name="T6" fmla="*/ 0 w 45"/>
                  <a:gd name="T7" fmla="*/ 75 h 78"/>
                  <a:gd name="T8" fmla="*/ 25 w 45"/>
                  <a:gd name="T9" fmla="*/ 0 h 78"/>
                  <a:gd name="T10" fmla="*/ 25 w 45"/>
                  <a:gd name="T11" fmla="*/ 0 h 78"/>
                  <a:gd name="T12" fmla="*/ 36 w 45"/>
                  <a:gd name="T13" fmla="*/ 1 h 78"/>
                  <a:gd name="T14" fmla="*/ 41 w 45"/>
                  <a:gd name="T15" fmla="*/ 1 h 78"/>
                  <a:gd name="T16" fmla="*/ 44 w 45"/>
                  <a:gd name="T17" fmla="*/ 1 h 78"/>
                  <a:gd name="T18" fmla="*/ 44 w 45"/>
                  <a:gd name="T19" fmla="*/ 1 h 78"/>
                  <a:gd name="T20" fmla="*/ 44 w 45"/>
                  <a:gd name="T21" fmla="*/ 18 h 78"/>
                  <a:gd name="T22" fmla="*/ 44 w 45"/>
                  <a:gd name="T23" fmla="*/ 41 h 78"/>
                  <a:gd name="T24" fmla="*/ 44 w 45"/>
                  <a:gd name="T25" fmla="*/ 62 h 78"/>
                  <a:gd name="T26" fmla="*/ 44 w 45"/>
                  <a:gd name="T27" fmla="*/ 74 h 78"/>
                  <a:gd name="T28" fmla="*/ 31 w 45"/>
                  <a:gd name="T29" fmla="*/ 7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5" h="78">
                    <a:moveTo>
                      <a:pt x="31" y="76"/>
                    </a:moveTo>
                    <a:cubicBezTo>
                      <a:pt x="31" y="76"/>
                      <a:pt x="31" y="76"/>
                      <a:pt x="31" y="76"/>
                    </a:cubicBezTo>
                    <a:cubicBezTo>
                      <a:pt x="24" y="77"/>
                      <a:pt x="18" y="78"/>
                      <a:pt x="11" y="78"/>
                    </a:cubicBezTo>
                    <a:cubicBezTo>
                      <a:pt x="7" y="78"/>
                      <a:pt x="3" y="77"/>
                      <a:pt x="0" y="75"/>
                    </a:cubicBezTo>
                    <a:cubicBezTo>
                      <a:pt x="44" y="58"/>
                      <a:pt x="2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9" y="1"/>
                      <a:pt x="33" y="1"/>
                      <a:pt x="36" y="1"/>
                    </a:cubicBezTo>
                    <a:cubicBezTo>
                      <a:pt x="38" y="1"/>
                      <a:pt x="40" y="1"/>
                      <a:pt x="41" y="1"/>
                    </a:cubicBezTo>
                    <a:cubicBezTo>
                      <a:pt x="42" y="1"/>
                      <a:pt x="43" y="1"/>
                      <a:pt x="44" y="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3" y="6"/>
                      <a:pt x="44" y="12"/>
                      <a:pt x="44" y="18"/>
                    </a:cubicBezTo>
                    <a:cubicBezTo>
                      <a:pt x="44" y="26"/>
                      <a:pt x="44" y="33"/>
                      <a:pt x="44" y="41"/>
                    </a:cubicBezTo>
                    <a:cubicBezTo>
                      <a:pt x="44" y="48"/>
                      <a:pt x="45" y="55"/>
                      <a:pt x="44" y="62"/>
                    </a:cubicBezTo>
                    <a:cubicBezTo>
                      <a:pt x="44" y="66"/>
                      <a:pt x="43" y="70"/>
                      <a:pt x="44" y="74"/>
                    </a:cubicBezTo>
                    <a:cubicBezTo>
                      <a:pt x="39" y="74"/>
                      <a:pt x="35" y="75"/>
                      <a:pt x="31" y="76"/>
                    </a:cubicBezTo>
                    <a:close/>
                  </a:path>
                </a:pathLst>
              </a:custGeom>
              <a:solidFill>
                <a:srgbClr val="6B4A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" name="îšļiďê"/>
              <p:cNvSpPr/>
              <p:nvPr/>
            </p:nvSpPr>
            <p:spPr bwMode="auto">
              <a:xfrm>
                <a:off x="5401774" y="3101938"/>
                <a:ext cx="1520992" cy="525065"/>
              </a:xfrm>
              <a:custGeom>
                <a:avLst/>
                <a:gdLst>
                  <a:gd name="T0" fmla="*/ 197 w 216"/>
                  <a:gd name="T1" fmla="*/ 4 h 75"/>
                  <a:gd name="T2" fmla="*/ 183 w 216"/>
                  <a:gd name="T3" fmla="*/ 3 h 75"/>
                  <a:gd name="T4" fmla="*/ 175 w 216"/>
                  <a:gd name="T5" fmla="*/ 3 h 75"/>
                  <a:gd name="T6" fmla="*/ 165 w 216"/>
                  <a:gd name="T7" fmla="*/ 3 h 75"/>
                  <a:gd name="T8" fmla="*/ 155 w 216"/>
                  <a:gd name="T9" fmla="*/ 3 h 75"/>
                  <a:gd name="T10" fmla="*/ 133 w 216"/>
                  <a:gd name="T11" fmla="*/ 2 h 75"/>
                  <a:gd name="T12" fmla="*/ 111 w 216"/>
                  <a:gd name="T13" fmla="*/ 1 h 75"/>
                  <a:gd name="T14" fmla="*/ 90 w 216"/>
                  <a:gd name="T15" fmla="*/ 0 h 75"/>
                  <a:gd name="T16" fmla="*/ 68 w 216"/>
                  <a:gd name="T17" fmla="*/ 2 h 75"/>
                  <a:gd name="T18" fmla="*/ 40 w 216"/>
                  <a:gd name="T19" fmla="*/ 5 h 75"/>
                  <a:gd name="T20" fmla="*/ 35 w 216"/>
                  <a:gd name="T21" fmla="*/ 5 h 75"/>
                  <a:gd name="T22" fmla="*/ 27 w 216"/>
                  <a:gd name="T23" fmla="*/ 6 h 75"/>
                  <a:gd name="T24" fmla="*/ 12 w 216"/>
                  <a:gd name="T25" fmla="*/ 14 h 75"/>
                  <a:gd name="T26" fmla="*/ 0 w 216"/>
                  <a:gd name="T27" fmla="*/ 47 h 75"/>
                  <a:gd name="T28" fmla="*/ 3 w 216"/>
                  <a:gd name="T29" fmla="*/ 63 h 75"/>
                  <a:gd name="T30" fmla="*/ 14 w 216"/>
                  <a:gd name="T31" fmla="*/ 71 h 75"/>
                  <a:gd name="T32" fmla="*/ 41 w 216"/>
                  <a:gd name="T33" fmla="*/ 72 h 75"/>
                  <a:gd name="T34" fmla="*/ 42 w 216"/>
                  <a:gd name="T35" fmla="*/ 71 h 75"/>
                  <a:gd name="T36" fmla="*/ 56 w 216"/>
                  <a:gd name="T37" fmla="*/ 72 h 75"/>
                  <a:gd name="T38" fmla="*/ 96 w 216"/>
                  <a:gd name="T39" fmla="*/ 71 h 75"/>
                  <a:gd name="T40" fmla="*/ 136 w 216"/>
                  <a:gd name="T41" fmla="*/ 70 h 75"/>
                  <a:gd name="T42" fmla="*/ 155 w 216"/>
                  <a:gd name="T43" fmla="*/ 70 h 75"/>
                  <a:gd name="T44" fmla="*/ 165 w 216"/>
                  <a:gd name="T45" fmla="*/ 70 h 75"/>
                  <a:gd name="T46" fmla="*/ 171 w 216"/>
                  <a:gd name="T47" fmla="*/ 68 h 75"/>
                  <a:gd name="T48" fmla="*/ 200 w 216"/>
                  <a:gd name="T49" fmla="*/ 62 h 75"/>
                  <a:gd name="T50" fmla="*/ 214 w 216"/>
                  <a:gd name="T51" fmla="*/ 39 h 75"/>
                  <a:gd name="T52" fmla="*/ 209 w 216"/>
                  <a:gd name="T53" fmla="*/ 13 h 75"/>
                  <a:gd name="T54" fmla="*/ 197 w 216"/>
                  <a:gd name="T55" fmla="*/ 4 h 75"/>
                  <a:gd name="T56" fmla="*/ 205 w 216"/>
                  <a:gd name="T57" fmla="*/ 38 h 75"/>
                  <a:gd name="T58" fmla="*/ 205 w 216"/>
                  <a:gd name="T59" fmla="*/ 38 h 75"/>
                  <a:gd name="T60" fmla="*/ 194 w 216"/>
                  <a:gd name="T61" fmla="*/ 56 h 75"/>
                  <a:gd name="T62" fmla="*/ 171 w 216"/>
                  <a:gd name="T63" fmla="*/ 62 h 75"/>
                  <a:gd name="T64" fmla="*/ 156 w 216"/>
                  <a:gd name="T65" fmla="*/ 62 h 75"/>
                  <a:gd name="T66" fmla="*/ 137 w 216"/>
                  <a:gd name="T67" fmla="*/ 62 h 75"/>
                  <a:gd name="T68" fmla="*/ 97 w 216"/>
                  <a:gd name="T69" fmla="*/ 64 h 75"/>
                  <a:gd name="T70" fmla="*/ 58 w 216"/>
                  <a:gd name="T71" fmla="*/ 65 h 75"/>
                  <a:gd name="T72" fmla="*/ 32 w 216"/>
                  <a:gd name="T73" fmla="*/ 66 h 75"/>
                  <a:gd name="T74" fmla="*/ 20 w 216"/>
                  <a:gd name="T75" fmla="*/ 64 h 75"/>
                  <a:gd name="T76" fmla="*/ 11 w 216"/>
                  <a:gd name="T77" fmla="*/ 60 h 75"/>
                  <a:gd name="T78" fmla="*/ 8 w 216"/>
                  <a:gd name="T79" fmla="*/ 48 h 75"/>
                  <a:gd name="T80" fmla="*/ 17 w 216"/>
                  <a:gd name="T81" fmla="*/ 21 h 75"/>
                  <a:gd name="T82" fmla="*/ 37 w 216"/>
                  <a:gd name="T83" fmla="*/ 10 h 75"/>
                  <a:gd name="T84" fmla="*/ 66 w 216"/>
                  <a:gd name="T85" fmla="*/ 10 h 75"/>
                  <a:gd name="T86" fmla="*/ 109 w 216"/>
                  <a:gd name="T87" fmla="*/ 9 h 75"/>
                  <a:gd name="T88" fmla="*/ 151 w 216"/>
                  <a:gd name="T89" fmla="*/ 12 h 75"/>
                  <a:gd name="T90" fmla="*/ 160 w 216"/>
                  <a:gd name="T91" fmla="*/ 11 h 75"/>
                  <a:gd name="T92" fmla="*/ 170 w 216"/>
                  <a:gd name="T93" fmla="*/ 11 h 75"/>
                  <a:gd name="T94" fmla="*/ 179 w 216"/>
                  <a:gd name="T95" fmla="*/ 10 h 75"/>
                  <a:gd name="T96" fmla="*/ 185 w 216"/>
                  <a:gd name="T97" fmla="*/ 10 h 75"/>
                  <a:gd name="T98" fmla="*/ 192 w 216"/>
                  <a:gd name="T99" fmla="*/ 12 h 75"/>
                  <a:gd name="T100" fmla="*/ 201 w 216"/>
                  <a:gd name="T101" fmla="*/ 18 h 75"/>
                  <a:gd name="T102" fmla="*/ 205 w 216"/>
                  <a:gd name="T103" fmla="*/ 38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" h="75">
                    <a:moveTo>
                      <a:pt x="197" y="4"/>
                    </a:moveTo>
                    <a:cubicBezTo>
                      <a:pt x="193" y="2"/>
                      <a:pt x="187" y="1"/>
                      <a:pt x="183" y="3"/>
                    </a:cubicBezTo>
                    <a:cubicBezTo>
                      <a:pt x="180" y="2"/>
                      <a:pt x="177" y="3"/>
                      <a:pt x="175" y="3"/>
                    </a:cubicBezTo>
                    <a:cubicBezTo>
                      <a:pt x="171" y="3"/>
                      <a:pt x="168" y="3"/>
                      <a:pt x="165" y="3"/>
                    </a:cubicBezTo>
                    <a:cubicBezTo>
                      <a:pt x="162" y="2"/>
                      <a:pt x="158" y="3"/>
                      <a:pt x="155" y="3"/>
                    </a:cubicBezTo>
                    <a:cubicBezTo>
                      <a:pt x="148" y="4"/>
                      <a:pt x="140" y="3"/>
                      <a:pt x="133" y="2"/>
                    </a:cubicBezTo>
                    <a:cubicBezTo>
                      <a:pt x="126" y="2"/>
                      <a:pt x="119" y="2"/>
                      <a:pt x="111" y="1"/>
                    </a:cubicBezTo>
                    <a:cubicBezTo>
                      <a:pt x="104" y="0"/>
                      <a:pt x="98" y="0"/>
                      <a:pt x="90" y="0"/>
                    </a:cubicBezTo>
                    <a:cubicBezTo>
                      <a:pt x="83" y="0"/>
                      <a:pt x="76" y="1"/>
                      <a:pt x="68" y="2"/>
                    </a:cubicBezTo>
                    <a:cubicBezTo>
                      <a:pt x="59" y="3"/>
                      <a:pt x="50" y="4"/>
                      <a:pt x="40" y="5"/>
                    </a:cubicBezTo>
                    <a:cubicBezTo>
                      <a:pt x="39" y="5"/>
                      <a:pt x="37" y="4"/>
                      <a:pt x="35" y="5"/>
                    </a:cubicBezTo>
                    <a:cubicBezTo>
                      <a:pt x="32" y="5"/>
                      <a:pt x="30" y="5"/>
                      <a:pt x="27" y="6"/>
                    </a:cubicBezTo>
                    <a:cubicBezTo>
                      <a:pt x="21" y="7"/>
                      <a:pt x="16" y="10"/>
                      <a:pt x="12" y="14"/>
                    </a:cubicBezTo>
                    <a:cubicBezTo>
                      <a:pt x="2" y="23"/>
                      <a:pt x="0" y="34"/>
                      <a:pt x="0" y="47"/>
                    </a:cubicBezTo>
                    <a:cubicBezTo>
                      <a:pt x="0" y="52"/>
                      <a:pt x="0" y="58"/>
                      <a:pt x="3" y="63"/>
                    </a:cubicBezTo>
                    <a:cubicBezTo>
                      <a:pt x="6" y="67"/>
                      <a:pt x="10" y="69"/>
                      <a:pt x="14" y="71"/>
                    </a:cubicBezTo>
                    <a:cubicBezTo>
                      <a:pt x="22" y="74"/>
                      <a:pt x="33" y="75"/>
                      <a:pt x="41" y="72"/>
                    </a:cubicBezTo>
                    <a:cubicBezTo>
                      <a:pt x="42" y="72"/>
                      <a:pt x="42" y="72"/>
                      <a:pt x="42" y="71"/>
                    </a:cubicBezTo>
                    <a:cubicBezTo>
                      <a:pt x="47" y="71"/>
                      <a:pt x="52" y="72"/>
                      <a:pt x="56" y="72"/>
                    </a:cubicBezTo>
                    <a:cubicBezTo>
                      <a:pt x="70" y="72"/>
                      <a:pt x="83" y="71"/>
                      <a:pt x="96" y="71"/>
                    </a:cubicBezTo>
                    <a:cubicBezTo>
                      <a:pt x="109" y="71"/>
                      <a:pt x="122" y="70"/>
                      <a:pt x="136" y="70"/>
                    </a:cubicBezTo>
                    <a:cubicBezTo>
                      <a:pt x="142" y="70"/>
                      <a:pt x="149" y="70"/>
                      <a:pt x="155" y="70"/>
                    </a:cubicBezTo>
                    <a:cubicBezTo>
                      <a:pt x="158" y="70"/>
                      <a:pt x="162" y="70"/>
                      <a:pt x="165" y="70"/>
                    </a:cubicBezTo>
                    <a:cubicBezTo>
                      <a:pt x="167" y="69"/>
                      <a:pt x="170" y="69"/>
                      <a:pt x="171" y="68"/>
                    </a:cubicBezTo>
                    <a:cubicBezTo>
                      <a:pt x="181" y="69"/>
                      <a:pt x="192" y="68"/>
                      <a:pt x="200" y="62"/>
                    </a:cubicBezTo>
                    <a:cubicBezTo>
                      <a:pt x="207" y="57"/>
                      <a:pt x="212" y="48"/>
                      <a:pt x="214" y="39"/>
                    </a:cubicBezTo>
                    <a:cubicBezTo>
                      <a:pt x="216" y="30"/>
                      <a:pt x="215" y="21"/>
                      <a:pt x="209" y="13"/>
                    </a:cubicBezTo>
                    <a:cubicBezTo>
                      <a:pt x="206" y="8"/>
                      <a:pt x="202" y="6"/>
                      <a:pt x="197" y="4"/>
                    </a:cubicBezTo>
                    <a:close/>
                    <a:moveTo>
                      <a:pt x="205" y="38"/>
                    </a:moveTo>
                    <a:cubicBezTo>
                      <a:pt x="205" y="38"/>
                      <a:pt x="205" y="38"/>
                      <a:pt x="205" y="38"/>
                    </a:cubicBezTo>
                    <a:cubicBezTo>
                      <a:pt x="204" y="45"/>
                      <a:pt x="200" y="51"/>
                      <a:pt x="194" y="56"/>
                    </a:cubicBezTo>
                    <a:cubicBezTo>
                      <a:pt x="188" y="60"/>
                      <a:pt x="179" y="61"/>
                      <a:pt x="171" y="62"/>
                    </a:cubicBezTo>
                    <a:cubicBezTo>
                      <a:pt x="167" y="60"/>
                      <a:pt x="161" y="62"/>
                      <a:pt x="156" y="62"/>
                    </a:cubicBezTo>
                    <a:cubicBezTo>
                      <a:pt x="150" y="62"/>
                      <a:pt x="143" y="62"/>
                      <a:pt x="137" y="62"/>
                    </a:cubicBezTo>
                    <a:cubicBezTo>
                      <a:pt x="124" y="62"/>
                      <a:pt x="110" y="63"/>
                      <a:pt x="97" y="64"/>
                    </a:cubicBezTo>
                    <a:cubicBezTo>
                      <a:pt x="84" y="64"/>
                      <a:pt x="71" y="65"/>
                      <a:pt x="58" y="65"/>
                    </a:cubicBezTo>
                    <a:cubicBezTo>
                      <a:pt x="49" y="65"/>
                      <a:pt x="40" y="66"/>
                      <a:pt x="32" y="66"/>
                    </a:cubicBezTo>
                    <a:cubicBezTo>
                      <a:pt x="28" y="65"/>
                      <a:pt x="24" y="65"/>
                      <a:pt x="20" y="64"/>
                    </a:cubicBezTo>
                    <a:cubicBezTo>
                      <a:pt x="17" y="63"/>
                      <a:pt x="13" y="62"/>
                      <a:pt x="11" y="60"/>
                    </a:cubicBezTo>
                    <a:cubicBezTo>
                      <a:pt x="8" y="57"/>
                      <a:pt x="8" y="51"/>
                      <a:pt x="8" y="48"/>
                    </a:cubicBezTo>
                    <a:cubicBezTo>
                      <a:pt x="8" y="37"/>
                      <a:pt x="10" y="29"/>
                      <a:pt x="17" y="21"/>
                    </a:cubicBezTo>
                    <a:cubicBezTo>
                      <a:pt x="23" y="15"/>
                      <a:pt x="30" y="13"/>
                      <a:pt x="37" y="10"/>
                    </a:cubicBezTo>
                    <a:cubicBezTo>
                      <a:pt x="47" y="11"/>
                      <a:pt x="56" y="11"/>
                      <a:pt x="66" y="10"/>
                    </a:cubicBezTo>
                    <a:cubicBezTo>
                      <a:pt x="80" y="9"/>
                      <a:pt x="94" y="7"/>
                      <a:pt x="109" y="9"/>
                    </a:cubicBezTo>
                    <a:cubicBezTo>
                      <a:pt x="123" y="11"/>
                      <a:pt x="137" y="11"/>
                      <a:pt x="151" y="12"/>
                    </a:cubicBezTo>
                    <a:cubicBezTo>
                      <a:pt x="154" y="12"/>
                      <a:pt x="157" y="11"/>
                      <a:pt x="160" y="11"/>
                    </a:cubicBezTo>
                    <a:cubicBezTo>
                      <a:pt x="163" y="11"/>
                      <a:pt x="166" y="11"/>
                      <a:pt x="170" y="11"/>
                    </a:cubicBezTo>
                    <a:cubicBezTo>
                      <a:pt x="173" y="11"/>
                      <a:pt x="176" y="10"/>
                      <a:pt x="179" y="10"/>
                    </a:cubicBezTo>
                    <a:cubicBezTo>
                      <a:pt x="181" y="10"/>
                      <a:pt x="183" y="10"/>
                      <a:pt x="185" y="10"/>
                    </a:cubicBezTo>
                    <a:cubicBezTo>
                      <a:pt x="187" y="11"/>
                      <a:pt x="190" y="12"/>
                      <a:pt x="192" y="12"/>
                    </a:cubicBezTo>
                    <a:cubicBezTo>
                      <a:pt x="195" y="14"/>
                      <a:pt x="198" y="15"/>
                      <a:pt x="201" y="18"/>
                    </a:cubicBezTo>
                    <a:cubicBezTo>
                      <a:pt x="206" y="23"/>
                      <a:pt x="206" y="31"/>
                      <a:pt x="205" y="38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" name="iṡlïḍè"/>
              <p:cNvSpPr/>
              <p:nvPr/>
            </p:nvSpPr>
            <p:spPr bwMode="auto">
              <a:xfrm>
                <a:off x="5754074" y="3234050"/>
                <a:ext cx="226964" cy="203251"/>
              </a:xfrm>
              <a:custGeom>
                <a:avLst/>
                <a:gdLst>
                  <a:gd name="T0" fmla="*/ 18 w 32"/>
                  <a:gd name="T1" fmla="*/ 1 h 29"/>
                  <a:gd name="T2" fmla="*/ 5 w 32"/>
                  <a:gd name="T3" fmla="*/ 6 h 29"/>
                  <a:gd name="T4" fmla="*/ 4 w 32"/>
                  <a:gd name="T5" fmla="*/ 7 h 29"/>
                  <a:gd name="T6" fmla="*/ 4 w 32"/>
                  <a:gd name="T7" fmla="*/ 8 h 29"/>
                  <a:gd name="T8" fmla="*/ 7 w 32"/>
                  <a:gd name="T9" fmla="*/ 22 h 29"/>
                  <a:gd name="T10" fmla="*/ 29 w 32"/>
                  <a:gd name="T11" fmla="*/ 10 h 29"/>
                  <a:gd name="T12" fmla="*/ 18 w 32"/>
                  <a:gd name="T1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29">
                    <a:moveTo>
                      <a:pt x="18" y="1"/>
                    </a:moveTo>
                    <a:cubicBezTo>
                      <a:pt x="13" y="0"/>
                      <a:pt x="7" y="1"/>
                      <a:pt x="5" y="6"/>
                    </a:cubicBezTo>
                    <a:cubicBezTo>
                      <a:pt x="4" y="6"/>
                      <a:pt x="4" y="7"/>
                      <a:pt x="4" y="7"/>
                    </a:cubicBezTo>
                    <a:cubicBezTo>
                      <a:pt x="4" y="7"/>
                      <a:pt x="4" y="8"/>
                      <a:pt x="4" y="8"/>
                    </a:cubicBezTo>
                    <a:cubicBezTo>
                      <a:pt x="0" y="13"/>
                      <a:pt x="3" y="19"/>
                      <a:pt x="7" y="22"/>
                    </a:cubicBezTo>
                    <a:cubicBezTo>
                      <a:pt x="16" y="29"/>
                      <a:pt x="32" y="22"/>
                      <a:pt x="29" y="10"/>
                    </a:cubicBezTo>
                    <a:cubicBezTo>
                      <a:pt x="28" y="5"/>
                      <a:pt x="23" y="2"/>
                      <a:pt x="18" y="1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" name="iṣliḓe"/>
              <p:cNvSpPr/>
              <p:nvPr/>
            </p:nvSpPr>
            <p:spPr bwMode="auto">
              <a:xfrm>
                <a:off x="6353664" y="3206950"/>
                <a:ext cx="216800" cy="189701"/>
              </a:xfrm>
              <a:custGeom>
                <a:avLst/>
                <a:gdLst>
                  <a:gd name="T0" fmla="*/ 26 w 31"/>
                  <a:gd name="T1" fmla="*/ 5 h 27"/>
                  <a:gd name="T2" fmla="*/ 9 w 31"/>
                  <a:gd name="T3" fmla="*/ 2 h 27"/>
                  <a:gd name="T4" fmla="*/ 6 w 31"/>
                  <a:gd name="T5" fmla="*/ 5 h 27"/>
                  <a:gd name="T6" fmla="*/ 0 w 31"/>
                  <a:gd name="T7" fmla="*/ 15 h 27"/>
                  <a:gd name="T8" fmla="*/ 13 w 31"/>
                  <a:gd name="T9" fmla="*/ 27 h 27"/>
                  <a:gd name="T10" fmla="*/ 27 w 31"/>
                  <a:gd name="T11" fmla="*/ 22 h 27"/>
                  <a:gd name="T12" fmla="*/ 26 w 31"/>
                  <a:gd name="T13" fmla="*/ 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7">
                    <a:moveTo>
                      <a:pt x="26" y="5"/>
                    </a:moveTo>
                    <a:cubicBezTo>
                      <a:pt x="22" y="1"/>
                      <a:pt x="15" y="0"/>
                      <a:pt x="9" y="2"/>
                    </a:cubicBezTo>
                    <a:cubicBezTo>
                      <a:pt x="8" y="3"/>
                      <a:pt x="7" y="4"/>
                      <a:pt x="6" y="5"/>
                    </a:cubicBezTo>
                    <a:cubicBezTo>
                      <a:pt x="2" y="7"/>
                      <a:pt x="0" y="11"/>
                      <a:pt x="0" y="15"/>
                    </a:cubicBezTo>
                    <a:cubicBezTo>
                      <a:pt x="0" y="22"/>
                      <a:pt x="7" y="26"/>
                      <a:pt x="13" y="27"/>
                    </a:cubicBezTo>
                    <a:cubicBezTo>
                      <a:pt x="18" y="27"/>
                      <a:pt x="24" y="26"/>
                      <a:pt x="27" y="22"/>
                    </a:cubicBezTo>
                    <a:cubicBezTo>
                      <a:pt x="31" y="17"/>
                      <a:pt x="31" y="9"/>
                      <a:pt x="26" y="5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" name="ïṥḻïde"/>
              <p:cNvSpPr/>
              <p:nvPr/>
            </p:nvSpPr>
            <p:spPr bwMode="auto">
              <a:xfrm>
                <a:off x="5747299" y="4592443"/>
                <a:ext cx="64364" cy="67750"/>
              </a:xfrm>
              <a:custGeom>
                <a:avLst/>
                <a:gdLst>
                  <a:gd name="T0" fmla="*/ 8 w 9"/>
                  <a:gd name="T1" fmla="*/ 2 h 10"/>
                  <a:gd name="T2" fmla="*/ 4 w 9"/>
                  <a:gd name="T3" fmla="*/ 0 h 10"/>
                  <a:gd name="T4" fmla="*/ 2 w 9"/>
                  <a:gd name="T5" fmla="*/ 1 h 10"/>
                  <a:gd name="T6" fmla="*/ 1 w 9"/>
                  <a:gd name="T7" fmla="*/ 2 h 10"/>
                  <a:gd name="T8" fmla="*/ 0 w 9"/>
                  <a:gd name="T9" fmla="*/ 4 h 10"/>
                  <a:gd name="T10" fmla="*/ 1 w 9"/>
                  <a:gd name="T11" fmla="*/ 7 h 10"/>
                  <a:gd name="T12" fmla="*/ 8 w 9"/>
                  <a:gd name="T13" fmla="*/ 7 h 10"/>
                  <a:gd name="T14" fmla="*/ 9 w 9"/>
                  <a:gd name="T15" fmla="*/ 4 h 10"/>
                  <a:gd name="T16" fmla="*/ 8 w 9"/>
                  <a:gd name="T17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0">
                    <a:moveTo>
                      <a:pt x="8" y="2"/>
                    </a:moveTo>
                    <a:cubicBezTo>
                      <a:pt x="7" y="1"/>
                      <a:pt x="6" y="0"/>
                      <a:pt x="4" y="0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5"/>
                      <a:pt x="0" y="6"/>
                      <a:pt x="1" y="7"/>
                    </a:cubicBezTo>
                    <a:cubicBezTo>
                      <a:pt x="2" y="10"/>
                      <a:pt x="7" y="10"/>
                      <a:pt x="8" y="7"/>
                    </a:cubicBezTo>
                    <a:cubicBezTo>
                      <a:pt x="9" y="6"/>
                      <a:pt x="9" y="5"/>
                      <a:pt x="9" y="4"/>
                    </a:cubicBezTo>
                    <a:cubicBezTo>
                      <a:pt x="8" y="3"/>
                      <a:pt x="8" y="2"/>
                      <a:pt x="8" y="2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" name="ïṧḻiḓé"/>
              <p:cNvSpPr/>
              <p:nvPr/>
            </p:nvSpPr>
            <p:spPr bwMode="auto">
              <a:xfrm>
                <a:off x="6014913" y="4605993"/>
                <a:ext cx="71139" cy="71139"/>
              </a:xfrm>
              <a:custGeom>
                <a:avLst/>
                <a:gdLst>
                  <a:gd name="T0" fmla="*/ 9 w 10"/>
                  <a:gd name="T1" fmla="*/ 3 h 10"/>
                  <a:gd name="T2" fmla="*/ 5 w 10"/>
                  <a:gd name="T3" fmla="*/ 0 h 10"/>
                  <a:gd name="T4" fmla="*/ 1 w 10"/>
                  <a:gd name="T5" fmla="*/ 3 h 10"/>
                  <a:gd name="T6" fmla="*/ 1 w 10"/>
                  <a:gd name="T7" fmla="*/ 3 h 10"/>
                  <a:gd name="T8" fmla="*/ 0 w 10"/>
                  <a:gd name="T9" fmla="*/ 5 h 10"/>
                  <a:gd name="T10" fmla="*/ 1 w 10"/>
                  <a:gd name="T11" fmla="*/ 8 h 10"/>
                  <a:gd name="T12" fmla="*/ 5 w 10"/>
                  <a:gd name="T13" fmla="*/ 10 h 10"/>
                  <a:gd name="T14" fmla="*/ 9 w 10"/>
                  <a:gd name="T15" fmla="*/ 8 h 10"/>
                  <a:gd name="T16" fmla="*/ 10 w 10"/>
                  <a:gd name="T17" fmla="*/ 5 h 10"/>
                  <a:gd name="T18" fmla="*/ 9 w 10"/>
                  <a:gd name="T19" fmla="*/ 3 h 10"/>
                  <a:gd name="T20" fmla="*/ 9 w 10"/>
                  <a:gd name="T21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0">
                    <a:moveTo>
                      <a:pt x="9" y="3"/>
                    </a:moveTo>
                    <a:cubicBezTo>
                      <a:pt x="8" y="1"/>
                      <a:pt x="7" y="0"/>
                      <a:pt x="5" y="0"/>
                    </a:cubicBezTo>
                    <a:cubicBezTo>
                      <a:pt x="3" y="0"/>
                      <a:pt x="2" y="1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5"/>
                    </a:cubicBezTo>
                    <a:cubicBezTo>
                      <a:pt x="0" y="6"/>
                      <a:pt x="0" y="7"/>
                      <a:pt x="1" y="8"/>
                    </a:cubicBezTo>
                    <a:cubicBezTo>
                      <a:pt x="2" y="9"/>
                      <a:pt x="3" y="10"/>
                      <a:pt x="5" y="10"/>
                    </a:cubicBezTo>
                    <a:cubicBezTo>
                      <a:pt x="7" y="10"/>
                      <a:pt x="8" y="9"/>
                      <a:pt x="9" y="8"/>
                    </a:cubicBezTo>
                    <a:cubicBezTo>
                      <a:pt x="10" y="7"/>
                      <a:pt x="10" y="6"/>
                      <a:pt x="10" y="5"/>
                    </a:cubicBezTo>
                    <a:cubicBezTo>
                      <a:pt x="10" y="5"/>
                      <a:pt x="10" y="4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" name="ïṧľîďè"/>
              <p:cNvSpPr/>
              <p:nvPr/>
            </p:nvSpPr>
            <p:spPr bwMode="auto">
              <a:xfrm>
                <a:off x="6204614" y="4619543"/>
                <a:ext cx="64364" cy="64364"/>
              </a:xfrm>
              <a:custGeom>
                <a:avLst/>
                <a:gdLst>
                  <a:gd name="T0" fmla="*/ 5 w 9"/>
                  <a:gd name="T1" fmla="*/ 0 h 9"/>
                  <a:gd name="T2" fmla="*/ 3 w 9"/>
                  <a:gd name="T3" fmla="*/ 0 h 9"/>
                  <a:gd name="T4" fmla="*/ 1 w 9"/>
                  <a:gd name="T5" fmla="*/ 1 h 9"/>
                  <a:gd name="T6" fmla="*/ 0 w 9"/>
                  <a:gd name="T7" fmla="*/ 5 h 9"/>
                  <a:gd name="T8" fmla="*/ 0 w 9"/>
                  <a:gd name="T9" fmla="*/ 6 h 9"/>
                  <a:gd name="T10" fmla="*/ 1 w 9"/>
                  <a:gd name="T11" fmla="*/ 8 h 9"/>
                  <a:gd name="T12" fmla="*/ 4 w 9"/>
                  <a:gd name="T13" fmla="*/ 9 h 9"/>
                  <a:gd name="T14" fmla="*/ 6 w 9"/>
                  <a:gd name="T15" fmla="*/ 9 h 9"/>
                  <a:gd name="T16" fmla="*/ 8 w 9"/>
                  <a:gd name="T17" fmla="*/ 6 h 9"/>
                  <a:gd name="T18" fmla="*/ 8 w 9"/>
                  <a:gd name="T19" fmla="*/ 2 h 9"/>
                  <a:gd name="T20" fmla="*/ 5 w 9"/>
                  <a:gd name="T2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9">
                    <a:moveTo>
                      <a:pt x="5" y="0"/>
                    </a:move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2" y="1"/>
                      <a:pt x="1" y="1"/>
                    </a:cubicBezTo>
                    <a:cubicBezTo>
                      <a:pt x="0" y="2"/>
                      <a:pt x="0" y="3"/>
                      <a:pt x="0" y="5"/>
                    </a:cubicBezTo>
                    <a:cubicBezTo>
                      <a:pt x="0" y="5"/>
                      <a:pt x="0" y="5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cubicBezTo>
                      <a:pt x="2" y="9"/>
                      <a:pt x="3" y="9"/>
                      <a:pt x="4" y="9"/>
                    </a:cubicBezTo>
                    <a:cubicBezTo>
                      <a:pt x="5" y="9"/>
                      <a:pt x="6" y="9"/>
                      <a:pt x="6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5"/>
                      <a:pt x="9" y="3"/>
                      <a:pt x="8" y="2"/>
                    </a:cubicBezTo>
                    <a:cubicBezTo>
                      <a:pt x="7" y="1"/>
                      <a:pt x="6" y="0"/>
                      <a:pt x="5" y="0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" name="í$ļîdé"/>
              <p:cNvSpPr/>
              <p:nvPr/>
            </p:nvSpPr>
            <p:spPr bwMode="auto">
              <a:xfrm>
                <a:off x="6472226" y="4670354"/>
                <a:ext cx="3389" cy="3389"/>
              </a:xfrm>
              <a:prstGeom prst="rect">
                <a:avLst/>
              </a:pr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" name="í$lïdê"/>
              <p:cNvSpPr/>
              <p:nvPr/>
            </p:nvSpPr>
            <p:spPr bwMode="auto">
              <a:xfrm>
                <a:off x="6421414" y="4605993"/>
                <a:ext cx="84689" cy="71139"/>
              </a:xfrm>
              <a:custGeom>
                <a:avLst/>
                <a:gdLst>
                  <a:gd name="T0" fmla="*/ 8 w 12"/>
                  <a:gd name="T1" fmla="*/ 0 h 10"/>
                  <a:gd name="T2" fmla="*/ 2 w 12"/>
                  <a:gd name="T3" fmla="*/ 3 h 10"/>
                  <a:gd name="T4" fmla="*/ 2 w 12"/>
                  <a:gd name="T5" fmla="*/ 8 h 10"/>
                  <a:gd name="T6" fmla="*/ 7 w 12"/>
                  <a:gd name="T7" fmla="*/ 8 h 10"/>
                  <a:gd name="T8" fmla="*/ 7 w 12"/>
                  <a:gd name="T9" fmla="*/ 8 h 10"/>
                  <a:gd name="T10" fmla="*/ 7 w 12"/>
                  <a:gd name="T11" fmla="*/ 9 h 10"/>
                  <a:gd name="T12" fmla="*/ 7 w 12"/>
                  <a:gd name="T13" fmla="*/ 8 h 10"/>
                  <a:gd name="T14" fmla="*/ 7 w 12"/>
                  <a:gd name="T15" fmla="*/ 8 h 10"/>
                  <a:gd name="T16" fmla="*/ 9 w 12"/>
                  <a:gd name="T17" fmla="*/ 8 h 10"/>
                  <a:gd name="T18" fmla="*/ 8 w 12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0">
                    <a:moveTo>
                      <a:pt x="8" y="0"/>
                    </a:moveTo>
                    <a:cubicBezTo>
                      <a:pt x="6" y="0"/>
                      <a:pt x="3" y="1"/>
                      <a:pt x="2" y="3"/>
                    </a:cubicBezTo>
                    <a:cubicBezTo>
                      <a:pt x="0" y="4"/>
                      <a:pt x="0" y="7"/>
                      <a:pt x="2" y="8"/>
                    </a:cubicBezTo>
                    <a:cubicBezTo>
                      <a:pt x="3" y="10"/>
                      <a:pt x="6" y="10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7" y="8"/>
                      <a:pt x="7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8" y="8"/>
                      <a:pt x="9" y="8"/>
                      <a:pt x="9" y="8"/>
                    </a:cubicBezTo>
                    <a:cubicBezTo>
                      <a:pt x="12" y="6"/>
                      <a:pt x="12" y="1"/>
                      <a:pt x="8" y="0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" name="ïş1iḋé"/>
              <p:cNvSpPr/>
              <p:nvPr/>
            </p:nvSpPr>
            <p:spPr bwMode="auto">
              <a:xfrm>
                <a:off x="6438351" y="3782827"/>
                <a:ext cx="477640" cy="667341"/>
              </a:xfrm>
              <a:custGeom>
                <a:avLst/>
                <a:gdLst>
                  <a:gd name="T0" fmla="*/ 66 w 68"/>
                  <a:gd name="T1" fmla="*/ 27 h 95"/>
                  <a:gd name="T2" fmla="*/ 65 w 68"/>
                  <a:gd name="T3" fmla="*/ 9 h 95"/>
                  <a:gd name="T4" fmla="*/ 64 w 68"/>
                  <a:gd name="T5" fmla="*/ 4 h 95"/>
                  <a:gd name="T6" fmla="*/ 54 w 68"/>
                  <a:gd name="T7" fmla="*/ 2 h 95"/>
                  <a:gd name="T8" fmla="*/ 39 w 68"/>
                  <a:gd name="T9" fmla="*/ 1 h 95"/>
                  <a:gd name="T10" fmla="*/ 21 w 68"/>
                  <a:gd name="T11" fmla="*/ 1 h 95"/>
                  <a:gd name="T12" fmla="*/ 8 w 68"/>
                  <a:gd name="T13" fmla="*/ 4 h 95"/>
                  <a:gd name="T14" fmla="*/ 6 w 68"/>
                  <a:gd name="T15" fmla="*/ 5 h 95"/>
                  <a:gd name="T16" fmla="*/ 3 w 68"/>
                  <a:gd name="T17" fmla="*/ 50 h 95"/>
                  <a:gd name="T18" fmla="*/ 1 w 68"/>
                  <a:gd name="T19" fmla="*/ 78 h 95"/>
                  <a:gd name="T20" fmla="*/ 7 w 68"/>
                  <a:gd name="T21" fmla="*/ 89 h 95"/>
                  <a:gd name="T22" fmla="*/ 23 w 68"/>
                  <a:gd name="T23" fmla="*/ 94 h 95"/>
                  <a:gd name="T24" fmla="*/ 44 w 68"/>
                  <a:gd name="T25" fmla="*/ 93 h 95"/>
                  <a:gd name="T26" fmla="*/ 60 w 68"/>
                  <a:gd name="T27" fmla="*/ 89 h 95"/>
                  <a:gd name="T28" fmla="*/ 61 w 68"/>
                  <a:gd name="T29" fmla="*/ 90 h 95"/>
                  <a:gd name="T30" fmla="*/ 65 w 68"/>
                  <a:gd name="T31" fmla="*/ 89 h 95"/>
                  <a:gd name="T32" fmla="*/ 66 w 68"/>
                  <a:gd name="T33" fmla="*/ 80 h 95"/>
                  <a:gd name="T34" fmla="*/ 67 w 68"/>
                  <a:gd name="T35" fmla="*/ 70 h 95"/>
                  <a:gd name="T36" fmla="*/ 67 w 68"/>
                  <a:gd name="T37" fmla="*/ 49 h 95"/>
                  <a:gd name="T38" fmla="*/ 66 w 68"/>
                  <a:gd name="T39" fmla="*/ 27 h 95"/>
                  <a:gd name="T40" fmla="*/ 45 w 68"/>
                  <a:gd name="T41" fmla="*/ 85 h 95"/>
                  <a:gd name="T42" fmla="*/ 45 w 68"/>
                  <a:gd name="T43" fmla="*/ 85 h 95"/>
                  <a:gd name="T44" fmla="*/ 25 w 68"/>
                  <a:gd name="T45" fmla="*/ 87 h 95"/>
                  <a:gd name="T46" fmla="*/ 12 w 68"/>
                  <a:gd name="T47" fmla="*/ 83 h 95"/>
                  <a:gd name="T48" fmla="*/ 9 w 68"/>
                  <a:gd name="T49" fmla="*/ 74 h 95"/>
                  <a:gd name="T50" fmla="*/ 10 w 68"/>
                  <a:gd name="T51" fmla="*/ 48 h 95"/>
                  <a:gd name="T52" fmla="*/ 11 w 68"/>
                  <a:gd name="T53" fmla="*/ 8 h 95"/>
                  <a:gd name="T54" fmla="*/ 15 w 68"/>
                  <a:gd name="T55" fmla="*/ 8 h 95"/>
                  <a:gd name="T56" fmla="*/ 22 w 68"/>
                  <a:gd name="T57" fmla="*/ 8 h 95"/>
                  <a:gd name="T58" fmla="*/ 36 w 68"/>
                  <a:gd name="T59" fmla="*/ 9 h 95"/>
                  <a:gd name="T60" fmla="*/ 50 w 68"/>
                  <a:gd name="T61" fmla="*/ 10 h 95"/>
                  <a:gd name="T62" fmla="*/ 55 w 68"/>
                  <a:gd name="T63" fmla="*/ 10 h 95"/>
                  <a:gd name="T64" fmla="*/ 58 w 68"/>
                  <a:gd name="T65" fmla="*/ 10 h 95"/>
                  <a:gd name="T66" fmla="*/ 58 w 68"/>
                  <a:gd name="T67" fmla="*/ 10 h 95"/>
                  <a:gd name="T68" fmla="*/ 58 w 68"/>
                  <a:gd name="T69" fmla="*/ 27 h 95"/>
                  <a:gd name="T70" fmla="*/ 58 w 68"/>
                  <a:gd name="T71" fmla="*/ 50 h 95"/>
                  <a:gd name="T72" fmla="*/ 58 w 68"/>
                  <a:gd name="T73" fmla="*/ 71 h 95"/>
                  <a:gd name="T74" fmla="*/ 58 w 68"/>
                  <a:gd name="T75" fmla="*/ 83 h 95"/>
                  <a:gd name="T76" fmla="*/ 45 w 68"/>
                  <a:gd name="T77" fmla="*/ 8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8" h="95">
                    <a:moveTo>
                      <a:pt x="66" y="27"/>
                    </a:moveTo>
                    <a:cubicBezTo>
                      <a:pt x="66" y="21"/>
                      <a:pt x="66" y="15"/>
                      <a:pt x="65" y="9"/>
                    </a:cubicBezTo>
                    <a:cubicBezTo>
                      <a:pt x="66" y="7"/>
                      <a:pt x="66" y="5"/>
                      <a:pt x="64" y="4"/>
                    </a:cubicBezTo>
                    <a:cubicBezTo>
                      <a:pt x="62" y="1"/>
                      <a:pt x="58" y="1"/>
                      <a:pt x="54" y="2"/>
                    </a:cubicBezTo>
                    <a:cubicBezTo>
                      <a:pt x="49" y="2"/>
                      <a:pt x="44" y="2"/>
                      <a:pt x="39" y="1"/>
                    </a:cubicBezTo>
                    <a:cubicBezTo>
                      <a:pt x="33" y="1"/>
                      <a:pt x="27" y="0"/>
                      <a:pt x="21" y="1"/>
                    </a:cubicBezTo>
                    <a:cubicBezTo>
                      <a:pt x="16" y="1"/>
                      <a:pt x="12" y="1"/>
                      <a:pt x="8" y="4"/>
                    </a:cubicBezTo>
                    <a:cubicBezTo>
                      <a:pt x="7" y="4"/>
                      <a:pt x="6" y="4"/>
                      <a:pt x="6" y="5"/>
                    </a:cubicBezTo>
                    <a:cubicBezTo>
                      <a:pt x="1" y="20"/>
                      <a:pt x="3" y="35"/>
                      <a:pt x="3" y="50"/>
                    </a:cubicBezTo>
                    <a:cubicBezTo>
                      <a:pt x="3" y="60"/>
                      <a:pt x="0" y="69"/>
                      <a:pt x="1" y="78"/>
                    </a:cubicBezTo>
                    <a:cubicBezTo>
                      <a:pt x="2" y="83"/>
                      <a:pt x="4" y="87"/>
                      <a:pt x="7" y="89"/>
                    </a:cubicBezTo>
                    <a:cubicBezTo>
                      <a:pt x="11" y="93"/>
                      <a:pt x="17" y="94"/>
                      <a:pt x="23" y="94"/>
                    </a:cubicBezTo>
                    <a:cubicBezTo>
                      <a:pt x="30" y="95"/>
                      <a:pt x="37" y="94"/>
                      <a:pt x="44" y="93"/>
                    </a:cubicBezTo>
                    <a:cubicBezTo>
                      <a:pt x="50" y="92"/>
                      <a:pt x="55" y="91"/>
                      <a:pt x="60" y="89"/>
                    </a:cubicBezTo>
                    <a:cubicBezTo>
                      <a:pt x="61" y="89"/>
                      <a:pt x="61" y="90"/>
                      <a:pt x="61" y="90"/>
                    </a:cubicBezTo>
                    <a:cubicBezTo>
                      <a:pt x="63" y="91"/>
                      <a:pt x="65" y="90"/>
                      <a:pt x="65" y="89"/>
                    </a:cubicBezTo>
                    <a:cubicBezTo>
                      <a:pt x="67" y="86"/>
                      <a:pt x="66" y="84"/>
                      <a:pt x="66" y="80"/>
                    </a:cubicBezTo>
                    <a:cubicBezTo>
                      <a:pt x="66" y="77"/>
                      <a:pt x="67" y="73"/>
                      <a:pt x="67" y="70"/>
                    </a:cubicBezTo>
                    <a:cubicBezTo>
                      <a:pt x="68" y="63"/>
                      <a:pt x="67" y="56"/>
                      <a:pt x="67" y="49"/>
                    </a:cubicBezTo>
                    <a:cubicBezTo>
                      <a:pt x="67" y="42"/>
                      <a:pt x="67" y="34"/>
                      <a:pt x="66" y="27"/>
                    </a:cubicBezTo>
                    <a:close/>
                    <a:moveTo>
                      <a:pt x="45" y="85"/>
                    </a:moveTo>
                    <a:cubicBezTo>
                      <a:pt x="45" y="85"/>
                      <a:pt x="45" y="85"/>
                      <a:pt x="45" y="85"/>
                    </a:cubicBezTo>
                    <a:cubicBezTo>
                      <a:pt x="38" y="86"/>
                      <a:pt x="32" y="87"/>
                      <a:pt x="25" y="87"/>
                    </a:cubicBezTo>
                    <a:cubicBezTo>
                      <a:pt x="21" y="87"/>
                      <a:pt x="15" y="86"/>
                      <a:pt x="12" y="83"/>
                    </a:cubicBezTo>
                    <a:cubicBezTo>
                      <a:pt x="9" y="81"/>
                      <a:pt x="9" y="77"/>
                      <a:pt x="9" y="74"/>
                    </a:cubicBezTo>
                    <a:cubicBezTo>
                      <a:pt x="8" y="65"/>
                      <a:pt x="10" y="56"/>
                      <a:pt x="10" y="48"/>
                    </a:cubicBezTo>
                    <a:cubicBezTo>
                      <a:pt x="10" y="34"/>
                      <a:pt x="10" y="21"/>
                      <a:pt x="11" y="8"/>
                    </a:cubicBezTo>
                    <a:cubicBezTo>
                      <a:pt x="12" y="8"/>
                      <a:pt x="13" y="8"/>
                      <a:pt x="15" y="8"/>
                    </a:cubicBezTo>
                    <a:cubicBezTo>
                      <a:pt x="17" y="8"/>
                      <a:pt x="20" y="8"/>
                      <a:pt x="22" y="8"/>
                    </a:cubicBezTo>
                    <a:cubicBezTo>
                      <a:pt x="27" y="8"/>
                      <a:pt x="32" y="9"/>
                      <a:pt x="36" y="9"/>
                    </a:cubicBezTo>
                    <a:cubicBezTo>
                      <a:pt x="41" y="9"/>
                      <a:pt x="46" y="10"/>
                      <a:pt x="50" y="10"/>
                    </a:cubicBezTo>
                    <a:cubicBezTo>
                      <a:pt x="52" y="10"/>
                      <a:pt x="54" y="10"/>
                      <a:pt x="55" y="10"/>
                    </a:cubicBezTo>
                    <a:cubicBezTo>
                      <a:pt x="56" y="10"/>
                      <a:pt x="57" y="10"/>
                      <a:pt x="58" y="10"/>
                    </a:cubicBezTo>
                    <a:cubicBezTo>
                      <a:pt x="58" y="10"/>
                      <a:pt x="58" y="10"/>
                      <a:pt x="58" y="10"/>
                    </a:cubicBezTo>
                    <a:cubicBezTo>
                      <a:pt x="57" y="15"/>
                      <a:pt x="58" y="21"/>
                      <a:pt x="58" y="27"/>
                    </a:cubicBezTo>
                    <a:cubicBezTo>
                      <a:pt x="58" y="35"/>
                      <a:pt x="58" y="42"/>
                      <a:pt x="58" y="50"/>
                    </a:cubicBezTo>
                    <a:cubicBezTo>
                      <a:pt x="58" y="57"/>
                      <a:pt x="59" y="64"/>
                      <a:pt x="58" y="71"/>
                    </a:cubicBezTo>
                    <a:cubicBezTo>
                      <a:pt x="58" y="75"/>
                      <a:pt x="57" y="79"/>
                      <a:pt x="58" y="83"/>
                    </a:cubicBezTo>
                    <a:cubicBezTo>
                      <a:pt x="53" y="83"/>
                      <a:pt x="49" y="84"/>
                      <a:pt x="45" y="85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" name="îŝḷíde"/>
              <p:cNvSpPr/>
              <p:nvPr/>
            </p:nvSpPr>
            <p:spPr bwMode="auto">
              <a:xfrm>
                <a:off x="6760165" y="3931877"/>
                <a:ext cx="71139" cy="74525"/>
              </a:xfrm>
              <a:custGeom>
                <a:avLst/>
                <a:gdLst>
                  <a:gd name="T0" fmla="*/ 9 w 10"/>
                  <a:gd name="T1" fmla="*/ 2 h 11"/>
                  <a:gd name="T2" fmla="*/ 7 w 10"/>
                  <a:gd name="T3" fmla="*/ 0 h 11"/>
                  <a:gd name="T4" fmla="*/ 4 w 10"/>
                  <a:gd name="T5" fmla="*/ 0 h 11"/>
                  <a:gd name="T6" fmla="*/ 2 w 10"/>
                  <a:gd name="T7" fmla="*/ 1 h 11"/>
                  <a:gd name="T8" fmla="*/ 0 w 10"/>
                  <a:gd name="T9" fmla="*/ 4 h 11"/>
                  <a:gd name="T10" fmla="*/ 1 w 10"/>
                  <a:gd name="T11" fmla="*/ 9 h 11"/>
                  <a:gd name="T12" fmla="*/ 5 w 10"/>
                  <a:gd name="T13" fmla="*/ 11 h 11"/>
                  <a:gd name="T14" fmla="*/ 8 w 10"/>
                  <a:gd name="T15" fmla="*/ 10 h 11"/>
                  <a:gd name="T16" fmla="*/ 10 w 10"/>
                  <a:gd name="T17" fmla="*/ 8 h 11"/>
                  <a:gd name="T18" fmla="*/ 10 w 10"/>
                  <a:gd name="T19" fmla="*/ 7 h 11"/>
                  <a:gd name="T20" fmla="*/ 10 w 10"/>
                  <a:gd name="T21" fmla="*/ 4 h 11"/>
                  <a:gd name="T22" fmla="*/ 9 w 10"/>
                  <a:gd name="T23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1">
                    <a:moveTo>
                      <a:pt x="9" y="2"/>
                    </a:moveTo>
                    <a:cubicBezTo>
                      <a:pt x="8" y="1"/>
                      <a:pt x="7" y="1"/>
                      <a:pt x="7" y="0"/>
                    </a:cubicBezTo>
                    <a:cubicBezTo>
                      <a:pt x="6" y="0"/>
                      <a:pt x="5" y="0"/>
                      <a:pt x="4" y="0"/>
                    </a:cubicBezTo>
                    <a:cubicBezTo>
                      <a:pt x="3" y="0"/>
                      <a:pt x="3" y="1"/>
                      <a:pt x="2" y="1"/>
                    </a:cubicBezTo>
                    <a:cubicBezTo>
                      <a:pt x="1" y="2"/>
                      <a:pt x="1" y="3"/>
                      <a:pt x="0" y="4"/>
                    </a:cubicBezTo>
                    <a:cubicBezTo>
                      <a:pt x="0" y="6"/>
                      <a:pt x="0" y="8"/>
                      <a:pt x="1" y="9"/>
                    </a:cubicBezTo>
                    <a:cubicBezTo>
                      <a:pt x="2" y="10"/>
                      <a:pt x="4" y="11"/>
                      <a:pt x="5" y="11"/>
                    </a:cubicBezTo>
                    <a:cubicBezTo>
                      <a:pt x="6" y="11"/>
                      <a:pt x="7" y="10"/>
                      <a:pt x="8" y="10"/>
                    </a:cubicBezTo>
                    <a:cubicBezTo>
                      <a:pt x="8" y="9"/>
                      <a:pt x="9" y="9"/>
                      <a:pt x="10" y="8"/>
                    </a:cubicBezTo>
                    <a:cubicBezTo>
                      <a:pt x="10" y="8"/>
                      <a:pt x="10" y="7"/>
                      <a:pt x="10" y="7"/>
                    </a:cubicBezTo>
                    <a:cubicBezTo>
                      <a:pt x="10" y="6"/>
                      <a:pt x="10" y="5"/>
                      <a:pt x="10" y="4"/>
                    </a:cubicBezTo>
                    <a:cubicBezTo>
                      <a:pt x="10" y="3"/>
                      <a:pt x="9" y="2"/>
                      <a:pt x="9" y="2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" name="i$ļîdé"/>
              <p:cNvSpPr/>
              <p:nvPr/>
            </p:nvSpPr>
            <p:spPr bwMode="auto">
              <a:xfrm>
                <a:off x="5394999" y="3718465"/>
                <a:ext cx="64364" cy="196476"/>
              </a:xfrm>
              <a:custGeom>
                <a:avLst/>
                <a:gdLst>
                  <a:gd name="T0" fmla="*/ 6 w 9"/>
                  <a:gd name="T1" fmla="*/ 0 h 28"/>
                  <a:gd name="T2" fmla="*/ 4 w 9"/>
                  <a:gd name="T3" fmla="*/ 0 h 28"/>
                  <a:gd name="T4" fmla="*/ 1 w 9"/>
                  <a:gd name="T5" fmla="*/ 10 h 28"/>
                  <a:gd name="T6" fmla="*/ 1 w 9"/>
                  <a:gd name="T7" fmla="*/ 24 h 28"/>
                  <a:gd name="T8" fmla="*/ 9 w 9"/>
                  <a:gd name="T9" fmla="*/ 24 h 28"/>
                  <a:gd name="T10" fmla="*/ 9 w 9"/>
                  <a:gd name="T11" fmla="*/ 11 h 28"/>
                  <a:gd name="T12" fmla="*/ 6 w 9"/>
                  <a:gd name="T1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28">
                    <a:moveTo>
                      <a:pt x="6" y="0"/>
                    </a:moveTo>
                    <a:cubicBezTo>
                      <a:pt x="5" y="0"/>
                      <a:pt x="4" y="0"/>
                      <a:pt x="4" y="0"/>
                    </a:cubicBezTo>
                    <a:cubicBezTo>
                      <a:pt x="1" y="2"/>
                      <a:pt x="1" y="6"/>
                      <a:pt x="1" y="10"/>
                    </a:cubicBezTo>
                    <a:cubicBezTo>
                      <a:pt x="1" y="15"/>
                      <a:pt x="0" y="19"/>
                      <a:pt x="1" y="24"/>
                    </a:cubicBezTo>
                    <a:cubicBezTo>
                      <a:pt x="2" y="28"/>
                      <a:pt x="8" y="28"/>
                      <a:pt x="9" y="24"/>
                    </a:cubicBezTo>
                    <a:cubicBezTo>
                      <a:pt x="9" y="20"/>
                      <a:pt x="9" y="15"/>
                      <a:pt x="9" y="11"/>
                    </a:cubicBezTo>
                    <a:cubicBezTo>
                      <a:pt x="9" y="8"/>
                      <a:pt x="9" y="3"/>
                      <a:pt x="6" y="0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" name="ïṩḷïḑé"/>
              <p:cNvSpPr/>
              <p:nvPr/>
            </p:nvSpPr>
            <p:spPr bwMode="auto">
              <a:xfrm>
                <a:off x="5530499" y="3698140"/>
                <a:ext cx="60975" cy="196476"/>
              </a:xfrm>
              <a:custGeom>
                <a:avLst/>
                <a:gdLst>
                  <a:gd name="T0" fmla="*/ 1 w 9"/>
                  <a:gd name="T1" fmla="*/ 3 h 28"/>
                  <a:gd name="T2" fmla="*/ 0 w 9"/>
                  <a:gd name="T3" fmla="*/ 13 h 28"/>
                  <a:gd name="T4" fmla="*/ 0 w 9"/>
                  <a:gd name="T5" fmla="*/ 23 h 28"/>
                  <a:gd name="T6" fmla="*/ 8 w 9"/>
                  <a:gd name="T7" fmla="*/ 24 h 28"/>
                  <a:gd name="T8" fmla="*/ 6 w 9"/>
                  <a:gd name="T9" fmla="*/ 3 h 28"/>
                  <a:gd name="T10" fmla="*/ 1 w 9"/>
                  <a:gd name="T11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28">
                    <a:moveTo>
                      <a:pt x="1" y="3"/>
                    </a:moveTo>
                    <a:cubicBezTo>
                      <a:pt x="0" y="6"/>
                      <a:pt x="0" y="9"/>
                      <a:pt x="0" y="13"/>
                    </a:cubicBezTo>
                    <a:cubicBezTo>
                      <a:pt x="0" y="16"/>
                      <a:pt x="0" y="19"/>
                      <a:pt x="0" y="23"/>
                    </a:cubicBezTo>
                    <a:cubicBezTo>
                      <a:pt x="0" y="27"/>
                      <a:pt x="7" y="28"/>
                      <a:pt x="8" y="24"/>
                    </a:cubicBezTo>
                    <a:cubicBezTo>
                      <a:pt x="9" y="17"/>
                      <a:pt x="9" y="8"/>
                      <a:pt x="6" y="3"/>
                    </a:cubicBezTo>
                    <a:cubicBezTo>
                      <a:pt x="5" y="0"/>
                      <a:pt x="2" y="1"/>
                      <a:pt x="1" y="3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" name="î$ľíḍê"/>
              <p:cNvSpPr/>
              <p:nvPr/>
            </p:nvSpPr>
            <p:spPr bwMode="auto">
              <a:xfrm>
                <a:off x="5621963" y="3711690"/>
                <a:ext cx="74525" cy="182926"/>
              </a:xfrm>
              <a:custGeom>
                <a:avLst/>
                <a:gdLst>
                  <a:gd name="T0" fmla="*/ 3 w 11"/>
                  <a:gd name="T1" fmla="*/ 2 h 26"/>
                  <a:gd name="T2" fmla="*/ 2 w 11"/>
                  <a:gd name="T3" fmla="*/ 23 h 26"/>
                  <a:gd name="T4" fmla="*/ 5 w 11"/>
                  <a:gd name="T5" fmla="*/ 26 h 26"/>
                  <a:gd name="T6" fmla="*/ 7 w 11"/>
                  <a:gd name="T7" fmla="*/ 26 h 26"/>
                  <a:gd name="T8" fmla="*/ 10 w 11"/>
                  <a:gd name="T9" fmla="*/ 23 h 26"/>
                  <a:gd name="T10" fmla="*/ 8 w 11"/>
                  <a:gd name="T11" fmla="*/ 3 h 26"/>
                  <a:gd name="T12" fmla="*/ 3 w 11"/>
                  <a:gd name="T13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26">
                    <a:moveTo>
                      <a:pt x="3" y="2"/>
                    </a:moveTo>
                    <a:cubicBezTo>
                      <a:pt x="0" y="9"/>
                      <a:pt x="1" y="17"/>
                      <a:pt x="2" y="23"/>
                    </a:cubicBezTo>
                    <a:cubicBezTo>
                      <a:pt x="3" y="24"/>
                      <a:pt x="4" y="26"/>
                      <a:pt x="5" y="26"/>
                    </a:cubicBezTo>
                    <a:cubicBezTo>
                      <a:pt x="6" y="26"/>
                      <a:pt x="6" y="26"/>
                      <a:pt x="7" y="26"/>
                    </a:cubicBezTo>
                    <a:cubicBezTo>
                      <a:pt x="8" y="26"/>
                      <a:pt x="10" y="24"/>
                      <a:pt x="10" y="23"/>
                    </a:cubicBezTo>
                    <a:cubicBezTo>
                      <a:pt x="11" y="17"/>
                      <a:pt x="10" y="9"/>
                      <a:pt x="8" y="3"/>
                    </a:cubicBezTo>
                    <a:cubicBezTo>
                      <a:pt x="7" y="1"/>
                      <a:pt x="4" y="0"/>
                      <a:pt x="3" y="2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" name="ïsḷïdê"/>
              <p:cNvSpPr/>
              <p:nvPr/>
            </p:nvSpPr>
            <p:spPr bwMode="auto">
              <a:xfrm>
                <a:off x="3558970" y="2488798"/>
                <a:ext cx="5067710" cy="2391582"/>
              </a:xfrm>
              <a:custGeom>
                <a:avLst/>
                <a:gdLst>
                  <a:gd name="T0" fmla="*/ 661 w 720"/>
                  <a:gd name="T1" fmla="*/ 131 h 340"/>
                  <a:gd name="T2" fmla="*/ 632 w 720"/>
                  <a:gd name="T3" fmla="*/ 165 h 340"/>
                  <a:gd name="T4" fmla="*/ 577 w 720"/>
                  <a:gd name="T5" fmla="*/ 194 h 340"/>
                  <a:gd name="T6" fmla="*/ 531 w 720"/>
                  <a:gd name="T7" fmla="*/ 142 h 340"/>
                  <a:gd name="T8" fmla="*/ 445 w 720"/>
                  <a:gd name="T9" fmla="*/ 24 h 340"/>
                  <a:gd name="T10" fmla="*/ 290 w 720"/>
                  <a:gd name="T11" fmla="*/ 0 h 340"/>
                  <a:gd name="T12" fmla="*/ 255 w 720"/>
                  <a:gd name="T13" fmla="*/ 83 h 340"/>
                  <a:gd name="T14" fmla="*/ 180 w 720"/>
                  <a:gd name="T15" fmla="*/ 203 h 340"/>
                  <a:gd name="T16" fmla="*/ 105 w 720"/>
                  <a:gd name="T17" fmla="*/ 199 h 340"/>
                  <a:gd name="T18" fmla="*/ 66 w 720"/>
                  <a:gd name="T19" fmla="*/ 189 h 340"/>
                  <a:gd name="T20" fmla="*/ 1 w 720"/>
                  <a:gd name="T21" fmla="*/ 200 h 340"/>
                  <a:gd name="T22" fmla="*/ 130 w 720"/>
                  <a:gd name="T23" fmla="*/ 270 h 340"/>
                  <a:gd name="T24" fmla="*/ 274 w 720"/>
                  <a:gd name="T25" fmla="*/ 312 h 340"/>
                  <a:gd name="T26" fmla="*/ 460 w 720"/>
                  <a:gd name="T27" fmla="*/ 312 h 340"/>
                  <a:gd name="T28" fmla="*/ 673 w 720"/>
                  <a:gd name="T29" fmla="*/ 198 h 340"/>
                  <a:gd name="T30" fmla="*/ 703 w 720"/>
                  <a:gd name="T31" fmla="*/ 127 h 340"/>
                  <a:gd name="T32" fmla="*/ 452 w 720"/>
                  <a:gd name="T33" fmla="*/ 36 h 340"/>
                  <a:gd name="T34" fmla="*/ 444 w 720"/>
                  <a:gd name="T35" fmla="*/ 53 h 340"/>
                  <a:gd name="T36" fmla="*/ 302 w 720"/>
                  <a:gd name="T37" fmla="*/ 42 h 340"/>
                  <a:gd name="T38" fmla="*/ 208 w 720"/>
                  <a:gd name="T39" fmla="*/ 190 h 340"/>
                  <a:gd name="T40" fmla="*/ 52 w 720"/>
                  <a:gd name="T41" fmla="*/ 227 h 340"/>
                  <a:gd name="T42" fmla="*/ 27 w 720"/>
                  <a:gd name="T43" fmla="*/ 200 h 340"/>
                  <a:gd name="T44" fmla="*/ 55 w 720"/>
                  <a:gd name="T45" fmla="*/ 147 h 340"/>
                  <a:gd name="T46" fmla="*/ 85 w 720"/>
                  <a:gd name="T47" fmla="*/ 232 h 340"/>
                  <a:gd name="T48" fmla="*/ 85 w 720"/>
                  <a:gd name="T49" fmla="*/ 232 h 340"/>
                  <a:gd name="T50" fmla="*/ 118 w 720"/>
                  <a:gd name="T51" fmla="*/ 222 h 340"/>
                  <a:gd name="T52" fmla="*/ 123 w 720"/>
                  <a:gd name="T53" fmla="*/ 239 h 340"/>
                  <a:gd name="T54" fmla="*/ 136 w 720"/>
                  <a:gd name="T55" fmla="*/ 257 h 340"/>
                  <a:gd name="T56" fmla="*/ 153 w 720"/>
                  <a:gd name="T57" fmla="*/ 238 h 340"/>
                  <a:gd name="T58" fmla="*/ 170 w 720"/>
                  <a:gd name="T59" fmla="*/ 222 h 340"/>
                  <a:gd name="T60" fmla="*/ 190 w 720"/>
                  <a:gd name="T61" fmla="*/ 249 h 340"/>
                  <a:gd name="T62" fmla="*/ 181 w 720"/>
                  <a:gd name="T63" fmla="*/ 217 h 340"/>
                  <a:gd name="T64" fmla="*/ 197 w 720"/>
                  <a:gd name="T65" fmla="*/ 245 h 340"/>
                  <a:gd name="T66" fmla="*/ 207 w 720"/>
                  <a:gd name="T67" fmla="*/ 234 h 340"/>
                  <a:gd name="T68" fmla="*/ 442 w 720"/>
                  <a:gd name="T69" fmla="*/ 299 h 340"/>
                  <a:gd name="T70" fmla="*/ 387 w 720"/>
                  <a:gd name="T71" fmla="*/ 323 h 340"/>
                  <a:gd name="T72" fmla="*/ 287 w 720"/>
                  <a:gd name="T73" fmla="*/ 296 h 340"/>
                  <a:gd name="T74" fmla="*/ 424 w 720"/>
                  <a:gd name="T75" fmla="*/ 299 h 340"/>
                  <a:gd name="T76" fmla="*/ 468 w 720"/>
                  <a:gd name="T77" fmla="*/ 288 h 340"/>
                  <a:gd name="T78" fmla="*/ 236 w 720"/>
                  <a:gd name="T79" fmla="*/ 243 h 340"/>
                  <a:gd name="T80" fmla="*/ 316 w 720"/>
                  <a:gd name="T81" fmla="*/ 60 h 340"/>
                  <a:gd name="T82" fmla="*/ 521 w 720"/>
                  <a:gd name="T83" fmla="*/ 210 h 340"/>
                  <a:gd name="T84" fmla="*/ 545 w 720"/>
                  <a:gd name="T85" fmla="*/ 197 h 340"/>
                  <a:gd name="T86" fmla="*/ 557 w 720"/>
                  <a:gd name="T87" fmla="*/ 199 h 340"/>
                  <a:gd name="T88" fmla="*/ 544 w 720"/>
                  <a:gd name="T89" fmla="*/ 225 h 340"/>
                  <a:gd name="T90" fmla="*/ 591 w 720"/>
                  <a:gd name="T91" fmla="*/ 208 h 340"/>
                  <a:gd name="T92" fmla="*/ 599 w 720"/>
                  <a:gd name="T93" fmla="*/ 237 h 340"/>
                  <a:gd name="T94" fmla="*/ 606 w 720"/>
                  <a:gd name="T95" fmla="*/ 236 h 340"/>
                  <a:gd name="T96" fmla="*/ 625 w 720"/>
                  <a:gd name="T97" fmla="*/ 196 h 340"/>
                  <a:gd name="T98" fmla="*/ 648 w 720"/>
                  <a:gd name="T99" fmla="*/ 211 h 340"/>
                  <a:gd name="T100" fmla="*/ 648 w 720"/>
                  <a:gd name="T101" fmla="*/ 194 h 340"/>
                  <a:gd name="T102" fmla="*/ 664 w 720"/>
                  <a:gd name="T103" fmla="*/ 183 h 340"/>
                  <a:gd name="T104" fmla="*/ 635 w 720"/>
                  <a:gd name="T105" fmla="*/ 137 h 340"/>
                  <a:gd name="T106" fmla="*/ 654 w 720"/>
                  <a:gd name="T107" fmla="*/ 114 h 340"/>
                  <a:gd name="T108" fmla="*/ 703 w 720"/>
                  <a:gd name="T109" fmla="*/ 127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20" h="340">
                    <a:moveTo>
                      <a:pt x="716" y="122"/>
                    </a:moveTo>
                    <a:cubicBezTo>
                      <a:pt x="716" y="122"/>
                      <a:pt x="716" y="122"/>
                      <a:pt x="715" y="122"/>
                    </a:cubicBezTo>
                    <a:cubicBezTo>
                      <a:pt x="714" y="118"/>
                      <a:pt x="708" y="115"/>
                      <a:pt x="704" y="115"/>
                    </a:cubicBezTo>
                    <a:cubicBezTo>
                      <a:pt x="697" y="113"/>
                      <a:pt x="692" y="118"/>
                      <a:pt x="689" y="124"/>
                    </a:cubicBezTo>
                    <a:cubicBezTo>
                      <a:pt x="687" y="129"/>
                      <a:pt x="684" y="133"/>
                      <a:pt x="679" y="136"/>
                    </a:cubicBezTo>
                    <a:cubicBezTo>
                      <a:pt x="675" y="139"/>
                      <a:pt x="670" y="139"/>
                      <a:pt x="666" y="138"/>
                    </a:cubicBezTo>
                    <a:cubicBezTo>
                      <a:pt x="662" y="137"/>
                      <a:pt x="660" y="134"/>
                      <a:pt x="661" y="131"/>
                    </a:cubicBezTo>
                    <a:cubicBezTo>
                      <a:pt x="662" y="126"/>
                      <a:pt x="667" y="122"/>
                      <a:pt x="668" y="116"/>
                    </a:cubicBezTo>
                    <a:cubicBezTo>
                      <a:pt x="670" y="106"/>
                      <a:pt x="659" y="98"/>
                      <a:pt x="649" y="99"/>
                    </a:cubicBezTo>
                    <a:cubicBezTo>
                      <a:pt x="648" y="99"/>
                      <a:pt x="648" y="98"/>
                      <a:pt x="647" y="98"/>
                    </a:cubicBezTo>
                    <a:cubicBezTo>
                      <a:pt x="643" y="98"/>
                      <a:pt x="641" y="102"/>
                      <a:pt x="639" y="105"/>
                    </a:cubicBezTo>
                    <a:cubicBezTo>
                      <a:pt x="636" y="108"/>
                      <a:pt x="634" y="111"/>
                      <a:pt x="631" y="115"/>
                    </a:cubicBezTo>
                    <a:cubicBezTo>
                      <a:pt x="626" y="121"/>
                      <a:pt x="623" y="129"/>
                      <a:pt x="622" y="137"/>
                    </a:cubicBezTo>
                    <a:cubicBezTo>
                      <a:pt x="620" y="147"/>
                      <a:pt x="625" y="157"/>
                      <a:pt x="632" y="165"/>
                    </a:cubicBezTo>
                    <a:cubicBezTo>
                      <a:pt x="632" y="165"/>
                      <a:pt x="632" y="165"/>
                      <a:pt x="632" y="166"/>
                    </a:cubicBezTo>
                    <a:cubicBezTo>
                      <a:pt x="630" y="168"/>
                      <a:pt x="629" y="169"/>
                      <a:pt x="628" y="172"/>
                    </a:cubicBezTo>
                    <a:cubicBezTo>
                      <a:pt x="625" y="176"/>
                      <a:pt x="623" y="179"/>
                      <a:pt x="619" y="183"/>
                    </a:cubicBezTo>
                    <a:cubicBezTo>
                      <a:pt x="612" y="189"/>
                      <a:pt x="604" y="193"/>
                      <a:pt x="594" y="194"/>
                    </a:cubicBezTo>
                    <a:cubicBezTo>
                      <a:pt x="589" y="195"/>
                      <a:pt x="584" y="195"/>
                      <a:pt x="579" y="194"/>
                    </a:cubicBezTo>
                    <a:cubicBezTo>
                      <a:pt x="579" y="194"/>
                      <a:pt x="578" y="194"/>
                      <a:pt x="577" y="194"/>
                    </a:cubicBezTo>
                    <a:cubicBezTo>
                      <a:pt x="577" y="194"/>
                      <a:pt x="577" y="194"/>
                      <a:pt x="577" y="194"/>
                    </a:cubicBezTo>
                    <a:cubicBezTo>
                      <a:pt x="577" y="194"/>
                      <a:pt x="576" y="194"/>
                      <a:pt x="576" y="194"/>
                    </a:cubicBezTo>
                    <a:cubicBezTo>
                      <a:pt x="574" y="193"/>
                      <a:pt x="573" y="193"/>
                      <a:pt x="571" y="193"/>
                    </a:cubicBezTo>
                    <a:cubicBezTo>
                      <a:pt x="568" y="192"/>
                      <a:pt x="564" y="191"/>
                      <a:pt x="561" y="189"/>
                    </a:cubicBezTo>
                    <a:cubicBezTo>
                      <a:pt x="559" y="189"/>
                      <a:pt x="558" y="188"/>
                      <a:pt x="557" y="186"/>
                    </a:cubicBezTo>
                    <a:cubicBezTo>
                      <a:pt x="556" y="182"/>
                      <a:pt x="554" y="178"/>
                      <a:pt x="552" y="174"/>
                    </a:cubicBezTo>
                    <a:cubicBezTo>
                      <a:pt x="548" y="168"/>
                      <a:pt x="543" y="164"/>
                      <a:pt x="536" y="161"/>
                    </a:cubicBezTo>
                    <a:cubicBezTo>
                      <a:pt x="535" y="154"/>
                      <a:pt x="533" y="148"/>
                      <a:pt x="531" y="142"/>
                    </a:cubicBezTo>
                    <a:cubicBezTo>
                      <a:pt x="525" y="124"/>
                      <a:pt x="515" y="108"/>
                      <a:pt x="501" y="94"/>
                    </a:cubicBezTo>
                    <a:cubicBezTo>
                      <a:pt x="491" y="84"/>
                      <a:pt x="480" y="75"/>
                      <a:pt x="468" y="67"/>
                    </a:cubicBezTo>
                    <a:cubicBezTo>
                      <a:pt x="468" y="66"/>
                      <a:pt x="468" y="66"/>
                      <a:pt x="468" y="66"/>
                    </a:cubicBezTo>
                    <a:cubicBezTo>
                      <a:pt x="470" y="63"/>
                      <a:pt x="472" y="60"/>
                      <a:pt x="474" y="57"/>
                    </a:cubicBezTo>
                    <a:cubicBezTo>
                      <a:pt x="478" y="51"/>
                      <a:pt x="482" y="44"/>
                      <a:pt x="484" y="37"/>
                    </a:cubicBezTo>
                    <a:cubicBezTo>
                      <a:pt x="489" y="25"/>
                      <a:pt x="486" y="5"/>
                      <a:pt x="470" y="4"/>
                    </a:cubicBezTo>
                    <a:cubicBezTo>
                      <a:pt x="458" y="3"/>
                      <a:pt x="450" y="15"/>
                      <a:pt x="445" y="24"/>
                    </a:cubicBezTo>
                    <a:cubicBezTo>
                      <a:pt x="441" y="32"/>
                      <a:pt x="438" y="41"/>
                      <a:pt x="436" y="50"/>
                    </a:cubicBezTo>
                    <a:cubicBezTo>
                      <a:pt x="426" y="46"/>
                      <a:pt x="416" y="43"/>
                      <a:pt x="405" y="41"/>
                    </a:cubicBezTo>
                    <a:cubicBezTo>
                      <a:pt x="381" y="36"/>
                      <a:pt x="355" y="39"/>
                      <a:pt x="330" y="44"/>
                    </a:cubicBezTo>
                    <a:cubicBezTo>
                      <a:pt x="326" y="45"/>
                      <a:pt x="321" y="46"/>
                      <a:pt x="317" y="48"/>
                    </a:cubicBezTo>
                    <a:cubicBezTo>
                      <a:pt x="316" y="44"/>
                      <a:pt x="315" y="40"/>
                      <a:pt x="314" y="37"/>
                    </a:cubicBezTo>
                    <a:cubicBezTo>
                      <a:pt x="312" y="32"/>
                      <a:pt x="311" y="28"/>
                      <a:pt x="310" y="23"/>
                    </a:cubicBezTo>
                    <a:cubicBezTo>
                      <a:pt x="307" y="12"/>
                      <a:pt x="303" y="0"/>
                      <a:pt x="290" y="0"/>
                    </a:cubicBezTo>
                    <a:cubicBezTo>
                      <a:pt x="285" y="0"/>
                      <a:pt x="279" y="4"/>
                      <a:pt x="276" y="8"/>
                    </a:cubicBezTo>
                    <a:cubicBezTo>
                      <a:pt x="271" y="14"/>
                      <a:pt x="271" y="19"/>
                      <a:pt x="272" y="26"/>
                    </a:cubicBezTo>
                    <a:cubicBezTo>
                      <a:pt x="272" y="33"/>
                      <a:pt x="276" y="38"/>
                      <a:pt x="278" y="44"/>
                    </a:cubicBezTo>
                    <a:cubicBezTo>
                      <a:pt x="279" y="47"/>
                      <a:pt x="280" y="50"/>
                      <a:pt x="281" y="54"/>
                    </a:cubicBezTo>
                    <a:cubicBezTo>
                      <a:pt x="282" y="56"/>
                      <a:pt x="282" y="59"/>
                      <a:pt x="283" y="61"/>
                    </a:cubicBezTo>
                    <a:cubicBezTo>
                      <a:pt x="277" y="65"/>
                      <a:pt x="271" y="69"/>
                      <a:pt x="267" y="74"/>
                    </a:cubicBezTo>
                    <a:cubicBezTo>
                      <a:pt x="263" y="77"/>
                      <a:pt x="259" y="80"/>
                      <a:pt x="255" y="83"/>
                    </a:cubicBezTo>
                    <a:cubicBezTo>
                      <a:pt x="241" y="97"/>
                      <a:pt x="231" y="114"/>
                      <a:pt x="224" y="132"/>
                    </a:cubicBezTo>
                    <a:cubicBezTo>
                      <a:pt x="219" y="144"/>
                      <a:pt x="216" y="157"/>
                      <a:pt x="214" y="169"/>
                    </a:cubicBezTo>
                    <a:cubicBezTo>
                      <a:pt x="212" y="170"/>
                      <a:pt x="211" y="171"/>
                      <a:pt x="209" y="172"/>
                    </a:cubicBezTo>
                    <a:cubicBezTo>
                      <a:pt x="205" y="176"/>
                      <a:pt x="202" y="179"/>
                      <a:pt x="199" y="183"/>
                    </a:cubicBezTo>
                    <a:cubicBezTo>
                      <a:pt x="196" y="187"/>
                      <a:pt x="195" y="191"/>
                      <a:pt x="194" y="195"/>
                    </a:cubicBezTo>
                    <a:cubicBezTo>
                      <a:pt x="191" y="195"/>
                      <a:pt x="188" y="198"/>
                      <a:pt x="185" y="199"/>
                    </a:cubicBezTo>
                    <a:cubicBezTo>
                      <a:pt x="183" y="200"/>
                      <a:pt x="181" y="202"/>
                      <a:pt x="180" y="203"/>
                    </a:cubicBezTo>
                    <a:cubicBezTo>
                      <a:pt x="179" y="203"/>
                      <a:pt x="178" y="203"/>
                      <a:pt x="178" y="204"/>
                    </a:cubicBezTo>
                    <a:cubicBezTo>
                      <a:pt x="177" y="204"/>
                      <a:pt x="176" y="205"/>
                      <a:pt x="176" y="205"/>
                    </a:cubicBezTo>
                    <a:cubicBezTo>
                      <a:pt x="168" y="210"/>
                      <a:pt x="160" y="212"/>
                      <a:pt x="151" y="213"/>
                    </a:cubicBezTo>
                    <a:cubicBezTo>
                      <a:pt x="142" y="214"/>
                      <a:pt x="132" y="212"/>
                      <a:pt x="123" y="210"/>
                    </a:cubicBezTo>
                    <a:cubicBezTo>
                      <a:pt x="120" y="209"/>
                      <a:pt x="117" y="207"/>
                      <a:pt x="114" y="206"/>
                    </a:cubicBezTo>
                    <a:cubicBezTo>
                      <a:pt x="111" y="204"/>
                      <a:pt x="108" y="201"/>
                      <a:pt x="105" y="199"/>
                    </a:cubicBezTo>
                    <a:cubicBezTo>
                      <a:pt x="105" y="199"/>
                      <a:pt x="105" y="199"/>
                      <a:pt x="105" y="199"/>
                    </a:cubicBezTo>
                    <a:cubicBezTo>
                      <a:pt x="105" y="199"/>
                      <a:pt x="105" y="199"/>
                      <a:pt x="105" y="199"/>
                    </a:cubicBezTo>
                    <a:cubicBezTo>
                      <a:pt x="107" y="182"/>
                      <a:pt x="99" y="166"/>
                      <a:pt x="87" y="154"/>
                    </a:cubicBezTo>
                    <a:cubicBezTo>
                      <a:pt x="80" y="148"/>
                      <a:pt x="70" y="141"/>
                      <a:pt x="61" y="139"/>
                    </a:cubicBezTo>
                    <a:cubicBezTo>
                      <a:pt x="56" y="134"/>
                      <a:pt x="47" y="137"/>
                      <a:pt x="44" y="142"/>
                    </a:cubicBezTo>
                    <a:cubicBezTo>
                      <a:pt x="41" y="146"/>
                      <a:pt x="38" y="155"/>
                      <a:pt x="40" y="160"/>
                    </a:cubicBezTo>
                    <a:cubicBezTo>
                      <a:pt x="41" y="161"/>
                      <a:pt x="42" y="162"/>
                      <a:pt x="44" y="162"/>
                    </a:cubicBezTo>
                    <a:cubicBezTo>
                      <a:pt x="51" y="172"/>
                      <a:pt x="66" y="176"/>
                      <a:pt x="66" y="189"/>
                    </a:cubicBezTo>
                    <a:cubicBezTo>
                      <a:pt x="66" y="197"/>
                      <a:pt x="53" y="198"/>
                      <a:pt x="48" y="196"/>
                    </a:cubicBezTo>
                    <a:cubicBezTo>
                      <a:pt x="44" y="195"/>
                      <a:pt x="39" y="192"/>
                      <a:pt x="35" y="189"/>
                    </a:cubicBezTo>
                    <a:cubicBezTo>
                      <a:pt x="32" y="188"/>
                      <a:pt x="30" y="186"/>
                      <a:pt x="29" y="185"/>
                    </a:cubicBezTo>
                    <a:cubicBezTo>
                      <a:pt x="27" y="183"/>
                      <a:pt x="25" y="180"/>
                      <a:pt x="22" y="179"/>
                    </a:cubicBezTo>
                    <a:cubicBezTo>
                      <a:pt x="21" y="179"/>
                      <a:pt x="19" y="179"/>
                      <a:pt x="18" y="179"/>
                    </a:cubicBezTo>
                    <a:cubicBezTo>
                      <a:pt x="13" y="179"/>
                      <a:pt x="8" y="184"/>
                      <a:pt x="5" y="188"/>
                    </a:cubicBezTo>
                    <a:cubicBezTo>
                      <a:pt x="2" y="192"/>
                      <a:pt x="0" y="196"/>
                      <a:pt x="1" y="200"/>
                    </a:cubicBezTo>
                    <a:cubicBezTo>
                      <a:pt x="1" y="203"/>
                      <a:pt x="2" y="205"/>
                      <a:pt x="4" y="207"/>
                    </a:cubicBezTo>
                    <a:cubicBezTo>
                      <a:pt x="9" y="223"/>
                      <a:pt x="25" y="235"/>
                      <a:pt x="40" y="239"/>
                    </a:cubicBezTo>
                    <a:cubicBezTo>
                      <a:pt x="53" y="242"/>
                      <a:pt x="66" y="241"/>
                      <a:pt x="78" y="235"/>
                    </a:cubicBezTo>
                    <a:cubicBezTo>
                      <a:pt x="78" y="236"/>
                      <a:pt x="78" y="236"/>
                      <a:pt x="78" y="236"/>
                    </a:cubicBezTo>
                    <a:cubicBezTo>
                      <a:pt x="79" y="242"/>
                      <a:pt x="86" y="247"/>
                      <a:pt x="90" y="251"/>
                    </a:cubicBezTo>
                    <a:cubicBezTo>
                      <a:pt x="96" y="256"/>
                      <a:pt x="101" y="260"/>
                      <a:pt x="108" y="263"/>
                    </a:cubicBezTo>
                    <a:cubicBezTo>
                      <a:pt x="115" y="267"/>
                      <a:pt x="122" y="269"/>
                      <a:pt x="130" y="270"/>
                    </a:cubicBezTo>
                    <a:cubicBezTo>
                      <a:pt x="138" y="271"/>
                      <a:pt x="145" y="270"/>
                      <a:pt x="153" y="271"/>
                    </a:cubicBezTo>
                    <a:cubicBezTo>
                      <a:pt x="161" y="271"/>
                      <a:pt x="169" y="271"/>
                      <a:pt x="177" y="270"/>
                    </a:cubicBezTo>
                    <a:cubicBezTo>
                      <a:pt x="183" y="269"/>
                      <a:pt x="189" y="266"/>
                      <a:pt x="195" y="263"/>
                    </a:cubicBezTo>
                    <a:cubicBezTo>
                      <a:pt x="200" y="259"/>
                      <a:pt x="205" y="255"/>
                      <a:pt x="210" y="251"/>
                    </a:cubicBezTo>
                    <a:cubicBezTo>
                      <a:pt x="213" y="249"/>
                      <a:pt x="216" y="246"/>
                      <a:pt x="220" y="243"/>
                    </a:cubicBezTo>
                    <a:cubicBezTo>
                      <a:pt x="221" y="244"/>
                      <a:pt x="223" y="245"/>
                      <a:pt x="224" y="245"/>
                    </a:cubicBezTo>
                    <a:cubicBezTo>
                      <a:pt x="234" y="272"/>
                      <a:pt x="252" y="295"/>
                      <a:pt x="274" y="312"/>
                    </a:cubicBezTo>
                    <a:cubicBezTo>
                      <a:pt x="289" y="322"/>
                      <a:pt x="305" y="329"/>
                      <a:pt x="323" y="333"/>
                    </a:cubicBezTo>
                    <a:cubicBezTo>
                      <a:pt x="331" y="335"/>
                      <a:pt x="340" y="336"/>
                      <a:pt x="349" y="338"/>
                    </a:cubicBezTo>
                    <a:cubicBezTo>
                      <a:pt x="350" y="338"/>
                      <a:pt x="351" y="338"/>
                      <a:pt x="351" y="338"/>
                    </a:cubicBezTo>
                    <a:cubicBezTo>
                      <a:pt x="355" y="340"/>
                      <a:pt x="360" y="340"/>
                      <a:pt x="365" y="339"/>
                    </a:cubicBezTo>
                    <a:cubicBezTo>
                      <a:pt x="370" y="339"/>
                      <a:pt x="376" y="338"/>
                      <a:pt x="382" y="337"/>
                    </a:cubicBezTo>
                    <a:cubicBezTo>
                      <a:pt x="392" y="336"/>
                      <a:pt x="402" y="334"/>
                      <a:pt x="413" y="332"/>
                    </a:cubicBezTo>
                    <a:cubicBezTo>
                      <a:pt x="429" y="327"/>
                      <a:pt x="445" y="320"/>
                      <a:pt x="460" y="312"/>
                    </a:cubicBezTo>
                    <a:cubicBezTo>
                      <a:pt x="489" y="294"/>
                      <a:pt x="513" y="269"/>
                      <a:pt x="526" y="238"/>
                    </a:cubicBezTo>
                    <a:cubicBezTo>
                      <a:pt x="526" y="237"/>
                      <a:pt x="527" y="236"/>
                      <a:pt x="527" y="235"/>
                    </a:cubicBezTo>
                    <a:cubicBezTo>
                      <a:pt x="531" y="236"/>
                      <a:pt x="535" y="234"/>
                      <a:pt x="538" y="231"/>
                    </a:cubicBezTo>
                    <a:cubicBezTo>
                      <a:pt x="544" y="236"/>
                      <a:pt x="551" y="240"/>
                      <a:pt x="558" y="243"/>
                    </a:cubicBezTo>
                    <a:cubicBezTo>
                      <a:pt x="567" y="246"/>
                      <a:pt x="576" y="249"/>
                      <a:pt x="586" y="250"/>
                    </a:cubicBezTo>
                    <a:cubicBezTo>
                      <a:pt x="603" y="252"/>
                      <a:pt x="622" y="247"/>
                      <a:pt x="637" y="238"/>
                    </a:cubicBezTo>
                    <a:cubicBezTo>
                      <a:pt x="652" y="229"/>
                      <a:pt x="665" y="214"/>
                      <a:pt x="673" y="198"/>
                    </a:cubicBezTo>
                    <a:cubicBezTo>
                      <a:pt x="675" y="194"/>
                      <a:pt x="677" y="190"/>
                      <a:pt x="678" y="186"/>
                    </a:cubicBezTo>
                    <a:cubicBezTo>
                      <a:pt x="678" y="185"/>
                      <a:pt x="678" y="184"/>
                      <a:pt x="678" y="183"/>
                    </a:cubicBezTo>
                    <a:cubicBezTo>
                      <a:pt x="682" y="183"/>
                      <a:pt x="685" y="182"/>
                      <a:pt x="689" y="181"/>
                    </a:cubicBezTo>
                    <a:cubicBezTo>
                      <a:pt x="706" y="174"/>
                      <a:pt x="716" y="157"/>
                      <a:pt x="718" y="140"/>
                    </a:cubicBezTo>
                    <a:cubicBezTo>
                      <a:pt x="719" y="135"/>
                      <a:pt x="720" y="126"/>
                      <a:pt x="716" y="122"/>
                    </a:cubicBezTo>
                    <a:close/>
                    <a:moveTo>
                      <a:pt x="703" y="127"/>
                    </a:moveTo>
                    <a:cubicBezTo>
                      <a:pt x="703" y="127"/>
                      <a:pt x="703" y="127"/>
                      <a:pt x="703" y="127"/>
                    </a:cubicBezTo>
                    <a:cubicBezTo>
                      <a:pt x="703" y="127"/>
                      <a:pt x="703" y="127"/>
                      <a:pt x="703" y="127"/>
                    </a:cubicBezTo>
                    <a:cubicBezTo>
                      <a:pt x="703" y="127"/>
                      <a:pt x="703" y="127"/>
                      <a:pt x="703" y="127"/>
                    </a:cubicBezTo>
                    <a:cubicBezTo>
                      <a:pt x="703" y="127"/>
                      <a:pt x="703" y="127"/>
                      <a:pt x="703" y="127"/>
                    </a:cubicBezTo>
                    <a:close/>
                    <a:moveTo>
                      <a:pt x="655" y="114"/>
                    </a:moveTo>
                    <a:cubicBezTo>
                      <a:pt x="655" y="114"/>
                      <a:pt x="655" y="114"/>
                      <a:pt x="655" y="114"/>
                    </a:cubicBezTo>
                    <a:cubicBezTo>
                      <a:pt x="655" y="115"/>
                      <a:pt x="655" y="115"/>
                      <a:pt x="655" y="114"/>
                    </a:cubicBezTo>
                    <a:close/>
                    <a:moveTo>
                      <a:pt x="452" y="36"/>
                    </a:moveTo>
                    <a:cubicBezTo>
                      <a:pt x="452" y="36"/>
                      <a:pt x="452" y="36"/>
                      <a:pt x="452" y="36"/>
                    </a:cubicBezTo>
                    <a:cubicBezTo>
                      <a:pt x="455" y="29"/>
                      <a:pt x="460" y="20"/>
                      <a:pt x="467" y="17"/>
                    </a:cubicBezTo>
                    <a:cubicBezTo>
                      <a:pt x="471" y="16"/>
                      <a:pt x="473" y="19"/>
                      <a:pt x="473" y="22"/>
                    </a:cubicBezTo>
                    <a:cubicBezTo>
                      <a:pt x="475" y="27"/>
                      <a:pt x="473" y="32"/>
                      <a:pt x="471" y="37"/>
                    </a:cubicBezTo>
                    <a:cubicBezTo>
                      <a:pt x="468" y="42"/>
                      <a:pt x="465" y="47"/>
                      <a:pt x="462" y="52"/>
                    </a:cubicBezTo>
                    <a:cubicBezTo>
                      <a:pt x="460" y="55"/>
                      <a:pt x="458" y="57"/>
                      <a:pt x="457" y="60"/>
                    </a:cubicBezTo>
                    <a:cubicBezTo>
                      <a:pt x="453" y="58"/>
                      <a:pt x="448" y="55"/>
                      <a:pt x="444" y="53"/>
                    </a:cubicBezTo>
                    <a:cubicBezTo>
                      <a:pt x="447" y="48"/>
                      <a:pt x="450" y="42"/>
                      <a:pt x="452" y="36"/>
                    </a:cubicBezTo>
                    <a:close/>
                    <a:moveTo>
                      <a:pt x="291" y="49"/>
                    </a:moveTo>
                    <a:cubicBezTo>
                      <a:pt x="291" y="49"/>
                      <a:pt x="291" y="49"/>
                      <a:pt x="291" y="49"/>
                    </a:cubicBezTo>
                    <a:cubicBezTo>
                      <a:pt x="290" y="44"/>
                      <a:pt x="288" y="39"/>
                      <a:pt x="286" y="33"/>
                    </a:cubicBezTo>
                    <a:cubicBezTo>
                      <a:pt x="283" y="26"/>
                      <a:pt x="280" y="15"/>
                      <a:pt x="290" y="13"/>
                    </a:cubicBezTo>
                    <a:cubicBezTo>
                      <a:pt x="295" y="12"/>
                      <a:pt x="297" y="25"/>
                      <a:pt x="298" y="29"/>
                    </a:cubicBezTo>
                    <a:cubicBezTo>
                      <a:pt x="299" y="33"/>
                      <a:pt x="300" y="37"/>
                      <a:pt x="302" y="42"/>
                    </a:cubicBezTo>
                    <a:cubicBezTo>
                      <a:pt x="303" y="44"/>
                      <a:pt x="304" y="47"/>
                      <a:pt x="304" y="49"/>
                    </a:cubicBezTo>
                    <a:cubicBezTo>
                      <a:pt x="305" y="50"/>
                      <a:pt x="305" y="51"/>
                      <a:pt x="305" y="52"/>
                    </a:cubicBezTo>
                    <a:cubicBezTo>
                      <a:pt x="301" y="53"/>
                      <a:pt x="298" y="55"/>
                      <a:pt x="294" y="56"/>
                    </a:cubicBezTo>
                    <a:cubicBezTo>
                      <a:pt x="293" y="57"/>
                      <a:pt x="293" y="57"/>
                      <a:pt x="292" y="57"/>
                    </a:cubicBezTo>
                    <a:cubicBezTo>
                      <a:pt x="292" y="55"/>
                      <a:pt x="291" y="52"/>
                      <a:pt x="291" y="49"/>
                    </a:cubicBezTo>
                    <a:close/>
                    <a:moveTo>
                      <a:pt x="208" y="190"/>
                    </a:moveTo>
                    <a:cubicBezTo>
                      <a:pt x="208" y="190"/>
                      <a:pt x="208" y="190"/>
                      <a:pt x="208" y="190"/>
                    </a:cubicBezTo>
                    <a:cubicBezTo>
                      <a:pt x="209" y="187"/>
                      <a:pt x="211" y="185"/>
                      <a:pt x="213" y="183"/>
                    </a:cubicBezTo>
                    <a:cubicBezTo>
                      <a:pt x="213" y="198"/>
                      <a:pt x="214" y="213"/>
                      <a:pt x="218" y="228"/>
                    </a:cubicBezTo>
                    <a:cubicBezTo>
                      <a:pt x="218" y="228"/>
                      <a:pt x="217" y="227"/>
                      <a:pt x="217" y="227"/>
                    </a:cubicBezTo>
                    <a:cubicBezTo>
                      <a:pt x="211" y="222"/>
                      <a:pt x="207" y="217"/>
                      <a:pt x="205" y="210"/>
                    </a:cubicBezTo>
                    <a:cubicBezTo>
                      <a:pt x="203" y="203"/>
                      <a:pt x="204" y="196"/>
                      <a:pt x="208" y="190"/>
                    </a:cubicBezTo>
                    <a:close/>
                    <a:moveTo>
                      <a:pt x="52" y="227"/>
                    </a:moveTo>
                    <a:cubicBezTo>
                      <a:pt x="52" y="227"/>
                      <a:pt x="52" y="227"/>
                      <a:pt x="52" y="227"/>
                    </a:cubicBezTo>
                    <a:cubicBezTo>
                      <a:pt x="46" y="227"/>
                      <a:pt x="39" y="225"/>
                      <a:pt x="33" y="221"/>
                    </a:cubicBezTo>
                    <a:cubicBezTo>
                      <a:pt x="26" y="217"/>
                      <a:pt x="21" y="210"/>
                      <a:pt x="15" y="204"/>
                    </a:cubicBezTo>
                    <a:cubicBezTo>
                      <a:pt x="14" y="204"/>
                      <a:pt x="14" y="203"/>
                      <a:pt x="14" y="203"/>
                    </a:cubicBezTo>
                    <a:cubicBezTo>
                      <a:pt x="14" y="202"/>
                      <a:pt x="13" y="201"/>
                      <a:pt x="13" y="199"/>
                    </a:cubicBezTo>
                    <a:cubicBezTo>
                      <a:pt x="12" y="198"/>
                      <a:pt x="13" y="197"/>
                      <a:pt x="14" y="195"/>
                    </a:cubicBezTo>
                    <a:cubicBezTo>
                      <a:pt x="15" y="194"/>
                      <a:pt x="16" y="192"/>
                      <a:pt x="17" y="191"/>
                    </a:cubicBezTo>
                    <a:cubicBezTo>
                      <a:pt x="20" y="195"/>
                      <a:pt x="24" y="198"/>
                      <a:pt x="27" y="200"/>
                    </a:cubicBezTo>
                    <a:cubicBezTo>
                      <a:pt x="33" y="204"/>
                      <a:pt x="39" y="207"/>
                      <a:pt x="45" y="209"/>
                    </a:cubicBezTo>
                    <a:cubicBezTo>
                      <a:pt x="56" y="212"/>
                      <a:pt x="71" y="208"/>
                      <a:pt x="76" y="198"/>
                    </a:cubicBezTo>
                    <a:cubicBezTo>
                      <a:pt x="82" y="188"/>
                      <a:pt x="76" y="176"/>
                      <a:pt x="69" y="169"/>
                    </a:cubicBezTo>
                    <a:cubicBezTo>
                      <a:pt x="65" y="166"/>
                      <a:pt x="61" y="163"/>
                      <a:pt x="57" y="160"/>
                    </a:cubicBezTo>
                    <a:cubicBezTo>
                      <a:pt x="55" y="159"/>
                      <a:pt x="53" y="158"/>
                      <a:pt x="51" y="156"/>
                    </a:cubicBezTo>
                    <a:cubicBezTo>
                      <a:pt x="52" y="154"/>
                      <a:pt x="52" y="152"/>
                      <a:pt x="53" y="151"/>
                    </a:cubicBezTo>
                    <a:cubicBezTo>
                      <a:pt x="53" y="149"/>
                      <a:pt x="53" y="148"/>
                      <a:pt x="55" y="147"/>
                    </a:cubicBezTo>
                    <a:cubicBezTo>
                      <a:pt x="55" y="146"/>
                      <a:pt x="57" y="146"/>
                      <a:pt x="58" y="146"/>
                    </a:cubicBezTo>
                    <a:cubicBezTo>
                      <a:pt x="63" y="150"/>
                      <a:pt x="68" y="154"/>
                      <a:pt x="73" y="158"/>
                    </a:cubicBezTo>
                    <a:cubicBezTo>
                      <a:pt x="79" y="163"/>
                      <a:pt x="84" y="169"/>
                      <a:pt x="87" y="176"/>
                    </a:cubicBezTo>
                    <a:cubicBezTo>
                      <a:pt x="93" y="188"/>
                      <a:pt x="93" y="204"/>
                      <a:pt x="85" y="214"/>
                    </a:cubicBezTo>
                    <a:cubicBezTo>
                      <a:pt x="77" y="224"/>
                      <a:pt x="65" y="227"/>
                      <a:pt x="52" y="227"/>
                    </a:cubicBezTo>
                    <a:close/>
                    <a:moveTo>
                      <a:pt x="85" y="232"/>
                    </a:moveTo>
                    <a:cubicBezTo>
                      <a:pt x="85" y="232"/>
                      <a:pt x="85" y="232"/>
                      <a:pt x="85" y="232"/>
                    </a:cubicBezTo>
                    <a:cubicBezTo>
                      <a:pt x="92" y="227"/>
                      <a:pt x="97" y="221"/>
                      <a:pt x="101" y="213"/>
                    </a:cubicBezTo>
                    <a:cubicBezTo>
                      <a:pt x="103" y="215"/>
                      <a:pt x="105" y="216"/>
                      <a:pt x="107" y="217"/>
                    </a:cubicBezTo>
                    <a:cubicBezTo>
                      <a:pt x="107" y="218"/>
                      <a:pt x="107" y="218"/>
                      <a:pt x="107" y="218"/>
                    </a:cubicBezTo>
                    <a:cubicBezTo>
                      <a:pt x="105" y="220"/>
                      <a:pt x="102" y="223"/>
                      <a:pt x="100" y="226"/>
                    </a:cubicBezTo>
                    <a:cubicBezTo>
                      <a:pt x="98" y="228"/>
                      <a:pt x="96" y="231"/>
                      <a:pt x="94" y="234"/>
                    </a:cubicBezTo>
                    <a:cubicBezTo>
                      <a:pt x="93" y="235"/>
                      <a:pt x="93" y="235"/>
                      <a:pt x="92" y="236"/>
                    </a:cubicBezTo>
                    <a:cubicBezTo>
                      <a:pt x="90" y="234"/>
                      <a:pt x="88" y="233"/>
                      <a:pt x="85" y="232"/>
                    </a:cubicBezTo>
                    <a:close/>
                    <a:moveTo>
                      <a:pt x="98" y="241"/>
                    </a:moveTo>
                    <a:cubicBezTo>
                      <a:pt x="98" y="241"/>
                      <a:pt x="98" y="241"/>
                      <a:pt x="98" y="241"/>
                    </a:cubicBezTo>
                    <a:cubicBezTo>
                      <a:pt x="98" y="240"/>
                      <a:pt x="97" y="240"/>
                      <a:pt x="97" y="240"/>
                    </a:cubicBezTo>
                    <a:cubicBezTo>
                      <a:pt x="99" y="236"/>
                      <a:pt x="102" y="233"/>
                      <a:pt x="105" y="230"/>
                    </a:cubicBezTo>
                    <a:cubicBezTo>
                      <a:pt x="107" y="227"/>
                      <a:pt x="109" y="225"/>
                      <a:pt x="111" y="222"/>
                    </a:cubicBezTo>
                    <a:cubicBezTo>
                      <a:pt x="112" y="222"/>
                      <a:pt x="113" y="221"/>
                      <a:pt x="113" y="220"/>
                    </a:cubicBezTo>
                    <a:cubicBezTo>
                      <a:pt x="115" y="221"/>
                      <a:pt x="117" y="221"/>
                      <a:pt x="118" y="222"/>
                    </a:cubicBezTo>
                    <a:cubicBezTo>
                      <a:pt x="120" y="223"/>
                      <a:pt x="123" y="223"/>
                      <a:pt x="125" y="224"/>
                    </a:cubicBezTo>
                    <a:cubicBezTo>
                      <a:pt x="123" y="227"/>
                      <a:pt x="121" y="232"/>
                      <a:pt x="120" y="235"/>
                    </a:cubicBezTo>
                    <a:cubicBezTo>
                      <a:pt x="118" y="240"/>
                      <a:pt x="116" y="246"/>
                      <a:pt x="112" y="250"/>
                    </a:cubicBezTo>
                    <a:cubicBezTo>
                      <a:pt x="107" y="247"/>
                      <a:pt x="103" y="244"/>
                      <a:pt x="98" y="241"/>
                    </a:cubicBezTo>
                    <a:close/>
                    <a:moveTo>
                      <a:pt x="115" y="252"/>
                    </a:moveTo>
                    <a:cubicBezTo>
                      <a:pt x="115" y="252"/>
                      <a:pt x="115" y="252"/>
                      <a:pt x="115" y="252"/>
                    </a:cubicBezTo>
                    <a:cubicBezTo>
                      <a:pt x="119" y="248"/>
                      <a:pt x="121" y="243"/>
                      <a:pt x="123" y="239"/>
                    </a:cubicBezTo>
                    <a:cubicBezTo>
                      <a:pt x="125" y="236"/>
                      <a:pt x="125" y="234"/>
                      <a:pt x="126" y="231"/>
                    </a:cubicBezTo>
                    <a:cubicBezTo>
                      <a:pt x="127" y="229"/>
                      <a:pt x="128" y="227"/>
                      <a:pt x="129" y="225"/>
                    </a:cubicBezTo>
                    <a:cubicBezTo>
                      <a:pt x="133" y="226"/>
                      <a:pt x="137" y="226"/>
                      <a:pt x="142" y="226"/>
                    </a:cubicBezTo>
                    <a:cubicBezTo>
                      <a:pt x="139" y="230"/>
                      <a:pt x="138" y="236"/>
                      <a:pt x="137" y="240"/>
                    </a:cubicBezTo>
                    <a:cubicBezTo>
                      <a:pt x="136" y="246"/>
                      <a:pt x="135" y="252"/>
                      <a:pt x="133" y="257"/>
                    </a:cubicBezTo>
                    <a:cubicBezTo>
                      <a:pt x="127" y="256"/>
                      <a:pt x="121" y="254"/>
                      <a:pt x="115" y="252"/>
                    </a:cubicBezTo>
                    <a:close/>
                    <a:moveTo>
                      <a:pt x="136" y="257"/>
                    </a:moveTo>
                    <a:cubicBezTo>
                      <a:pt x="136" y="257"/>
                      <a:pt x="136" y="257"/>
                      <a:pt x="136" y="257"/>
                    </a:cubicBezTo>
                    <a:cubicBezTo>
                      <a:pt x="139" y="253"/>
                      <a:pt x="140" y="249"/>
                      <a:pt x="142" y="244"/>
                    </a:cubicBezTo>
                    <a:cubicBezTo>
                      <a:pt x="143" y="239"/>
                      <a:pt x="145" y="232"/>
                      <a:pt x="145" y="227"/>
                    </a:cubicBezTo>
                    <a:cubicBezTo>
                      <a:pt x="145" y="227"/>
                      <a:pt x="145" y="227"/>
                      <a:pt x="144" y="226"/>
                    </a:cubicBezTo>
                    <a:cubicBezTo>
                      <a:pt x="146" y="226"/>
                      <a:pt x="148" y="226"/>
                      <a:pt x="150" y="226"/>
                    </a:cubicBezTo>
                    <a:cubicBezTo>
                      <a:pt x="151" y="226"/>
                      <a:pt x="153" y="226"/>
                      <a:pt x="154" y="226"/>
                    </a:cubicBezTo>
                    <a:cubicBezTo>
                      <a:pt x="153" y="230"/>
                      <a:pt x="154" y="234"/>
                      <a:pt x="153" y="238"/>
                    </a:cubicBezTo>
                    <a:cubicBezTo>
                      <a:pt x="153" y="244"/>
                      <a:pt x="153" y="251"/>
                      <a:pt x="154" y="257"/>
                    </a:cubicBezTo>
                    <a:cubicBezTo>
                      <a:pt x="148" y="257"/>
                      <a:pt x="142" y="257"/>
                      <a:pt x="136" y="257"/>
                    </a:cubicBezTo>
                    <a:close/>
                    <a:moveTo>
                      <a:pt x="157" y="257"/>
                    </a:moveTo>
                    <a:cubicBezTo>
                      <a:pt x="157" y="257"/>
                      <a:pt x="157" y="257"/>
                      <a:pt x="157" y="257"/>
                    </a:cubicBezTo>
                    <a:cubicBezTo>
                      <a:pt x="158" y="251"/>
                      <a:pt x="158" y="244"/>
                      <a:pt x="158" y="238"/>
                    </a:cubicBezTo>
                    <a:cubicBezTo>
                      <a:pt x="159" y="234"/>
                      <a:pt x="160" y="229"/>
                      <a:pt x="159" y="225"/>
                    </a:cubicBezTo>
                    <a:cubicBezTo>
                      <a:pt x="163" y="224"/>
                      <a:pt x="166" y="223"/>
                      <a:pt x="170" y="222"/>
                    </a:cubicBezTo>
                    <a:cubicBezTo>
                      <a:pt x="170" y="223"/>
                      <a:pt x="170" y="225"/>
                      <a:pt x="171" y="226"/>
                    </a:cubicBezTo>
                    <a:cubicBezTo>
                      <a:pt x="171" y="229"/>
                      <a:pt x="172" y="232"/>
                      <a:pt x="173" y="236"/>
                    </a:cubicBezTo>
                    <a:cubicBezTo>
                      <a:pt x="174" y="242"/>
                      <a:pt x="174" y="249"/>
                      <a:pt x="176" y="255"/>
                    </a:cubicBezTo>
                    <a:cubicBezTo>
                      <a:pt x="176" y="256"/>
                      <a:pt x="176" y="256"/>
                      <a:pt x="176" y="256"/>
                    </a:cubicBezTo>
                    <a:cubicBezTo>
                      <a:pt x="176" y="256"/>
                      <a:pt x="175" y="256"/>
                      <a:pt x="175" y="256"/>
                    </a:cubicBezTo>
                    <a:cubicBezTo>
                      <a:pt x="169" y="258"/>
                      <a:pt x="163" y="257"/>
                      <a:pt x="157" y="257"/>
                    </a:cubicBezTo>
                    <a:close/>
                    <a:moveTo>
                      <a:pt x="190" y="249"/>
                    </a:moveTo>
                    <a:cubicBezTo>
                      <a:pt x="190" y="249"/>
                      <a:pt x="190" y="249"/>
                      <a:pt x="190" y="249"/>
                    </a:cubicBezTo>
                    <a:cubicBezTo>
                      <a:pt x="187" y="252"/>
                      <a:pt x="183" y="254"/>
                      <a:pt x="179" y="255"/>
                    </a:cubicBezTo>
                    <a:cubicBezTo>
                      <a:pt x="180" y="249"/>
                      <a:pt x="180" y="242"/>
                      <a:pt x="179" y="236"/>
                    </a:cubicBezTo>
                    <a:cubicBezTo>
                      <a:pt x="178" y="232"/>
                      <a:pt x="178" y="229"/>
                      <a:pt x="177" y="226"/>
                    </a:cubicBezTo>
                    <a:cubicBezTo>
                      <a:pt x="176" y="224"/>
                      <a:pt x="176" y="222"/>
                      <a:pt x="175" y="220"/>
                    </a:cubicBezTo>
                    <a:cubicBezTo>
                      <a:pt x="177" y="219"/>
                      <a:pt x="178" y="218"/>
                      <a:pt x="180" y="217"/>
                    </a:cubicBezTo>
                    <a:cubicBezTo>
                      <a:pt x="180" y="217"/>
                      <a:pt x="181" y="217"/>
                      <a:pt x="181" y="217"/>
                    </a:cubicBezTo>
                    <a:cubicBezTo>
                      <a:pt x="182" y="220"/>
                      <a:pt x="183" y="223"/>
                      <a:pt x="185" y="226"/>
                    </a:cubicBezTo>
                    <a:cubicBezTo>
                      <a:pt x="187" y="233"/>
                      <a:pt x="189" y="240"/>
                      <a:pt x="194" y="245"/>
                    </a:cubicBezTo>
                    <a:cubicBezTo>
                      <a:pt x="194" y="246"/>
                      <a:pt x="195" y="246"/>
                      <a:pt x="195" y="246"/>
                    </a:cubicBezTo>
                    <a:cubicBezTo>
                      <a:pt x="194" y="247"/>
                      <a:pt x="192" y="248"/>
                      <a:pt x="190" y="249"/>
                    </a:cubicBezTo>
                    <a:close/>
                    <a:moveTo>
                      <a:pt x="204" y="239"/>
                    </a:moveTo>
                    <a:cubicBezTo>
                      <a:pt x="204" y="239"/>
                      <a:pt x="204" y="239"/>
                      <a:pt x="204" y="239"/>
                    </a:cubicBezTo>
                    <a:cubicBezTo>
                      <a:pt x="202" y="241"/>
                      <a:pt x="199" y="243"/>
                      <a:pt x="197" y="245"/>
                    </a:cubicBezTo>
                    <a:cubicBezTo>
                      <a:pt x="197" y="245"/>
                      <a:pt x="197" y="244"/>
                      <a:pt x="197" y="244"/>
                    </a:cubicBezTo>
                    <a:cubicBezTo>
                      <a:pt x="195" y="237"/>
                      <a:pt x="192" y="230"/>
                      <a:pt x="189" y="223"/>
                    </a:cubicBezTo>
                    <a:cubicBezTo>
                      <a:pt x="188" y="220"/>
                      <a:pt x="187" y="217"/>
                      <a:pt x="186" y="214"/>
                    </a:cubicBezTo>
                    <a:cubicBezTo>
                      <a:pt x="188" y="212"/>
                      <a:pt x="190" y="211"/>
                      <a:pt x="192" y="209"/>
                    </a:cubicBezTo>
                    <a:cubicBezTo>
                      <a:pt x="192" y="209"/>
                      <a:pt x="192" y="208"/>
                      <a:pt x="193" y="208"/>
                    </a:cubicBezTo>
                    <a:cubicBezTo>
                      <a:pt x="193" y="209"/>
                      <a:pt x="193" y="210"/>
                      <a:pt x="193" y="212"/>
                    </a:cubicBezTo>
                    <a:cubicBezTo>
                      <a:pt x="195" y="220"/>
                      <a:pt x="200" y="228"/>
                      <a:pt x="207" y="234"/>
                    </a:cubicBezTo>
                    <a:cubicBezTo>
                      <a:pt x="208" y="235"/>
                      <a:pt x="208" y="235"/>
                      <a:pt x="209" y="236"/>
                    </a:cubicBezTo>
                    <a:cubicBezTo>
                      <a:pt x="208" y="237"/>
                      <a:pt x="206" y="238"/>
                      <a:pt x="204" y="239"/>
                    </a:cubicBezTo>
                    <a:close/>
                    <a:moveTo>
                      <a:pt x="447" y="303"/>
                    </a:moveTo>
                    <a:cubicBezTo>
                      <a:pt x="447" y="303"/>
                      <a:pt x="447" y="303"/>
                      <a:pt x="447" y="303"/>
                    </a:cubicBezTo>
                    <a:cubicBezTo>
                      <a:pt x="447" y="302"/>
                      <a:pt x="446" y="301"/>
                      <a:pt x="446" y="301"/>
                    </a:cubicBezTo>
                    <a:cubicBezTo>
                      <a:pt x="445" y="300"/>
                      <a:pt x="444" y="299"/>
                      <a:pt x="443" y="299"/>
                    </a:cubicBezTo>
                    <a:cubicBezTo>
                      <a:pt x="443" y="299"/>
                      <a:pt x="442" y="299"/>
                      <a:pt x="442" y="299"/>
                    </a:cubicBezTo>
                    <a:cubicBezTo>
                      <a:pt x="441" y="299"/>
                      <a:pt x="441" y="299"/>
                      <a:pt x="440" y="299"/>
                    </a:cubicBezTo>
                    <a:cubicBezTo>
                      <a:pt x="439" y="299"/>
                      <a:pt x="437" y="299"/>
                      <a:pt x="437" y="300"/>
                    </a:cubicBezTo>
                    <a:cubicBezTo>
                      <a:pt x="436" y="301"/>
                      <a:pt x="435" y="302"/>
                      <a:pt x="435" y="304"/>
                    </a:cubicBezTo>
                    <a:cubicBezTo>
                      <a:pt x="435" y="305"/>
                      <a:pt x="436" y="306"/>
                      <a:pt x="437" y="307"/>
                    </a:cubicBezTo>
                    <a:cubicBezTo>
                      <a:pt x="437" y="308"/>
                      <a:pt x="437" y="308"/>
                      <a:pt x="438" y="308"/>
                    </a:cubicBezTo>
                    <a:cubicBezTo>
                      <a:pt x="432" y="311"/>
                      <a:pt x="427" y="313"/>
                      <a:pt x="421" y="315"/>
                    </a:cubicBezTo>
                    <a:cubicBezTo>
                      <a:pt x="410" y="319"/>
                      <a:pt x="398" y="321"/>
                      <a:pt x="387" y="323"/>
                    </a:cubicBezTo>
                    <a:cubicBezTo>
                      <a:pt x="381" y="324"/>
                      <a:pt x="375" y="325"/>
                      <a:pt x="369" y="325"/>
                    </a:cubicBezTo>
                    <a:cubicBezTo>
                      <a:pt x="367" y="326"/>
                      <a:pt x="366" y="326"/>
                      <a:pt x="364" y="326"/>
                    </a:cubicBezTo>
                    <a:cubicBezTo>
                      <a:pt x="359" y="325"/>
                      <a:pt x="354" y="325"/>
                      <a:pt x="349" y="324"/>
                    </a:cubicBezTo>
                    <a:cubicBezTo>
                      <a:pt x="340" y="323"/>
                      <a:pt x="331" y="322"/>
                      <a:pt x="322" y="320"/>
                    </a:cubicBezTo>
                    <a:cubicBezTo>
                      <a:pt x="309" y="316"/>
                      <a:pt x="298" y="312"/>
                      <a:pt x="287" y="305"/>
                    </a:cubicBezTo>
                    <a:cubicBezTo>
                      <a:pt x="287" y="305"/>
                      <a:pt x="287" y="305"/>
                      <a:pt x="287" y="305"/>
                    </a:cubicBezTo>
                    <a:cubicBezTo>
                      <a:pt x="293" y="305"/>
                      <a:pt x="293" y="296"/>
                      <a:pt x="287" y="296"/>
                    </a:cubicBezTo>
                    <a:cubicBezTo>
                      <a:pt x="283" y="296"/>
                      <a:pt x="282" y="300"/>
                      <a:pt x="283" y="302"/>
                    </a:cubicBezTo>
                    <a:cubicBezTo>
                      <a:pt x="280" y="300"/>
                      <a:pt x="277" y="298"/>
                      <a:pt x="274" y="295"/>
                    </a:cubicBezTo>
                    <a:cubicBezTo>
                      <a:pt x="273" y="295"/>
                      <a:pt x="272" y="294"/>
                      <a:pt x="271" y="293"/>
                    </a:cubicBezTo>
                    <a:cubicBezTo>
                      <a:pt x="284" y="294"/>
                      <a:pt x="297" y="294"/>
                      <a:pt x="310" y="295"/>
                    </a:cubicBezTo>
                    <a:cubicBezTo>
                      <a:pt x="329" y="297"/>
                      <a:pt x="348" y="298"/>
                      <a:pt x="367" y="299"/>
                    </a:cubicBezTo>
                    <a:cubicBezTo>
                      <a:pt x="376" y="300"/>
                      <a:pt x="386" y="300"/>
                      <a:pt x="395" y="301"/>
                    </a:cubicBezTo>
                    <a:cubicBezTo>
                      <a:pt x="405" y="301"/>
                      <a:pt x="414" y="300"/>
                      <a:pt x="424" y="299"/>
                    </a:cubicBezTo>
                    <a:cubicBezTo>
                      <a:pt x="433" y="298"/>
                      <a:pt x="443" y="297"/>
                      <a:pt x="452" y="296"/>
                    </a:cubicBezTo>
                    <a:cubicBezTo>
                      <a:pt x="455" y="296"/>
                      <a:pt x="458" y="295"/>
                      <a:pt x="461" y="295"/>
                    </a:cubicBezTo>
                    <a:cubicBezTo>
                      <a:pt x="456" y="298"/>
                      <a:pt x="452" y="301"/>
                      <a:pt x="447" y="303"/>
                    </a:cubicBezTo>
                    <a:close/>
                    <a:moveTo>
                      <a:pt x="499" y="259"/>
                    </a:moveTo>
                    <a:cubicBezTo>
                      <a:pt x="499" y="259"/>
                      <a:pt x="499" y="259"/>
                      <a:pt x="499" y="259"/>
                    </a:cubicBezTo>
                    <a:cubicBezTo>
                      <a:pt x="491" y="270"/>
                      <a:pt x="481" y="279"/>
                      <a:pt x="471" y="288"/>
                    </a:cubicBezTo>
                    <a:cubicBezTo>
                      <a:pt x="470" y="288"/>
                      <a:pt x="469" y="288"/>
                      <a:pt x="468" y="288"/>
                    </a:cubicBezTo>
                    <a:cubicBezTo>
                      <a:pt x="463" y="288"/>
                      <a:pt x="458" y="289"/>
                      <a:pt x="453" y="290"/>
                    </a:cubicBezTo>
                    <a:cubicBezTo>
                      <a:pt x="444" y="290"/>
                      <a:pt x="435" y="291"/>
                      <a:pt x="425" y="292"/>
                    </a:cubicBezTo>
                    <a:cubicBezTo>
                      <a:pt x="416" y="293"/>
                      <a:pt x="407" y="294"/>
                      <a:pt x="398" y="294"/>
                    </a:cubicBezTo>
                    <a:cubicBezTo>
                      <a:pt x="388" y="294"/>
                      <a:pt x="378" y="293"/>
                      <a:pt x="369" y="292"/>
                    </a:cubicBezTo>
                    <a:cubicBezTo>
                      <a:pt x="350" y="292"/>
                      <a:pt x="331" y="291"/>
                      <a:pt x="312" y="290"/>
                    </a:cubicBezTo>
                    <a:cubicBezTo>
                      <a:pt x="297" y="288"/>
                      <a:pt x="281" y="288"/>
                      <a:pt x="266" y="288"/>
                    </a:cubicBezTo>
                    <a:cubicBezTo>
                      <a:pt x="253" y="276"/>
                      <a:pt x="243" y="260"/>
                      <a:pt x="236" y="243"/>
                    </a:cubicBezTo>
                    <a:cubicBezTo>
                      <a:pt x="237" y="242"/>
                      <a:pt x="237" y="240"/>
                      <a:pt x="235" y="238"/>
                    </a:cubicBezTo>
                    <a:cubicBezTo>
                      <a:pt x="235" y="238"/>
                      <a:pt x="234" y="238"/>
                      <a:pt x="234" y="238"/>
                    </a:cubicBezTo>
                    <a:cubicBezTo>
                      <a:pt x="231" y="229"/>
                      <a:pt x="228" y="220"/>
                      <a:pt x="227" y="210"/>
                    </a:cubicBezTo>
                    <a:cubicBezTo>
                      <a:pt x="222" y="181"/>
                      <a:pt x="227" y="151"/>
                      <a:pt x="240" y="125"/>
                    </a:cubicBezTo>
                    <a:cubicBezTo>
                      <a:pt x="246" y="111"/>
                      <a:pt x="255" y="98"/>
                      <a:pt x="267" y="88"/>
                    </a:cubicBezTo>
                    <a:cubicBezTo>
                      <a:pt x="277" y="79"/>
                      <a:pt x="288" y="72"/>
                      <a:pt x="300" y="65"/>
                    </a:cubicBezTo>
                    <a:cubicBezTo>
                      <a:pt x="305" y="63"/>
                      <a:pt x="311" y="62"/>
                      <a:pt x="316" y="60"/>
                    </a:cubicBezTo>
                    <a:cubicBezTo>
                      <a:pt x="333" y="55"/>
                      <a:pt x="352" y="52"/>
                      <a:pt x="370" y="51"/>
                    </a:cubicBezTo>
                    <a:cubicBezTo>
                      <a:pt x="407" y="49"/>
                      <a:pt x="442" y="63"/>
                      <a:pt x="471" y="85"/>
                    </a:cubicBezTo>
                    <a:cubicBezTo>
                      <a:pt x="489" y="98"/>
                      <a:pt x="504" y="114"/>
                      <a:pt x="513" y="134"/>
                    </a:cubicBezTo>
                    <a:cubicBezTo>
                      <a:pt x="518" y="144"/>
                      <a:pt x="521" y="154"/>
                      <a:pt x="524" y="165"/>
                    </a:cubicBezTo>
                    <a:cubicBezTo>
                      <a:pt x="524" y="166"/>
                      <a:pt x="524" y="166"/>
                      <a:pt x="524" y="168"/>
                    </a:cubicBezTo>
                    <a:cubicBezTo>
                      <a:pt x="525" y="172"/>
                      <a:pt x="525" y="176"/>
                      <a:pt x="525" y="181"/>
                    </a:cubicBezTo>
                    <a:cubicBezTo>
                      <a:pt x="524" y="191"/>
                      <a:pt x="524" y="200"/>
                      <a:pt x="521" y="210"/>
                    </a:cubicBezTo>
                    <a:cubicBezTo>
                      <a:pt x="517" y="228"/>
                      <a:pt x="509" y="244"/>
                      <a:pt x="499" y="259"/>
                    </a:cubicBezTo>
                    <a:close/>
                    <a:moveTo>
                      <a:pt x="537" y="199"/>
                    </a:moveTo>
                    <a:cubicBezTo>
                      <a:pt x="537" y="199"/>
                      <a:pt x="537" y="199"/>
                      <a:pt x="537" y="199"/>
                    </a:cubicBezTo>
                    <a:cubicBezTo>
                      <a:pt x="538" y="199"/>
                      <a:pt x="539" y="198"/>
                      <a:pt x="539" y="197"/>
                    </a:cubicBezTo>
                    <a:cubicBezTo>
                      <a:pt x="541" y="190"/>
                      <a:pt x="540" y="183"/>
                      <a:pt x="539" y="175"/>
                    </a:cubicBezTo>
                    <a:cubicBezTo>
                      <a:pt x="540" y="176"/>
                      <a:pt x="541" y="177"/>
                      <a:pt x="541" y="178"/>
                    </a:cubicBezTo>
                    <a:cubicBezTo>
                      <a:pt x="545" y="184"/>
                      <a:pt x="546" y="191"/>
                      <a:pt x="545" y="197"/>
                    </a:cubicBezTo>
                    <a:cubicBezTo>
                      <a:pt x="545" y="204"/>
                      <a:pt x="540" y="209"/>
                      <a:pt x="537" y="214"/>
                    </a:cubicBezTo>
                    <a:cubicBezTo>
                      <a:pt x="536" y="215"/>
                      <a:pt x="534" y="217"/>
                      <a:pt x="533" y="218"/>
                    </a:cubicBezTo>
                    <a:cubicBezTo>
                      <a:pt x="535" y="212"/>
                      <a:pt x="536" y="206"/>
                      <a:pt x="537" y="199"/>
                    </a:cubicBezTo>
                    <a:close/>
                    <a:moveTo>
                      <a:pt x="544" y="225"/>
                    </a:moveTo>
                    <a:cubicBezTo>
                      <a:pt x="544" y="225"/>
                      <a:pt x="544" y="225"/>
                      <a:pt x="544" y="225"/>
                    </a:cubicBezTo>
                    <a:cubicBezTo>
                      <a:pt x="545" y="224"/>
                      <a:pt x="545" y="224"/>
                      <a:pt x="545" y="224"/>
                    </a:cubicBezTo>
                    <a:cubicBezTo>
                      <a:pt x="551" y="216"/>
                      <a:pt x="556" y="209"/>
                      <a:pt x="557" y="199"/>
                    </a:cubicBezTo>
                    <a:cubicBezTo>
                      <a:pt x="557" y="199"/>
                      <a:pt x="557" y="199"/>
                      <a:pt x="557" y="199"/>
                    </a:cubicBezTo>
                    <a:cubicBezTo>
                      <a:pt x="560" y="200"/>
                      <a:pt x="562" y="201"/>
                      <a:pt x="564" y="202"/>
                    </a:cubicBezTo>
                    <a:cubicBezTo>
                      <a:pt x="567" y="204"/>
                      <a:pt x="571" y="205"/>
                      <a:pt x="574" y="205"/>
                    </a:cubicBezTo>
                    <a:cubicBezTo>
                      <a:pt x="573" y="209"/>
                      <a:pt x="572" y="213"/>
                      <a:pt x="570" y="216"/>
                    </a:cubicBezTo>
                    <a:cubicBezTo>
                      <a:pt x="569" y="220"/>
                      <a:pt x="567" y="224"/>
                      <a:pt x="565" y="228"/>
                    </a:cubicBezTo>
                    <a:cubicBezTo>
                      <a:pt x="564" y="229"/>
                      <a:pt x="564" y="231"/>
                      <a:pt x="563" y="232"/>
                    </a:cubicBezTo>
                    <a:cubicBezTo>
                      <a:pt x="556" y="230"/>
                      <a:pt x="550" y="227"/>
                      <a:pt x="544" y="225"/>
                    </a:cubicBezTo>
                    <a:close/>
                    <a:moveTo>
                      <a:pt x="572" y="235"/>
                    </a:moveTo>
                    <a:cubicBezTo>
                      <a:pt x="572" y="235"/>
                      <a:pt x="572" y="235"/>
                      <a:pt x="572" y="235"/>
                    </a:cubicBezTo>
                    <a:cubicBezTo>
                      <a:pt x="571" y="234"/>
                      <a:pt x="570" y="234"/>
                      <a:pt x="570" y="234"/>
                    </a:cubicBezTo>
                    <a:cubicBezTo>
                      <a:pt x="570" y="234"/>
                      <a:pt x="570" y="233"/>
                      <a:pt x="570" y="232"/>
                    </a:cubicBezTo>
                    <a:cubicBezTo>
                      <a:pt x="572" y="229"/>
                      <a:pt x="574" y="225"/>
                      <a:pt x="575" y="221"/>
                    </a:cubicBezTo>
                    <a:cubicBezTo>
                      <a:pt x="577" y="217"/>
                      <a:pt x="578" y="211"/>
                      <a:pt x="579" y="206"/>
                    </a:cubicBezTo>
                    <a:cubicBezTo>
                      <a:pt x="583" y="207"/>
                      <a:pt x="587" y="208"/>
                      <a:pt x="591" y="208"/>
                    </a:cubicBezTo>
                    <a:cubicBezTo>
                      <a:pt x="592" y="208"/>
                      <a:pt x="594" y="208"/>
                      <a:pt x="595" y="207"/>
                    </a:cubicBezTo>
                    <a:cubicBezTo>
                      <a:pt x="594" y="212"/>
                      <a:pt x="594" y="217"/>
                      <a:pt x="594" y="222"/>
                    </a:cubicBezTo>
                    <a:cubicBezTo>
                      <a:pt x="593" y="226"/>
                      <a:pt x="593" y="229"/>
                      <a:pt x="593" y="233"/>
                    </a:cubicBezTo>
                    <a:cubicBezTo>
                      <a:pt x="592" y="234"/>
                      <a:pt x="592" y="236"/>
                      <a:pt x="593" y="237"/>
                    </a:cubicBezTo>
                    <a:cubicBezTo>
                      <a:pt x="586" y="237"/>
                      <a:pt x="579" y="236"/>
                      <a:pt x="572" y="235"/>
                    </a:cubicBezTo>
                    <a:close/>
                    <a:moveTo>
                      <a:pt x="599" y="237"/>
                    </a:moveTo>
                    <a:cubicBezTo>
                      <a:pt x="599" y="237"/>
                      <a:pt x="599" y="237"/>
                      <a:pt x="599" y="237"/>
                    </a:cubicBezTo>
                    <a:cubicBezTo>
                      <a:pt x="599" y="236"/>
                      <a:pt x="599" y="235"/>
                      <a:pt x="599" y="234"/>
                    </a:cubicBezTo>
                    <a:cubicBezTo>
                      <a:pt x="599" y="230"/>
                      <a:pt x="600" y="227"/>
                      <a:pt x="600" y="224"/>
                    </a:cubicBezTo>
                    <a:cubicBezTo>
                      <a:pt x="600" y="218"/>
                      <a:pt x="600" y="212"/>
                      <a:pt x="600" y="207"/>
                    </a:cubicBezTo>
                    <a:cubicBezTo>
                      <a:pt x="603" y="206"/>
                      <a:pt x="605" y="206"/>
                      <a:pt x="608" y="205"/>
                    </a:cubicBezTo>
                    <a:cubicBezTo>
                      <a:pt x="608" y="209"/>
                      <a:pt x="610" y="213"/>
                      <a:pt x="611" y="218"/>
                    </a:cubicBezTo>
                    <a:cubicBezTo>
                      <a:pt x="612" y="223"/>
                      <a:pt x="612" y="229"/>
                      <a:pt x="614" y="234"/>
                    </a:cubicBezTo>
                    <a:cubicBezTo>
                      <a:pt x="611" y="234"/>
                      <a:pt x="609" y="235"/>
                      <a:pt x="606" y="236"/>
                    </a:cubicBezTo>
                    <a:cubicBezTo>
                      <a:pt x="604" y="236"/>
                      <a:pt x="601" y="237"/>
                      <a:pt x="599" y="237"/>
                    </a:cubicBezTo>
                    <a:close/>
                    <a:moveTo>
                      <a:pt x="619" y="232"/>
                    </a:moveTo>
                    <a:cubicBezTo>
                      <a:pt x="619" y="232"/>
                      <a:pt x="619" y="232"/>
                      <a:pt x="619" y="232"/>
                    </a:cubicBezTo>
                    <a:cubicBezTo>
                      <a:pt x="619" y="227"/>
                      <a:pt x="618" y="223"/>
                      <a:pt x="617" y="219"/>
                    </a:cubicBezTo>
                    <a:cubicBezTo>
                      <a:pt x="616" y="216"/>
                      <a:pt x="616" y="213"/>
                      <a:pt x="615" y="210"/>
                    </a:cubicBezTo>
                    <a:cubicBezTo>
                      <a:pt x="614" y="208"/>
                      <a:pt x="613" y="206"/>
                      <a:pt x="612" y="203"/>
                    </a:cubicBezTo>
                    <a:cubicBezTo>
                      <a:pt x="617" y="202"/>
                      <a:pt x="621" y="199"/>
                      <a:pt x="625" y="196"/>
                    </a:cubicBezTo>
                    <a:cubicBezTo>
                      <a:pt x="625" y="196"/>
                      <a:pt x="626" y="195"/>
                      <a:pt x="626" y="195"/>
                    </a:cubicBezTo>
                    <a:cubicBezTo>
                      <a:pt x="629" y="200"/>
                      <a:pt x="634" y="204"/>
                      <a:pt x="637" y="208"/>
                    </a:cubicBezTo>
                    <a:cubicBezTo>
                      <a:pt x="639" y="211"/>
                      <a:pt x="641" y="214"/>
                      <a:pt x="642" y="217"/>
                    </a:cubicBezTo>
                    <a:cubicBezTo>
                      <a:pt x="635" y="223"/>
                      <a:pt x="627" y="228"/>
                      <a:pt x="619" y="232"/>
                    </a:cubicBezTo>
                    <a:close/>
                    <a:moveTo>
                      <a:pt x="658" y="197"/>
                    </a:moveTo>
                    <a:cubicBezTo>
                      <a:pt x="658" y="197"/>
                      <a:pt x="658" y="197"/>
                      <a:pt x="658" y="197"/>
                    </a:cubicBezTo>
                    <a:cubicBezTo>
                      <a:pt x="655" y="202"/>
                      <a:pt x="652" y="207"/>
                      <a:pt x="648" y="211"/>
                    </a:cubicBezTo>
                    <a:cubicBezTo>
                      <a:pt x="647" y="209"/>
                      <a:pt x="646" y="208"/>
                      <a:pt x="644" y="206"/>
                    </a:cubicBezTo>
                    <a:cubicBezTo>
                      <a:pt x="642" y="203"/>
                      <a:pt x="640" y="200"/>
                      <a:pt x="637" y="198"/>
                    </a:cubicBezTo>
                    <a:cubicBezTo>
                      <a:pt x="635" y="196"/>
                      <a:pt x="632" y="194"/>
                      <a:pt x="630" y="191"/>
                    </a:cubicBezTo>
                    <a:cubicBezTo>
                      <a:pt x="632" y="189"/>
                      <a:pt x="635" y="186"/>
                      <a:pt x="637" y="183"/>
                    </a:cubicBezTo>
                    <a:cubicBezTo>
                      <a:pt x="637" y="183"/>
                      <a:pt x="637" y="183"/>
                      <a:pt x="637" y="183"/>
                    </a:cubicBezTo>
                    <a:cubicBezTo>
                      <a:pt x="638" y="185"/>
                      <a:pt x="640" y="187"/>
                      <a:pt x="642" y="189"/>
                    </a:cubicBezTo>
                    <a:cubicBezTo>
                      <a:pt x="644" y="191"/>
                      <a:pt x="646" y="192"/>
                      <a:pt x="648" y="194"/>
                    </a:cubicBezTo>
                    <a:cubicBezTo>
                      <a:pt x="651" y="195"/>
                      <a:pt x="653" y="198"/>
                      <a:pt x="656" y="197"/>
                    </a:cubicBezTo>
                    <a:cubicBezTo>
                      <a:pt x="658" y="196"/>
                      <a:pt x="658" y="193"/>
                      <a:pt x="657" y="191"/>
                    </a:cubicBezTo>
                    <a:cubicBezTo>
                      <a:pt x="656" y="189"/>
                      <a:pt x="653" y="187"/>
                      <a:pt x="651" y="186"/>
                    </a:cubicBezTo>
                    <a:cubicBezTo>
                      <a:pt x="647" y="183"/>
                      <a:pt x="643" y="181"/>
                      <a:pt x="640" y="177"/>
                    </a:cubicBezTo>
                    <a:cubicBezTo>
                      <a:pt x="641" y="176"/>
                      <a:pt x="641" y="175"/>
                      <a:pt x="642" y="173"/>
                    </a:cubicBezTo>
                    <a:cubicBezTo>
                      <a:pt x="643" y="174"/>
                      <a:pt x="644" y="175"/>
                      <a:pt x="645" y="176"/>
                    </a:cubicBezTo>
                    <a:cubicBezTo>
                      <a:pt x="651" y="179"/>
                      <a:pt x="658" y="182"/>
                      <a:pt x="664" y="183"/>
                    </a:cubicBezTo>
                    <a:cubicBezTo>
                      <a:pt x="664" y="184"/>
                      <a:pt x="664" y="184"/>
                      <a:pt x="664" y="185"/>
                    </a:cubicBezTo>
                    <a:cubicBezTo>
                      <a:pt x="662" y="189"/>
                      <a:pt x="660" y="193"/>
                      <a:pt x="658" y="197"/>
                    </a:cubicBezTo>
                    <a:close/>
                    <a:moveTo>
                      <a:pt x="704" y="144"/>
                    </a:moveTo>
                    <a:cubicBezTo>
                      <a:pt x="704" y="144"/>
                      <a:pt x="704" y="144"/>
                      <a:pt x="704" y="144"/>
                    </a:cubicBezTo>
                    <a:cubicBezTo>
                      <a:pt x="701" y="152"/>
                      <a:pt x="697" y="159"/>
                      <a:pt x="691" y="164"/>
                    </a:cubicBezTo>
                    <a:cubicBezTo>
                      <a:pt x="681" y="172"/>
                      <a:pt x="667" y="171"/>
                      <a:pt x="656" y="166"/>
                    </a:cubicBezTo>
                    <a:cubicBezTo>
                      <a:pt x="645" y="161"/>
                      <a:pt x="633" y="150"/>
                      <a:pt x="635" y="137"/>
                    </a:cubicBezTo>
                    <a:cubicBezTo>
                      <a:pt x="636" y="130"/>
                      <a:pt x="640" y="124"/>
                      <a:pt x="643" y="118"/>
                    </a:cubicBezTo>
                    <a:cubicBezTo>
                      <a:pt x="644" y="116"/>
                      <a:pt x="646" y="114"/>
                      <a:pt x="647" y="112"/>
                    </a:cubicBezTo>
                    <a:cubicBezTo>
                      <a:pt x="647" y="112"/>
                      <a:pt x="648" y="112"/>
                      <a:pt x="649" y="113"/>
                    </a:cubicBezTo>
                    <a:cubicBezTo>
                      <a:pt x="649" y="113"/>
                      <a:pt x="651" y="113"/>
                      <a:pt x="651" y="113"/>
                    </a:cubicBezTo>
                    <a:cubicBezTo>
                      <a:pt x="651" y="113"/>
                      <a:pt x="652" y="113"/>
                      <a:pt x="653" y="113"/>
                    </a:cubicBezTo>
                    <a:cubicBezTo>
                      <a:pt x="653" y="113"/>
                      <a:pt x="655" y="114"/>
                      <a:pt x="654" y="114"/>
                    </a:cubicBezTo>
                    <a:cubicBezTo>
                      <a:pt x="654" y="114"/>
                      <a:pt x="654" y="114"/>
                      <a:pt x="654" y="114"/>
                    </a:cubicBezTo>
                    <a:cubicBezTo>
                      <a:pt x="654" y="114"/>
                      <a:pt x="654" y="115"/>
                      <a:pt x="654" y="115"/>
                    </a:cubicBezTo>
                    <a:cubicBezTo>
                      <a:pt x="653" y="117"/>
                      <a:pt x="652" y="119"/>
                      <a:pt x="651" y="121"/>
                    </a:cubicBezTo>
                    <a:cubicBezTo>
                      <a:pt x="647" y="126"/>
                      <a:pt x="646" y="132"/>
                      <a:pt x="648" y="138"/>
                    </a:cubicBezTo>
                    <a:cubicBezTo>
                      <a:pt x="650" y="144"/>
                      <a:pt x="655" y="149"/>
                      <a:pt x="662" y="151"/>
                    </a:cubicBezTo>
                    <a:cubicBezTo>
                      <a:pt x="673" y="155"/>
                      <a:pt x="686" y="150"/>
                      <a:pt x="693" y="142"/>
                    </a:cubicBezTo>
                    <a:cubicBezTo>
                      <a:pt x="697" y="137"/>
                      <a:pt x="700" y="132"/>
                      <a:pt x="703" y="128"/>
                    </a:cubicBezTo>
                    <a:cubicBezTo>
                      <a:pt x="703" y="127"/>
                      <a:pt x="703" y="127"/>
                      <a:pt x="703" y="127"/>
                    </a:cubicBezTo>
                    <a:cubicBezTo>
                      <a:pt x="703" y="127"/>
                      <a:pt x="703" y="127"/>
                      <a:pt x="704" y="127"/>
                    </a:cubicBezTo>
                    <a:cubicBezTo>
                      <a:pt x="705" y="128"/>
                      <a:pt x="706" y="128"/>
                      <a:pt x="707" y="128"/>
                    </a:cubicBezTo>
                    <a:cubicBezTo>
                      <a:pt x="707" y="128"/>
                      <a:pt x="707" y="128"/>
                      <a:pt x="708" y="129"/>
                    </a:cubicBezTo>
                    <a:cubicBezTo>
                      <a:pt x="707" y="130"/>
                      <a:pt x="707" y="131"/>
                      <a:pt x="707" y="132"/>
                    </a:cubicBezTo>
                    <a:cubicBezTo>
                      <a:pt x="705" y="136"/>
                      <a:pt x="705" y="140"/>
                      <a:pt x="704" y="144"/>
                    </a:cubicBezTo>
                    <a:close/>
                  </a:path>
                </a:pathLst>
              </a:custGeom>
              <a:solidFill>
                <a:srgbClr val="6039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182" name="圆角矩形标注 181"/>
            <p:cNvSpPr/>
            <p:nvPr/>
          </p:nvSpPr>
          <p:spPr>
            <a:xfrm rot="20700000">
              <a:off x="14929" y="7900"/>
              <a:ext cx="2763" cy="1217"/>
            </a:xfrm>
            <a:prstGeom prst="wedgeRoundRectCallout">
              <a:avLst>
                <a:gd name="adj1" fmla="val 12306"/>
                <a:gd name="adj2" fmla="val 74815"/>
                <a:gd name="adj3" fmla="val 16667"/>
              </a:avLst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l"/>
              <a:r>
                <a:rPr lang="en-US" altLang="zh-CN" sz="1400"/>
                <a:t>i</a:t>
              </a:r>
              <a:r>
                <a:rPr lang="en-US" altLang="zh-CN" sz="1600"/>
                <a:t>f</a:t>
              </a:r>
              <a:r>
                <a:rPr lang="zh-CN" altLang="en-US" sz="1600"/>
                <a:t>条件语句有着严格的格式要求，不能出错。</a:t>
              </a:r>
              <a:endParaRPr lang="en-US" altLang="zh-CN" sz="160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3" grpId="0" animBg="1"/>
      <p:bldP spid="29" grpId="0"/>
      <p:bldP spid="33" grpId="0" bldLvl="0" animBg="1"/>
      <p:bldP spid="34" grpId="0"/>
      <p:bldP spid="37" grpId="0"/>
      <p:bldP spid="39" grpId="0" animBg="1"/>
      <p:bldP spid="53" grpId="0" animBg="1"/>
      <p:bldP spid="96" grpId="0" bldLvl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76200"/>
            <a:ext cx="4465320" cy="1028700"/>
          </a:xfrm>
        </p:spPr>
        <p:txBody>
          <a:bodyPr/>
          <a:lstStyle/>
          <a:p>
            <a:r>
              <a:rPr lang="en-US" dirty="0"/>
              <a:t>if</a:t>
            </a:r>
            <a:r>
              <a:rPr lang="zh-CN" altLang="en-US" dirty="0"/>
              <a:t>条件语句</a:t>
            </a:r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grpSp>
        <p:nvGrpSpPr>
          <p:cNvPr id="55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0262996">
            <a:off x="10063480" y="5473065"/>
            <a:ext cx="1336675" cy="630555"/>
            <a:chOff x="3558970" y="2488798"/>
            <a:chExt cx="5067710" cy="2391582"/>
          </a:xfrm>
        </p:grpSpPr>
        <p:sp>
          <p:nvSpPr>
            <p:cNvPr id="56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50" name="圆角矩形标注 49"/>
          <p:cNvSpPr/>
          <p:nvPr/>
        </p:nvSpPr>
        <p:spPr>
          <a:xfrm>
            <a:off x="7954645" y="3330575"/>
            <a:ext cx="3673475" cy="1653540"/>
          </a:xfrm>
          <a:prstGeom prst="wedgeRoundRectCallout">
            <a:avLst>
              <a:gd name="adj1" fmla="val 12306"/>
              <a:gd name="adj2" fmla="val 74815"/>
              <a:gd name="adj3" fmla="val 16667"/>
            </a:avLst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l" fontAlgn="auto">
              <a:lnSpc>
                <a:spcPct val="130000"/>
              </a:lnSpc>
            </a:pPr>
            <a:r>
              <a:rPr lang="zh-CN" altLang="en-US" sz="1600"/>
              <a:t>在</a:t>
            </a:r>
            <a:r>
              <a:rPr lang="en-US" altLang="zh-CN" sz="1600"/>
              <a:t>python</a:t>
            </a:r>
            <a:r>
              <a:rPr lang="zh-CN" altLang="en-US" sz="1600"/>
              <a:t>中，代码的缩进非常重要，是体现代码逻辑关系的重要方式。同一层次的代码块必须保证相同的缩进量。一般以</a:t>
            </a:r>
            <a:r>
              <a:rPr lang="en-US" altLang="zh-CN" sz="1600"/>
              <a:t>4</a:t>
            </a:r>
            <a:r>
              <a:rPr lang="zh-CN" altLang="en-US" sz="1600"/>
              <a:t>个空格作为</a:t>
            </a:r>
            <a:r>
              <a:rPr lang="en-US" altLang="zh-CN" sz="1600"/>
              <a:t>1</a:t>
            </a:r>
            <a:r>
              <a:rPr lang="zh-CN" altLang="en-US" sz="1600"/>
              <a:t>个缩进单位，可以按</a:t>
            </a:r>
            <a:r>
              <a:rPr lang="en-US" altLang="zh-CN" sz="1600"/>
              <a:t>4</a:t>
            </a:r>
            <a:r>
              <a:rPr lang="zh-CN" altLang="en-US" sz="1600"/>
              <a:t>次空格键或</a:t>
            </a:r>
            <a:r>
              <a:rPr lang="en-US" altLang="zh-CN" sz="1600"/>
              <a:t>1</a:t>
            </a:r>
            <a:r>
              <a:rPr lang="zh-CN" altLang="en-US" sz="1600"/>
              <a:t>次</a:t>
            </a:r>
            <a:r>
              <a:rPr lang="en-US" altLang="zh-CN" sz="1600"/>
              <a:t>“Tab“</a:t>
            </a:r>
            <a:r>
              <a:rPr lang="zh-CN" altLang="en-US" sz="1600"/>
              <a:t>键。</a:t>
            </a: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8705850" y="1850390"/>
            <a:ext cx="1842770" cy="1014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2000" spc="400"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一</a:t>
            </a:r>
            <a:r>
              <a:rPr lang="zh-CN" altLang="en-US" spc="40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个</a:t>
            </a:r>
            <a:r>
              <a:rPr lang="zh-CN" altLang="en-US" sz="2000" spc="400"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入</a:t>
            </a:r>
            <a:r>
              <a:rPr lang="zh-CN" altLang="en-US" spc="40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口</a:t>
            </a:r>
            <a:endParaRPr lang="zh-CN" altLang="en-US" spc="400">
              <a:solidFill>
                <a:schemeClr val="tx1"/>
              </a:solidFill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000" spc="400"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一</a:t>
            </a:r>
            <a:r>
              <a:rPr lang="zh-CN" altLang="en-US" spc="40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个</a:t>
            </a:r>
            <a:r>
              <a:rPr lang="zh-CN" altLang="en-US" sz="2000" spc="400"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出</a:t>
            </a:r>
            <a:r>
              <a:rPr lang="zh-CN" altLang="en-US" spc="400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口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926401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/>
          </a:p>
        </p:txBody>
      </p:sp>
      <p:grpSp>
        <p:nvGrpSpPr>
          <p:cNvPr id="41" name="组合 40"/>
          <p:cNvGrpSpPr/>
          <p:nvPr/>
        </p:nvGrpSpPr>
        <p:grpSpPr>
          <a:xfrm>
            <a:off x="4243705" y="1980565"/>
            <a:ext cx="3232150" cy="3688080"/>
            <a:chOff x="6433" y="2664"/>
            <a:chExt cx="5090" cy="5808"/>
          </a:xfrm>
        </p:grpSpPr>
        <p:grpSp>
          <p:nvGrpSpPr>
            <p:cNvPr id="6" name="组合 5"/>
            <p:cNvGrpSpPr/>
            <p:nvPr/>
          </p:nvGrpSpPr>
          <p:grpSpPr>
            <a:xfrm>
              <a:off x="6433" y="2664"/>
              <a:ext cx="5091" cy="5808"/>
              <a:chOff x="6433" y="2664"/>
              <a:chExt cx="5091" cy="5808"/>
            </a:xfrm>
          </p:grpSpPr>
          <p:sp>
            <p:nvSpPr>
              <p:cNvPr id="19" name="圆角矩形 18"/>
              <p:cNvSpPr/>
              <p:nvPr/>
            </p:nvSpPr>
            <p:spPr>
              <a:xfrm>
                <a:off x="6908" y="7849"/>
                <a:ext cx="4017" cy="623"/>
              </a:xfrm>
              <a:prstGeom prst="roundRect">
                <a:avLst/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/>
                  <a:t>if</a:t>
                </a:r>
                <a:r>
                  <a:rPr lang="zh-CN" altLang="en-US"/>
                  <a:t>条件语句执行流程图</a:t>
                </a:r>
              </a:p>
            </p:txBody>
          </p:sp>
          <p:grpSp>
            <p:nvGrpSpPr>
              <p:cNvPr id="21" name="组合 20"/>
              <p:cNvGrpSpPr/>
              <p:nvPr/>
            </p:nvGrpSpPr>
            <p:grpSpPr>
              <a:xfrm>
                <a:off x="6433" y="2664"/>
                <a:ext cx="5091" cy="4829"/>
                <a:chOff x="6980" y="3181"/>
                <a:chExt cx="5091" cy="4829"/>
              </a:xfrm>
            </p:grpSpPr>
            <p:grpSp>
              <p:nvGrpSpPr>
                <p:cNvPr id="15" name="组合 14"/>
                <p:cNvGrpSpPr/>
                <p:nvPr/>
              </p:nvGrpSpPr>
              <p:grpSpPr>
                <a:xfrm>
                  <a:off x="7825" y="3755"/>
                  <a:ext cx="3403" cy="580"/>
                  <a:chOff x="2251" y="4467"/>
                  <a:chExt cx="3403" cy="580"/>
                </a:xfrm>
              </p:grpSpPr>
              <p:sp>
                <p:nvSpPr>
                  <p:cNvPr id="12" name="文本框 11"/>
                  <p:cNvSpPr txBox="1"/>
                  <p:nvPr/>
                </p:nvSpPr>
                <p:spPr>
                  <a:xfrm>
                    <a:off x="2251" y="4467"/>
                    <a:ext cx="802" cy="58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altLang="zh-CN" b="1">
                        <a:solidFill>
                          <a:srgbClr val="FF0000"/>
                        </a:solidFill>
                      </a:rPr>
                      <a:t>[</a:t>
                    </a:r>
                    <a:r>
                      <a:rPr lang="zh-CN" altLang="en-US" b="1">
                        <a:solidFill>
                          <a:srgbClr val="FF0000"/>
                        </a:solidFill>
                      </a:rPr>
                      <a:t>真</a:t>
                    </a:r>
                    <a:r>
                      <a:rPr lang="en-US" altLang="zh-CN" b="1">
                        <a:solidFill>
                          <a:srgbClr val="FF0000"/>
                        </a:solidFill>
                      </a:rPr>
                      <a:t>]</a:t>
                    </a:r>
                  </a:p>
                </p:txBody>
              </p:sp>
              <p:sp>
                <p:nvSpPr>
                  <p:cNvPr id="13" name="文本框 12"/>
                  <p:cNvSpPr txBox="1"/>
                  <p:nvPr/>
                </p:nvSpPr>
                <p:spPr>
                  <a:xfrm>
                    <a:off x="4852" y="4467"/>
                    <a:ext cx="802" cy="58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altLang="zh-CN" b="1">
                        <a:solidFill>
                          <a:srgbClr val="FF0000"/>
                        </a:solidFill>
                      </a:rPr>
                      <a:t>[</a:t>
                    </a:r>
                    <a:r>
                      <a:rPr lang="zh-CN" altLang="en-US" b="1">
                        <a:solidFill>
                          <a:srgbClr val="FF0000"/>
                        </a:solidFill>
                      </a:rPr>
                      <a:t>假</a:t>
                    </a:r>
                    <a:r>
                      <a:rPr lang="en-US" altLang="zh-CN" b="1">
                        <a:solidFill>
                          <a:srgbClr val="FF0000"/>
                        </a:solidFill>
                      </a:rPr>
                      <a:t>]</a:t>
                    </a:r>
                  </a:p>
                </p:txBody>
              </p:sp>
            </p:grpSp>
            <p:sp>
              <p:nvSpPr>
                <p:cNvPr id="20" name="矩形 19"/>
                <p:cNvSpPr/>
                <p:nvPr/>
              </p:nvSpPr>
              <p:spPr>
                <a:xfrm>
                  <a:off x="6980" y="3181"/>
                  <a:ext cx="5091" cy="4829"/>
                </a:xfrm>
                <a:prstGeom prst="rect">
                  <a:avLst/>
                </a:prstGeom>
                <a:noFill/>
                <a:ln w="25400" cmpd="sng">
                  <a:solidFill>
                    <a:srgbClr val="F4A229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grpSp>
          <p:nvGrpSpPr>
            <p:cNvPr id="23" name="组合 22"/>
            <p:cNvGrpSpPr/>
            <p:nvPr/>
          </p:nvGrpSpPr>
          <p:grpSpPr>
            <a:xfrm>
              <a:off x="6703" y="2805"/>
              <a:ext cx="4442" cy="4394"/>
              <a:chOff x="1750" y="3187"/>
              <a:chExt cx="4442" cy="4394"/>
            </a:xfrm>
          </p:grpSpPr>
          <p:cxnSp>
            <p:nvCxnSpPr>
              <p:cNvPr id="25" name="直接箭头连接符 24"/>
              <p:cNvCxnSpPr/>
              <p:nvPr/>
            </p:nvCxnSpPr>
            <p:spPr>
              <a:xfrm>
                <a:off x="3969" y="3187"/>
                <a:ext cx="0" cy="464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流程图: 决策 25"/>
              <p:cNvSpPr/>
              <p:nvPr/>
            </p:nvSpPr>
            <p:spPr>
              <a:xfrm>
                <a:off x="2961" y="3669"/>
                <a:ext cx="2016" cy="1063"/>
              </a:xfrm>
              <a:prstGeom prst="flowChartDecision">
                <a:avLst/>
              </a:prstGeom>
              <a:ln w="1905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>
                  <a:buClrTx/>
                  <a:buSzTx/>
                  <a:buFontTx/>
                </a:pPr>
                <a:r>
                  <a:rPr lang="zh-CN" altLang="en-US" sz="1600">
                    <a:sym typeface="+mn-ea"/>
                  </a:rPr>
                  <a:t>条件</a:t>
                </a:r>
              </a:p>
            </p:txBody>
          </p:sp>
          <p:grpSp>
            <p:nvGrpSpPr>
              <p:cNvPr id="27" name="组合 26"/>
              <p:cNvGrpSpPr/>
              <p:nvPr/>
            </p:nvGrpSpPr>
            <p:grpSpPr>
              <a:xfrm>
                <a:off x="2491" y="4200"/>
                <a:ext cx="470" cy="985"/>
                <a:chOff x="2491" y="4200"/>
                <a:chExt cx="470" cy="985"/>
              </a:xfrm>
            </p:grpSpPr>
            <p:cxnSp>
              <p:nvCxnSpPr>
                <p:cNvPr id="28" name="直接连接符 27"/>
                <p:cNvCxnSpPr>
                  <a:endCxn id="26" idx="1"/>
                </p:cNvCxnSpPr>
                <p:nvPr/>
              </p:nvCxnSpPr>
              <p:spPr>
                <a:xfrm>
                  <a:off x="2491" y="4200"/>
                  <a:ext cx="470" cy="1"/>
                </a:xfrm>
                <a:prstGeom prst="line">
                  <a:avLst/>
                </a:prstGeom>
                <a:ln w="19050" cmpd="sng">
                  <a:solidFill>
                    <a:schemeClr val="tx1"/>
                  </a:solidFill>
                  <a:prstDash val="solid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箭头连接符 28"/>
                <p:cNvCxnSpPr/>
                <p:nvPr/>
              </p:nvCxnSpPr>
              <p:spPr>
                <a:xfrm>
                  <a:off x="2504" y="4203"/>
                  <a:ext cx="0" cy="982"/>
                </a:xfrm>
                <a:prstGeom prst="straightConnector1">
                  <a:avLst/>
                </a:prstGeom>
                <a:ln w="19050"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" name="组合 29"/>
              <p:cNvGrpSpPr/>
              <p:nvPr/>
            </p:nvGrpSpPr>
            <p:grpSpPr>
              <a:xfrm flipH="1">
                <a:off x="4978" y="4200"/>
                <a:ext cx="470" cy="985"/>
                <a:chOff x="2491" y="4200"/>
                <a:chExt cx="470" cy="985"/>
              </a:xfrm>
            </p:grpSpPr>
            <p:cxnSp>
              <p:nvCxnSpPr>
                <p:cNvPr id="31" name="直接连接符 30"/>
                <p:cNvCxnSpPr/>
                <p:nvPr/>
              </p:nvCxnSpPr>
              <p:spPr>
                <a:xfrm>
                  <a:off x="2491" y="4200"/>
                  <a:ext cx="470" cy="1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箭头连接符 31"/>
                <p:cNvCxnSpPr/>
                <p:nvPr/>
              </p:nvCxnSpPr>
              <p:spPr>
                <a:xfrm>
                  <a:off x="2504" y="4203"/>
                  <a:ext cx="0" cy="982"/>
                </a:xfrm>
                <a:prstGeom prst="straightConnector1">
                  <a:avLst/>
                </a:prstGeom>
                <a:ln w="19050"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3" name="流程图: 过程 32"/>
              <p:cNvSpPr/>
              <p:nvPr/>
            </p:nvSpPr>
            <p:spPr>
              <a:xfrm>
                <a:off x="1750" y="5196"/>
                <a:ext cx="1514" cy="695"/>
              </a:xfrm>
              <a:prstGeom prst="flowChartProcess">
                <a:avLst/>
              </a:prstGeom>
              <a:ln w="1905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>
                  <a:buClrTx/>
                  <a:buSzTx/>
                  <a:buFontTx/>
                </a:pPr>
                <a:r>
                  <a:rPr lang="zh-CN" altLang="en-US" sz="1600">
                    <a:sym typeface="+mn-ea"/>
                  </a:rPr>
                  <a:t>语句块1</a:t>
                </a:r>
              </a:p>
            </p:txBody>
          </p:sp>
          <p:sp>
            <p:nvSpPr>
              <p:cNvPr id="34" name="流程图: 过程 33"/>
              <p:cNvSpPr/>
              <p:nvPr/>
            </p:nvSpPr>
            <p:spPr>
              <a:xfrm>
                <a:off x="4678" y="5185"/>
                <a:ext cx="1514" cy="695"/>
              </a:xfrm>
              <a:prstGeom prst="flowChartProcess">
                <a:avLst/>
              </a:prstGeom>
              <a:ln w="1905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>
                  <a:buClrTx/>
                  <a:buSzTx/>
                  <a:buFontTx/>
                </a:pPr>
                <a:r>
                  <a:rPr lang="zh-CN" altLang="en-US" sz="1600">
                    <a:sym typeface="+mn-ea"/>
                  </a:rPr>
                  <a:t>语句块2</a:t>
                </a:r>
              </a:p>
            </p:txBody>
          </p:sp>
          <p:cxnSp>
            <p:nvCxnSpPr>
              <p:cNvPr id="36" name="直接连接符 35"/>
              <p:cNvCxnSpPr/>
              <p:nvPr/>
            </p:nvCxnSpPr>
            <p:spPr>
              <a:xfrm>
                <a:off x="2505" y="5891"/>
                <a:ext cx="0" cy="409"/>
              </a:xfrm>
              <a:prstGeom prst="line">
                <a:avLst/>
              </a:prstGeom>
              <a:ln w="190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/>
              <p:cNvCxnSpPr/>
              <p:nvPr/>
            </p:nvCxnSpPr>
            <p:spPr>
              <a:xfrm>
                <a:off x="5448" y="5891"/>
                <a:ext cx="0" cy="409"/>
              </a:xfrm>
              <a:prstGeom prst="line">
                <a:avLst/>
              </a:prstGeom>
              <a:ln w="190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/>
              <p:nvPr/>
            </p:nvCxnSpPr>
            <p:spPr>
              <a:xfrm>
                <a:off x="2491" y="6273"/>
                <a:ext cx="2946" cy="0"/>
              </a:xfrm>
              <a:prstGeom prst="line">
                <a:avLst/>
              </a:prstGeom>
              <a:ln w="190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箭头连接符 38"/>
              <p:cNvCxnSpPr/>
              <p:nvPr/>
            </p:nvCxnSpPr>
            <p:spPr>
              <a:xfrm>
                <a:off x="3969" y="6273"/>
                <a:ext cx="0" cy="614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流程图: 过程 39"/>
              <p:cNvSpPr/>
              <p:nvPr/>
            </p:nvSpPr>
            <p:spPr>
              <a:xfrm>
                <a:off x="3164" y="6887"/>
                <a:ext cx="1813" cy="695"/>
              </a:xfrm>
              <a:prstGeom prst="flowChartProcess">
                <a:avLst/>
              </a:prstGeom>
              <a:ln w="1905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600">
                    <a:solidFill>
                      <a:schemeClr val="tx1"/>
                    </a:solidFill>
                  </a:rPr>
                  <a:t>下一语句</a:t>
                </a:r>
              </a:p>
            </p:txBody>
          </p:sp>
        </p:grpSp>
      </p:grpSp>
      <p:grpSp>
        <p:nvGrpSpPr>
          <p:cNvPr id="45" name="组合 44"/>
          <p:cNvGrpSpPr/>
          <p:nvPr/>
        </p:nvGrpSpPr>
        <p:grpSpPr>
          <a:xfrm>
            <a:off x="1376045" y="2108200"/>
            <a:ext cx="2352040" cy="3601720"/>
            <a:chOff x="2167" y="3320"/>
            <a:chExt cx="3704" cy="5672"/>
          </a:xfrm>
        </p:grpSpPr>
        <p:grpSp>
          <p:nvGrpSpPr>
            <p:cNvPr id="3" name="组合 2"/>
            <p:cNvGrpSpPr/>
            <p:nvPr/>
          </p:nvGrpSpPr>
          <p:grpSpPr>
            <a:xfrm>
              <a:off x="2167" y="3320"/>
              <a:ext cx="3705" cy="5673"/>
              <a:chOff x="1450" y="3505"/>
              <a:chExt cx="3705" cy="5673"/>
            </a:xfrm>
          </p:grpSpPr>
          <p:sp>
            <p:nvSpPr>
              <p:cNvPr id="17" name="文本框 16"/>
              <p:cNvSpPr txBox="1"/>
              <p:nvPr/>
            </p:nvSpPr>
            <p:spPr>
              <a:xfrm>
                <a:off x="1746" y="3505"/>
                <a:ext cx="2788" cy="3488"/>
              </a:xfrm>
              <a:prstGeom prst="rect">
                <a:avLst/>
              </a:prstGeom>
              <a:noFill/>
              <a:ln w="25400">
                <a:solidFill>
                  <a:srgbClr val="F4A229"/>
                </a:solidFill>
              </a:ln>
            </p:spPr>
            <p:txBody>
              <a:bodyPr wrap="none" rtlCol="0">
                <a:spAutoFit/>
              </a:bodyPr>
              <a:lstStyle/>
              <a:p>
                <a:pPr fontAlgn="auto">
                  <a:lnSpc>
                    <a:spcPct val="150000"/>
                  </a:lnSpc>
                </a:pPr>
                <a:r>
                  <a:rPr lang="en-US" altLang="zh-CN" sz="2800">
                    <a:solidFill>
                      <a:srgbClr val="FF0000"/>
                    </a:solidFill>
                  </a:rPr>
                  <a:t>if</a:t>
                </a:r>
                <a:r>
                  <a:rPr lang="en-US" altLang="zh-CN"/>
                  <a:t> &lt;</a:t>
                </a:r>
                <a:r>
                  <a:rPr lang="zh-CN" altLang="en-US"/>
                  <a:t>条件</a:t>
                </a:r>
                <a:r>
                  <a:rPr lang="en-US" altLang="zh-CN"/>
                  <a:t>&gt;</a:t>
                </a:r>
                <a:r>
                  <a:rPr lang="en-US" altLang="zh-CN" sz="2800">
                    <a:solidFill>
                      <a:srgbClr val="FF0000"/>
                    </a:solidFill>
                  </a:rPr>
                  <a:t>:</a:t>
                </a:r>
                <a:endParaRPr lang="en-US" altLang="zh-CN" sz="2800"/>
              </a:p>
              <a:p>
                <a:pPr fontAlgn="auto">
                  <a:lnSpc>
                    <a:spcPct val="150000"/>
                  </a:lnSpc>
                </a:pPr>
                <a:r>
                  <a:rPr lang="en-US" altLang="zh-CN"/>
                  <a:t>        &lt;</a:t>
                </a:r>
                <a:r>
                  <a:rPr lang="zh-CN" altLang="en-US"/>
                  <a:t>语句块</a:t>
                </a:r>
                <a:r>
                  <a:rPr lang="en-US" altLang="zh-CN"/>
                  <a:t>1&gt;</a:t>
                </a:r>
              </a:p>
              <a:p>
                <a:pPr fontAlgn="auto">
                  <a:lnSpc>
                    <a:spcPct val="150000"/>
                  </a:lnSpc>
                </a:pPr>
                <a:r>
                  <a:rPr lang="en-US" altLang="zh-CN" sz="2800">
                    <a:solidFill>
                      <a:srgbClr val="FF0000"/>
                    </a:solidFill>
                  </a:rPr>
                  <a:t>else:</a:t>
                </a:r>
              </a:p>
              <a:p>
                <a:pPr fontAlgn="auto">
                  <a:lnSpc>
                    <a:spcPct val="150000"/>
                  </a:lnSpc>
                </a:pPr>
                <a:r>
                  <a:rPr lang="en-US" altLang="zh-CN"/>
                  <a:t>        &lt;</a:t>
                </a:r>
                <a:r>
                  <a:rPr lang="zh-CN" altLang="en-US"/>
                  <a:t>语句块</a:t>
                </a:r>
                <a:r>
                  <a:rPr lang="en-US" altLang="zh-CN"/>
                  <a:t>2&gt;</a:t>
                </a:r>
              </a:p>
            </p:txBody>
          </p:sp>
          <p:sp>
            <p:nvSpPr>
              <p:cNvPr id="18" name="圆角矩形 17"/>
              <p:cNvSpPr/>
              <p:nvPr/>
            </p:nvSpPr>
            <p:spPr>
              <a:xfrm>
                <a:off x="1450" y="8555"/>
                <a:ext cx="3705" cy="623"/>
              </a:xfrm>
              <a:prstGeom prst="roundRect">
                <a:avLst/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/>
                  <a:t>if</a:t>
                </a:r>
                <a:r>
                  <a:rPr lang="zh-CN" altLang="en-US"/>
                  <a:t>条件语句一般格式</a:t>
                </a: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2590" y="6346"/>
              <a:ext cx="762" cy="254"/>
              <a:chOff x="4973" y="2567"/>
              <a:chExt cx="762" cy="346"/>
            </a:xfrm>
          </p:grpSpPr>
          <p:sp>
            <p:nvSpPr>
              <p:cNvPr id="4" name="矩形 3"/>
              <p:cNvSpPr/>
              <p:nvPr/>
            </p:nvSpPr>
            <p:spPr>
              <a:xfrm>
                <a:off x="4973" y="2567"/>
                <a:ext cx="762" cy="347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5354" y="2567"/>
                <a:ext cx="0" cy="347"/>
              </a:xfrm>
              <a:prstGeom prst="line">
                <a:avLst/>
              </a:prstGeom>
              <a:ln w="158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直接连接符 8"/>
              <p:cNvCxnSpPr/>
              <p:nvPr/>
            </p:nvCxnSpPr>
            <p:spPr>
              <a:xfrm>
                <a:off x="5162" y="2567"/>
                <a:ext cx="0" cy="347"/>
              </a:xfrm>
              <a:prstGeom prst="line">
                <a:avLst/>
              </a:prstGeom>
              <a:ln w="158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直接连接符 9"/>
              <p:cNvCxnSpPr/>
              <p:nvPr/>
            </p:nvCxnSpPr>
            <p:spPr>
              <a:xfrm>
                <a:off x="5554" y="2567"/>
                <a:ext cx="0" cy="347"/>
              </a:xfrm>
              <a:prstGeom prst="line">
                <a:avLst/>
              </a:prstGeom>
              <a:ln w="158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组合 13"/>
            <p:cNvGrpSpPr/>
            <p:nvPr/>
          </p:nvGrpSpPr>
          <p:grpSpPr>
            <a:xfrm>
              <a:off x="2590" y="4640"/>
              <a:ext cx="762" cy="254"/>
              <a:chOff x="4973" y="2567"/>
              <a:chExt cx="762" cy="346"/>
            </a:xfrm>
          </p:grpSpPr>
          <p:sp>
            <p:nvSpPr>
              <p:cNvPr id="16" name="矩形 15"/>
              <p:cNvSpPr/>
              <p:nvPr/>
            </p:nvSpPr>
            <p:spPr>
              <a:xfrm>
                <a:off x="4973" y="2567"/>
                <a:ext cx="762" cy="347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cxnSp>
            <p:nvCxnSpPr>
              <p:cNvPr id="22" name="直接连接符 21"/>
              <p:cNvCxnSpPr/>
              <p:nvPr/>
            </p:nvCxnSpPr>
            <p:spPr>
              <a:xfrm>
                <a:off x="5354" y="2567"/>
                <a:ext cx="0" cy="347"/>
              </a:xfrm>
              <a:prstGeom prst="line">
                <a:avLst/>
              </a:prstGeom>
              <a:ln w="158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接连接符 41"/>
              <p:cNvCxnSpPr/>
              <p:nvPr/>
            </p:nvCxnSpPr>
            <p:spPr>
              <a:xfrm>
                <a:off x="5162" y="2567"/>
                <a:ext cx="0" cy="347"/>
              </a:xfrm>
              <a:prstGeom prst="line">
                <a:avLst/>
              </a:prstGeom>
              <a:ln w="158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接连接符 42"/>
              <p:cNvCxnSpPr/>
              <p:nvPr/>
            </p:nvCxnSpPr>
            <p:spPr>
              <a:xfrm>
                <a:off x="5554" y="2567"/>
                <a:ext cx="0" cy="347"/>
              </a:xfrm>
              <a:prstGeom prst="line">
                <a:avLst/>
              </a:prstGeom>
              <a:ln w="158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bldLvl="0" animBg="1"/>
      <p:bldP spid="24" grpId="0"/>
      <p:bldP spid="24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2325" y="-76200"/>
            <a:ext cx="4465320" cy="1028700"/>
          </a:xfrm>
        </p:spPr>
        <p:txBody>
          <a:bodyPr/>
          <a:lstStyle/>
          <a:p>
            <a:r>
              <a:rPr lang="en-US" dirty="0"/>
              <a:t>if</a:t>
            </a:r>
            <a:r>
              <a:rPr lang="zh-CN" altLang="en-US" dirty="0"/>
              <a:t>条件语句</a:t>
            </a:r>
          </a:p>
        </p:txBody>
      </p:sp>
      <p:pic>
        <p:nvPicPr>
          <p:cNvPr id="63" name="图片 62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5089" y="121644"/>
            <a:ext cx="885033" cy="885033"/>
          </a:xfrm>
          <a:prstGeom prst="rect">
            <a:avLst/>
          </a:prstGeom>
        </p:spPr>
      </p:pic>
      <p:grpSp>
        <p:nvGrpSpPr>
          <p:cNvPr id="55" name="88c1d644-dd23-40cc-af81-3e65592df81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 rot="20262996">
            <a:off x="1497965" y="4772660"/>
            <a:ext cx="1336675" cy="630555"/>
            <a:chOff x="3558970" y="2488798"/>
            <a:chExt cx="5067710" cy="2391582"/>
          </a:xfrm>
        </p:grpSpPr>
        <p:sp>
          <p:nvSpPr>
            <p:cNvPr id="56" name="ïs1îḋè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715 w 720"/>
                <a:gd name="T1" fmla="*/ 122 h 340"/>
                <a:gd name="T2" fmla="*/ 689 w 720"/>
                <a:gd name="T3" fmla="*/ 124 h 340"/>
                <a:gd name="T4" fmla="*/ 666 w 720"/>
                <a:gd name="T5" fmla="*/ 138 h 340"/>
                <a:gd name="T6" fmla="*/ 668 w 720"/>
                <a:gd name="T7" fmla="*/ 116 h 340"/>
                <a:gd name="T8" fmla="*/ 647 w 720"/>
                <a:gd name="T9" fmla="*/ 98 h 340"/>
                <a:gd name="T10" fmla="*/ 631 w 720"/>
                <a:gd name="T11" fmla="*/ 115 h 340"/>
                <a:gd name="T12" fmla="*/ 632 w 720"/>
                <a:gd name="T13" fmla="*/ 165 h 340"/>
                <a:gd name="T14" fmla="*/ 628 w 720"/>
                <a:gd name="T15" fmla="*/ 172 h 340"/>
                <a:gd name="T16" fmla="*/ 594 w 720"/>
                <a:gd name="T17" fmla="*/ 194 h 340"/>
                <a:gd name="T18" fmla="*/ 577 w 720"/>
                <a:gd name="T19" fmla="*/ 194 h 340"/>
                <a:gd name="T20" fmla="*/ 576 w 720"/>
                <a:gd name="T21" fmla="*/ 194 h 340"/>
                <a:gd name="T22" fmla="*/ 561 w 720"/>
                <a:gd name="T23" fmla="*/ 189 h 340"/>
                <a:gd name="T24" fmla="*/ 552 w 720"/>
                <a:gd name="T25" fmla="*/ 174 h 340"/>
                <a:gd name="T26" fmla="*/ 531 w 720"/>
                <a:gd name="T27" fmla="*/ 142 h 340"/>
                <a:gd name="T28" fmla="*/ 468 w 720"/>
                <a:gd name="T29" fmla="*/ 67 h 340"/>
                <a:gd name="T30" fmla="*/ 474 w 720"/>
                <a:gd name="T31" fmla="*/ 57 h 340"/>
                <a:gd name="T32" fmla="*/ 470 w 720"/>
                <a:gd name="T33" fmla="*/ 4 h 340"/>
                <a:gd name="T34" fmla="*/ 436 w 720"/>
                <a:gd name="T35" fmla="*/ 50 h 340"/>
                <a:gd name="T36" fmla="*/ 330 w 720"/>
                <a:gd name="T37" fmla="*/ 44 h 340"/>
                <a:gd name="T38" fmla="*/ 314 w 720"/>
                <a:gd name="T39" fmla="*/ 37 h 340"/>
                <a:gd name="T40" fmla="*/ 290 w 720"/>
                <a:gd name="T41" fmla="*/ 0 h 340"/>
                <a:gd name="T42" fmla="*/ 272 w 720"/>
                <a:gd name="T43" fmla="*/ 26 h 340"/>
                <a:gd name="T44" fmla="*/ 281 w 720"/>
                <a:gd name="T45" fmla="*/ 54 h 340"/>
                <a:gd name="T46" fmla="*/ 267 w 720"/>
                <a:gd name="T47" fmla="*/ 74 h 340"/>
                <a:gd name="T48" fmla="*/ 224 w 720"/>
                <a:gd name="T49" fmla="*/ 132 h 340"/>
                <a:gd name="T50" fmla="*/ 209 w 720"/>
                <a:gd name="T51" fmla="*/ 172 h 340"/>
                <a:gd name="T52" fmla="*/ 194 w 720"/>
                <a:gd name="T53" fmla="*/ 195 h 340"/>
                <a:gd name="T54" fmla="*/ 180 w 720"/>
                <a:gd name="T55" fmla="*/ 203 h 340"/>
                <a:gd name="T56" fmla="*/ 176 w 720"/>
                <a:gd name="T57" fmla="*/ 205 h 340"/>
                <a:gd name="T58" fmla="*/ 123 w 720"/>
                <a:gd name="T59" fmla="*/ 210 h 340"/>
                <a:gd name="T60" fmla="*/ 105 w 720"/>
                <a:gd name="T61" fmla="*/ 199 h 340"/>
                <a:gd name="T62" fmla="*/ 105 w 720"/>
                <a:gd name="T63" fmla="*/ 199 h 340"/>
                <a:gd name="T64" fmla="*/ 61 w 720"/>
                <a:gd name="T65" fmla="*/ 139 h 340"/>
                <a:gd name="T66" fmla="*/ 40 w 720"/>
                <a:gd name="T67" fmla="*/ 160 h 340"/>
                <a:gd name="T68" fmla="*/ 66 w 720"/>
                <a:gd name="T69" fmla="*/ 189 h 340"/>
                <a:gd name="T70" fmla="*/ 35 w 720"/>
                <a:gd name="T71" fmla="*/ 189 h 340"/>
                <a:gd name="T72" fmla="*/ 22 w 720"/>
                <a:gd name="T73" fmla="*/ 179 h 340"/>
                <a:gd name="T74" fmla="*/ 5 w 720"/>
                <a:gd name="T75" fmla="*/ 188 h 340"/>
                <a:gd name="T76" fmla="*/ 4 w 720"/>
                <a:gd name="T77" fmla="*/ 207 h 340"/>
                <a:gd name="T78" fmla="*/ 78 w 720"/>
                <a:gd name="T79" fmla="*/ 235 h 340"/>
                <a:gd name="T80" fmla="*/ 90 w 720"/>
                <a:gd name="T81" fmla="*/ 251 h 340"/>
                <a:gd name="T82" fmla="*/ 130 w 720"/>
                <a:gd name="T83" fmla="*/ 270 h 340"/>
                <a:gd name="T84" fmla="*/ 177 w 720"/>
                <a:gd name="T85" fmla="*/ 270 h 340"/>
                <a:gd name="T86" fmla="*/ 210 w 720"/>
                <a:gd name="T87" fmla="*/ 251 h 340"/>
                <a:gd name="T88" fmla="*/ 224 w 720"/>
                <a:gd name="T89" fmla="*/ 245 h 340"/>
                <a:gd name="T90" fmla="*/ 323 w 720"/>
                <a:gd name="T91" fmla="*/ 333 h 340"/>
                <a:gd name="T92" fmla="*/ 351 w 720"/>
                <a:gd name="T93" fmla="*/ 338 h 340"/>
                <a:gd name="T94" fmla="*/ 382 w 720"/>
                <a:gd name="T95" fmla="*/ 337 h 340"/>
                <a:gd name="T96" fmla="*/ 460 w 720"/>
                <a:gd name="T97" fmla="*/ 312 h 340"/>
                <a:gd name="T98" fmla="*/ 527 w 720"/>
                <a:gd name="T99" fmla="*/ 235 h 340"/>
                <a:gd name="T100" fmla="*/ 558 w 720"/>
                <a:gd name="T101" fmla="*/ 243 h 340"/>
                <a:gd name="T102" fmla="*/ 637 w 720"/>
                <a:gd name="T103" fmla="*/ 238 h 340"/>
                <a:gd name="T104" fmla="*/ 678 w 720"/>
                <a:gd name="T105" fmla="*/ 186 h 340"/>
                <a:gd name="T106" fmla="*/ 689 w 720"/>
                <a:gd name="T107" fmla="*/ 181 h 340"/>
                <a:gd name="T108" fmla="*/ 716 w 720"/>
                <a:gd name="T109" fmla="*/ 12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śľïďè"/>
            <p:cNvSpPr/>
            <p:nvPr/>
          </p:nvSpPr>
          <p:spPr bwMode="auto">
            <a:xfrm>
              <a:off x="5120612" y="2834324"/>
              <a:ext cx="2134129" cy="1720855"/>
            </a:xfrm>
            <a:custGeom>
              <a:avLst/>
              <a:gdLst>
                <a:gd name="T0" fmla="*/ 277 w 303"/>
                <a:gd name="T1" fmla="*/ 210 h 245"/>
                <a:gd name="T2" fmla="*/ 277 w 303"/>
                <a:gd name="T3" fmla="*/ 210 h 245"/>
                <a:gd name="T4" fmla="*/ 249 w 303"/>
                <a:gd name="T5" fmla="*/ 239 h 245"/>
                <a:gd name="T6" fmla="*/ 246 w 303"/>
                <a:gd name="T7" fmla="*/ 239 h 245"/>
                <a:gd name="T8" fmla="*/ 231 w 303"/>
                <a:gd name="T9" fmla="*/ 241 h 245"/>
                <a:gd name="T10" fmla="*/ 203 w 303"/>
                <a:gd name="T11" fmla="*/ 243 h 245"/>
                <a:gd name="T12" fmla="*/ 176 w 303"/>
                <a:gd name="T13" fmla="*/ 245 h 245"/>
                <a:gd name="T14" fmla="*/ 147 w 303"/>
                <a:gd name="T15" fmla="*/ 243 h 245"/>
                <a:gd name="T16" fmla="*/ 90 w 303"/>
                <a:gd name="T17" fmla="*/ 241 h 245"/>
                <a:gd name="T18" fmla="*/ 44 w 303"/>
                <a:gd name="T19" fmla="*/ 239 h 245"/>
                <a:gd name="T20" fmla="*/ 14 w 303"/>
                <a:gd name="T21" fmla="*/ 194 h 245"/>
                <a:gd name="T22" fmla="*/ 13 w 303"/>
                <a:gd name="T23" fmla="*/ 189 h 245"/>
                <a:gd name="T24" fmla="*/ 12 w 303"/>
                <a:gd name="T25" fmla="*/ 189 h 245"/>
                <a:gd name="T26" fmla="*/ 5 w 303"/>
                <a:gd name="T27" fmla="*/ 161 h 245"/>
                <a:gd name="T28" fmla="*/ 18 w 303"/>
                <a:gd name="T29" fmla="*/ 76 h 245"/>
                <a:gd name="T30" fmla="*/ 45 w 303"/>
                <a:gd name="T31" fmla="*/ 39 h 245"/>
                <a:gd name="T32" fmla="*/ 78 w 303"/>
                <a:gd name="T33" fmla="*/ 16 h 245"/>
                <a:gd name="T34" fmla="*/ 94 w 303"/>
                <a:gd name="T35" fmla="*/ 11 h 245"/>
                <a:gd name="T36" fmla="*/ 148 w 303"/>
                <a:gd name="T37" fmla="*/ 2 h 245"/>
                <a:gd name="T38" fmla="*/ 249 w 303"/>
                <a:gd name="T39" fmla="*/ 36 h 245"/>
                <a:gd name="T40" fmla="*/ 291 w 303"/>
                <a:gd name="T41" fmla="*/ 85 h 245"/>
                <a:gd name="T42" fmla="*/ 302 w 303"/>
                <a:gd name="T43" fmla="*/ 116 h 245"/>
                <a:gd name="T44" fmla="*/ 302 w 303"/>
                <a:gd name="T45" fmla="*/ 119 h 245"/>
                <a:gd name="T46" fmla="*/ 303 w 303"/>
                <a:gd name="T47" fmla="*/ 132 h 245"/>
                <a:gd name="T48" fmla="*/ 299 w 303"/>
                <a:gd name="T49" fmla="*/ 161 h 245"/>
                <a:gd name="T50" fmla="*/ 277 w 303"/>
                <a:gd name="T51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3" h="245">
                  <a:moveTo>
                    <a:pt x="277" y="210"/>
                  </a:moveTo>
                  <a:cubicBezTo>
                    <a:pt x="277" y="210"/>
                    <a:pt x="277" y="210"/>
                    <a:pt x="277" y="210"/>
                  </a:cubicBezTo>
                  <a:cubicBezTo>
                    <a:pt x="269" y="221"/>
                    <a:pt x="259" y="230"/>
                    <a:pt x="249" y="239"/>
                  </a:cubicBezTo>
                  <a:cubicBezTo>
                    <a:pt x="248" y="239"/>
                    <a:pt x="247" y="239"/>
                    <a:pt x="246" y="239"/>
                  </a:cubicBezTo>
                  <a:cubicBezTo>
                    <a:pt x="241" y="239"/>
                    <a:pt x="236" y="240"/>
                    <a:pt x="231" y="241"/>
                  </a:cubicBezTo>
                  <a:cubicBezTo>
                    <a:pt x="222" y="241"/>
                    <a:pt x="213" y="242"/>
                    <a:pt x="203" y="243"/>
                  </a:cubicBezTo>
                  <a:cubicBezTo>
                    <a:pt x="194" y="244"/>
                    <a:pt x="185" y="245"/>
                    <a:pt x="176" y="245"/>
                  </a:cubicBezTo>
                  <a:cubicBezTo>
                    <a:pt x="166" y="245"/>
                    <a:pt x="156" y="244"/>
                    <a:pt x="147" y="243"/>
                  </a:cubicBezTo>
                  <a:cubicBezTo>
                    <a:pt x="128" y="243"/>
                    <a:pt x="109" y="242"/>
                    <a:pt x="90" y="241"/>
                  </a:cubicBezTo>
                  <a:cubicBezTo>
                    <a:pt x="75" y="239"/>
                    <a:pt x="59" y="239"/>
                    <a:pt x="44" y="239"/>
                  </a:cubicBezTo>
                  <a:cubicBezTo>
                    <a:pt x="31" y="227"/>
                    <a:pt x="21" y="211"/>
                    <a:pt x="14" y="194"/>
                  </a:cubicBezTo>
                  <a:cubicBezTo>
                    <a:pt x="15" y="193"/>
                    <a:pt x="15" y="191"/>
                    <a:pt x="13" y="189"/>
                  </a:cubicBezTo>
                  <a:cubicBezTo>
                    <a:pt x="13" y="189"/>
                    <a:pt x="12" y="189"/>
                    <a:pt x="12" y="189"/>
                  </a:cubicBezTo>
                  <a:cubicBezTo>
                    <a:pt x="9" y="180"/>
                    <a:pt x="6" y="171"/>
                    <a:pt x="5" y="161"/>
                  </a:cubicBezTo>
                  <a:cubicBezTo>
                    <a:pt x="0" y="132"/>
                    <a:pt x="5" y="102"/>
                    <a:pt x="18" y="76"/>
                  </a:cubicBezTo>
                  <a:cubicBezTo>
                    <a:pt x="24" y="62"/>
                    <a:pt x="33" y="49"/>
                    <a:pt x="45" y="39"/>
                  </a:cubicBezTo>
                  <a:cubicBezTo>
                    <a:pt x="55" y="30"/>
                    <a:pt x="66" y="23"/>
                    <a:pt x="78" y="16"/>
                  </a:cubicBezTo>
                  <a:cubicBezTo>
                    <a:pt x="83" y="14"/>
                    <a:pt x="89" y="13"/>
                    <a:pt x="94" y="11"/>
                  </a:cubicBezTo>
                  <a:cubicBezTo>
                    <a:pt x="111" y="6"/>
                    <a:pt x="130" y="3"/>
                    <a:pt x="148" y="2"/>
                  </a:cubicBezTo>
                  <a:cubicBezTo>
                    <a:pt x="185" y="0"/>
                    <a:pt x="220" y="14"/>
                    <a:pt x="249" y="36"/>
                  </a:cubicBezTo>
                  <a:cubicBezTo>
                    <a:pt x="267" y="49"/>
                    <a:pt x="282" y="65"/>
                    <a:pt x="291" y="85"/>
                  </a:cubicBezTo>
                  <a:cubicBezTo>
                    <a:pt x="296" y="95"/>
                    <a:pt x="299" y="105"/>
                    <a:pt x="302" y="116"/>
                  </a:cubicBezTo>
                  <a:cubicBezTo>
                    <a:pt x="302" y="117"/>
                    <a:pt x="302" y="117"/>
                    <a:pt x="302" y="119"/>
                  </a:cubicBezTo>
                  <a:cubicBezTo>
                    <a:pt x="303" y="123"/>
                    <a:pt x="303" y="127"/>
                    <a:pt x="303" y="132"/>
                  </a:cubicBezTo>
                  <a:cubicBezTo>
                    <a:pt x="302" y="142"/>
                    <a:pt x="302" y="151"/>
                    <a:pt x="299" y="161"/>
                  </a:cubicBezTo>
                  <a:cubicBezTo>
                    <a:pt x="295" y="179"/>
                    <a:pt x="287" y="195"/>
                    <a:pt x="277" y="210"/>
                  </a:cubicBezTo>
                  <a:close/>
                </a:path>
              </a:pathLst>
            </a:custGeom>
            <a:solidFill>
              <a:srgbClr val="FBB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şliḓé"/>
            <p:cNvSpPr/>
            <p:nvPr/>
          </p:nvSpPr>
          <p:spPr bwMode="auto">
            <a:xfrm>
              <a:off x="5022373" y="3037575"/>
              <a:ext cx="514901" cy="1476954"/>
            </a:xfrm>
            <a:custGeom>
              <a:avLst/>
              <a:gdLst>
                <a:gd name="T0" fmla="*/ 73 w 73"/>
                <a:gd name="T1" fmla="*/ 210 h 210"/>
                <a:gd name="T2" fmla="*/ 65 w 73"/>
                <a:gd name="T3" fmla="*/ 210 h 210"/>
                <a:gd name="T4" fmla="*/ 58 w 73"/>
                <a:gd name="T5" fmla="*/ 210 h 210"/>
                <a:gd name="T6" fmla="*/ 28 w 73"/>
                <a:gd name="T7" fmla="*/ 165 h 210"/>
                <a:gd name="T8" fmla="*/ 27 w 73"/>
                <a:gd name="T9" fmla="*/ 160 h 210"/>
                <a:gd name="T10" fmla="*/ 26 w 73"/>
                <a:gd name="T11" fmla="*/ 160 h 210"/>
                <a:gd name="T12" fmla="*/ 19 w 73"/>
                <a:gd name="T13" fmla="*/ 132 h 210"/>
                <a:gd name="T14" fmla="*/ 17 w 73"/>
                <a:gd name="T15" fmla="*/ 110 h 210"/>
                <a:gd name="T16" fmla="*/ 17 w 73"/>
                <a:gd name="T17" fmla="*/ 109 h 210"/>
                <a:gd name="T18" fmla="*/ 32 w 73"/>
                <a:gd name="T19" fmla="*/ 47 h 210"/>
                <a:gd name="T20" fmla="*/ 59 w 73"/>
                <a:gd name="T21" fmla="*/ 10 h 210"/>
                <a:gd name="T22" fmla="*/ 71 w 73"/>
                <a:gd name="T23" fmla="*/ 0 h 210"/>
                <a:gd name="T24" fmla="*/ 73 w 73"/>
                <a:gd name="T2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210">
                  <a:moveTo>
                    <a:pt x="73" y="210"/>
                  </a:moveTo>
                  <a:cubicBezTo>
                    <a:pt x="70" y="210"/>
                    <a:pt x="67" y="210"/>
                    <a:pt x="65" y="210"/>
                  </a:cubicBezTo>
                  <a:cubicBezTo>
                    <a:pt x="62" y="210"/>
                    <a:pt x="60" y="210"/>
                    <a:pt x="58" y="210"/>
                  </a:cubicBezTo>
                  <a:cubicBezTo>
                    <a:pt x="45" y="198"/>
                    <a:pt x="35" y="182"/>
                    <a:pt x="28" y="165"/>
                  </a:cubicBezTo>
                  <a:cubicBezTo>
                    <a:pt x="29" y="164"/>
                    <a:pt x="29" y="162"/>
                    <a:pt x="27" y="160"/>
                  </a:cubicBezTo>
                  <a:cubicBezTo>
                    <a:pt x="27" y="160"/>
                    <a:pt x="26" y="160"/>
                    <a:pt x="26" y="160"/>
                  </a:cubicBezTo>
                  <a:cubicBezTo>
                    <a:pt x="23" y="151"/>
                    <a:pt x="20" y="142"/>
                    <a:pt x="19" y="132"/>
                  </a:cubicBezTo>
                  <a:cubicBezTo>
                    <a:pt x="17" y="125"/>
                    <a:pt x="17" y="118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87"/>
                    <a:pt x="22" y="66"/>
                    <a:pt x="32" y="47"/>
                  </a:cubicBezTo>
                  <a:cubicBezTo>
                    <a:pt x="38" y="33"/>
                    <a:pt x="47" y="20"/>
                    <a:pt x="59" y="10"/>
                  </a:cubicBezTo>
                  <a:cubicBezTo>
                    <a:pt x="63" y="6"/>
                    <a:pt x="67" y="3"/>
                    <a:pt x="71" y="0"/>
                  </a:cubicBezTo>
                  <a:cubicBezTo>
                    <a:pt x="41" y="32"/>
                    <a:pt x="0" y="101"/>
                    <a:pt x="73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šľîḍê"/>
            <p:cNvSpPr/>
            <p:nvPr/>
          </p:nvSpPr>
          <p:spPr bwMode="auto">
            <a:xfrm>
              <a:off x="6543364" y="2902074"/>
              <a:ext cx="1026416" cy="1626005"/>
            </a:xfrm>
            <a:custGeom>
              <a:avLst/>
              <a:gdLst>
                <a:gd name="T0" fmla="*/ 75 w 146"/>
                <a:gd name="T1" fmla="*/ 200 h 231"/>
                <a:gd name="T2" fmla="*/ 75 w 146"/>
                <a:gd name="T3" fmla="*/ 200 h 231"/>
                <a:gd name="T4" fmla="*/ 47 w 146"/>
                <a:gd name="T5" fmla="*/ 229 h 231"/>
                <a:gd name="T6" fmla="*/ 44 w 146"/>
                <a:gd name="T7" fmla="*/ 229 h 231"/>
                <a:gd name="T8" fmla="*/ 29 w 146"/>
                <a:gd name="T9" fmla="*/ 231 h 231"/>
                <a:gd name="T10" fmla="*/ 23 w 146"/>
                <a:gd name="T11" fmla="*/ 231 h 231"/>
                <a:gd name="T12" fmla="*/ 0 w 146"/>
                <a:gd name="T13" fmla="*/ 0 h 231"/>
                <a:gd name="T14" fmla="*/ 47 w 146"/>
                <a:gd name="T15" fmla="*/ 26 h 231"/>
                <a:gd name="T16" fmla="*/ 89 w 146"/>
                <a:gd name="T17" fmla="*/ 75 h 231"/>
                <a:gd name="T18" fmla="*/ 100 w 146"/>
                <a:gd name="T19" fmla="*/ 106 h 231"/>
                <a:gd name="T20" fmla="*/ 100 w 146"/>
                <a:gd name="T21" fmla="*/ 109 h 231"/>
                <a:gd name="T22" fmla="*/ 101 w 146"/>
                <a:gd name="T23" fmla="*/ 122 h 231"/>
                <a:gd name="T24" fmla="*/ 97 w 146"/>
                <a:gd name="T25" fmla="*/ 151 h 231"/>
                <a:gd name="T26" fmla="*/ 75 w 146"/>
                <a:gd name="T27" fmla="*/ 200 h 231"/>
                <a:gd name="T28" fmla="*/ 0 w 146"/>
                <a:gd name="T29" fmla="*/ 0 h 231"/>
                <a:gd name="T30" fmla="*/ 0 w 146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31">
                  <a:moveTo>
                    <a:pt x="75" y="200"/>
                  </a:moveTo>
                  <a:cubicBezTo>
                    <a:pt x="75" y="200"/>
                    <a:pt x="75" y="200"/>
                    <a:pt x="75" y="200"/>
                  </a:cubicBezTo>
                  <a:cubicBezTo>
                    <a:pt x="67" y="211"/>
                    <a:pt x="57" y="220"/>
                    <a:pt x="47" y="229"/>
                  </a:cubicBezTo>
                  <a:cubicBezTo>
                    <a:pt x="46" y="229"/>
                    <a:pt x="45" y="229"/>
                    <a:pt x="44" y="229"/>
                  </a:cubicBezTo>
                  <a:cubicBezTo>
                    <a:pt x="39" y="229"/>
                    <a:pt x="34" y="230"/>
                    <a:pt x="29" y="231"/>
                  </a:cubicBezTo>
                  <a:cubicBezTo>
                    <a:pt x="27" y="231"/>
                    <a:pt x="25" y="231"/>
                    <a:pt x="23" y="231"/>
                  </a:cubicBezTo>
                  <a:cubicBezTo>
                    <a:pt x="146" y="77"/>
                    <a:pt x="0" y="0"/>
                    <a:pt x="0" y="0"/>
                  </a:cubicBezTo>
                  <a:cubicBezTo>
                    <a:pt x="17" y="6"/>
                    <a:pt x="33" y="15"/>
                    <a:pt x="47" y="26"/>
                  </a:cubicBezTo>
                  <a:cubicBezTo>
                    <a:pt x="65" y="39"/>
                    <a:pt x="80" y="55"/>
                    <a:pt x="89" y="75"/>
                  </a:cubicBezTo>
                  <a:cubicBezTo>
                    <a:pt x="94" y="85"/>
                    <a:pt x="97" y="95"/>
                    <a:pt x="100" y="106"/>
                  </a:cubicBezTo>
                  <a:cubicBezTo>
                    <a:pt x="100" y="107"/>
                    <a:pt x="100" y="107"/>
                    <a:pt x="100" y="109"/>
                  </a:cubicBezTo>
                  <a:cubicBezTo>
                    <a:pt x="101" y="113"/>
                    <a:pt x="101" y="117"/>
                    <a:pt x="101" y="122"/>
                  </a:cubicBezTo>
                  <a:cubicBezTo>
                    <a:pt x="100" y="132"/>
                    <a:pt x="100" y="141"/>
                    <a:pt x="97" y="151"/>
                  </a:cubicBezTo>
                  <a:cubicBezTo>
                    <a:pt x="93" y="169"/>
                    <a:pt x="85" y="185"/>
                    <a:pt x="75" y="20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94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ṧḷídè"/>
            <p:cNvSpPr/>
            <p:nvPr/>
          </p:nvSpPr>
          <p:spPr bwMode="auto">
            <a:xfrm>
              <a:off x="5466137" y="4548404"/>
              <a:ext cx="1338066" cy="233739"/>
            </a:xfrm>
            <a:custGeom>
              <a:avLst/>
              <a:gdLst>
                <a:gd name="T0" fmla="*/ 176 w 190"/>
                <a:gd name="T1" fmla="*/ 10 h 33"/>
                <a:gd name="T2" fmla="*/ 176 w 190"/>
                <a:gd name="T3" fmla="*/ 10 h 33"/>
                <a:gd name="T4" fmla="*/ 175 w 190"/>
                <a:gd name="T5" fmla="*/ 8 h 33"/>
                <a:gd name="T6" fmla="*/ 172 w 190"/>
                <a:gd name="T7" fmla="*/ 6 h 33"/>
                <a:gd name="T8" fmla="*/ 171 w 190"/>
                <a:gd name="T9" fmla="*/ 6 h 33"/>
                <a:gd name="T10" fmla="*/ 169 w 190"/>
                <a:gd name="T11" fmla="*/ 6 h 33"/>
                <a:gd name="T12" fmla="*/ 166 w 190"/>
                <a:gd name="T13" fmla="*/ 7 h 33"/>
                <a:gd name="T14" fmla="*/ 164 w 190"/>
                <a:gd name="T15" fmla="*/ 11 h 33"/>
                <a:gd name="T16" fmla="*/ 166 w 190"/>
                <a:gd name="T17" fmla="*/ 14 h 33"/>
                <a:gd name="T18" fmla="*/ 167 w 190"/>
                <a:gd name="T19" fmla="*/ 15 h 33"/>
                <a:gd name="T20" fmla="*/ 150 w 190"/>
                <a:gd name="T21" fmla="*/ 22 h 33"/>
                <a:gd name="T22" fmla="*/ 116 w 190"/>
                <a:gd name="T23" fmla="*/ 30 h 33"/>
                <a:gd name="T24" fmla="*/ 98 w 190"/>
                <a:gd name="T25" fmla="*/ 32 h 33"/>
                <a:gd name="T26" fmla="*/ 93 w 190"/>
                <a:gd name="T27" fmla="*/ 33 h 33"/>
                <a:gd name="T28" fmla="*/ 78 w 190"/>
                <a:gd name="T29" fmla="*/ 31 h 33"/>
                <a:gd name="T30" fmla="*/ 51 w 190"/>
                <a:gd name="T31" fmla="*/ 27 h 33"/>
                <a:gd name="T32" fmla="*/ 16 w 190"/>
                <a:gd name="T33" fmla="*/ 12 h 33"/>
                <a:gd name="T34" fmla="*/ 16 w 190"/>
                <a:gd name="T35" fmla="*/ 12 h 33"/>
                <a:gd name="T36" fmla="*/ 16 w 190"/>
                <a:gd name="T37" fmla="*/ 3 h 33"/>
                <a:gd name="T38" fmla="*/ 12 w 190"/>
                <a:gd name="T39" fmla="*/ 9 h 33"/>
                <a:gd name="T40" fmla="*/ 3 w 190"/>
                <a:gd name="T41" fmla="*/ 2 h 33"/>
                <a:gd name="T42" fmla="*/ 0 w 190"/>
                <a:gd name="T43" fmla="*/ 0 h 33"/>
                <a:gd name="T44" fmla="*/ 39 w 190"/>
                <a:gd name="T45" fmla="*/ 2 h 33"/>
                <a:gd name="T46" fmla="*/ 96 w 190"/>
                <a:gd name="T47" fmla="*/ 6 h 33"/>
                <a:gd name="T48" fmla="*/ 124 w 190"/>
                <a:gd name="T49" fmla="*/ 8 h 33"/>
                <a:gd name="T50" fmla="*/ 153 w 190"/>
                <a:gd name="T51" fmla="*/ 6 h 33"/>
                <a:gd name="T52" fmla="*/ 181 w 190"/>
                <a:gd name="T53" fmla="*/ 3 h 33"/>
                <a:gd name="T54" fmla="*/ 190 w 190"/>
                <a:gd name="T55" fmla="*/ 2 h 33"/>
                <a:gd name="T56" fmla="*/ 176 w 190"/>
                <a:gd name="T5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0" h="33">
                  <a:moveTo>
                    <a:pt x="176" y="10"/>
                  </a:moveTo>
                  <a:cubicBezTo>
                    <a:pt x="176" y="10"/>
                    <a:pt x="176" y="10"/>
                    <a:pt x="176" y="10"/>
                  </a:cubicBezTo>
                  <a:cubicBezTo>
                    <a:pt x="176" y="9"/>
                    <a:pt x="175" y="8"/>
                    <a:pt x="175" y="8"/>
                  </a:cubicBezTo>
                  <a:cubicBezTo>
                    <a:pt x="174" y="7"/>
                    <a:pt x="173" y="6"/>
                    <a:pt x="172" y="6"/>
                  </a:cubicBezTo>
                  <a:cubicBezTo>
                    <a:pt x="172" y="6"/>
                    <a:pt x="171" y="6"/>
                    <a:pt x="171" y="6"/>
                  </a:cubicBezTo>
                  <a:cubicBezTo>
                    <a:pt x="170" y="6"/>
                    <a:pt x="170" y="6"/>
                    <a:pt x="169" y="6"/>
                  </a:cubicBezTo>
                  <a:cubicBezTo>
                    <a:pt x="168" y="6"/>
                    <a:pt x="166" y="6"/>
                    <a:pt x="166" y="7"/>
                  </a:cubicBezTo>
                  <a:cubicBezTo>
                    <a:pt x="165" y="8"/>
                    <a:pt x="164" y="9"/>
                    <a:pt x="164" y="11"/>
                  </a:cubicBezTo>
                  <a:cubicBezTo>
                    <a:pt x="164" y="12"/>
                    <a:pt x="165" y="13"/>
                    <a:pt x="166" y="14"/>
                  </a:cubicBezTo>
                  <a:cubicBezTo>
                    <a:pt x="166" y="15"/>
                    <a:pt x="166" y="15"/>
                    <a:pt x="167" y="15"/>
                  </a:cubicBezTo>
                  <a:cubicBezTo>
                    <a:pt x="161" y="18"/>
                    <a:pt x="156" y="20"/>
                    <a:pt x="150" y="22"/>
                  </a:cubicBezTo>
                  <a:cubicBezTo>
                    <a:pt x="139" y="26"/>
                    <a:pt x="127" y="28"/>
                    <a:pt x="116" y="30"/>
                  </a:cubicBezTo>
                  <a:cubicBezTo>
                    <a:pt x="110" y="31"/>
                    <a:pt x="104" y="32"/>
                    <a:pt x="98" y="32"/>
                  </a:cubicBezTo>
                  <a:cubicBezTo>
                    <a:pt x="96" y="33"/>
                    <a:pt x="95" y="33"/>
                    <a:pt x="93" y="33"/>
                  </a:cubicBezTo>
                  <a:cubicBezTo>
                    <a:pt x="88" y="32"/>
                    <a:pt x="83" y="32"/>
                    <a:pt x="78" y="31"/>
                  </a:cubicBezTo>
                  <a:cubicBezTo>
                    <a:pt x="69" y="30"/>
                    <a:pt x="60" y="29"/>
                    <a:pt x="51" y="27"/>
                  </a:cubicBezTo>
                  <a:cubicBezTo>
                    <a:pt x="38" y="23"/>
                    <a:pt x="27" y="19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22" y="12"/>
                    <a:pt x="22" y="3"/>
                    <a:pt x="16" y="3"/>
                  </a:cubicBezTo>
                  <a:cubicBezTo>
                    <a:pt x="12" y="3"/>
                    <a:pt x="11" y="7"/>
                    <a:pt x="12" y="9"/>
                  </a:cubicBezTo>
                  <a:cubicBezTo>
                    <a:pt x="9" y="7"/>
                    <a:pt x="6" y="5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13" y="1"/>
                    <a:pt x="26" y="1"/>
                    <a:pt x="39" y="2"/>
                  </a:cubicBezTo>
                  <a:cubicBezTo>
                    <a:pt x="58" y="4"/>
                    <a:pt x="77" y="5"/>
                    <a:pt x="96" y="6"/>
                  </a:cubicBezTo>
                  <a:cubicBezTo>
                    <a:pt x="105" y="7"/>
                    <a:pt x="115" y="7"/>
                    <a:pt x="124" y="8"/>
                  </a:cubicBezTo>
                  <a:cubicBezTo>
                    <a:pt x="134" y="8"/>
                    <a:pt x="143" y="7"/>
                    <a:pt x="153" y="6"/>
                  </a:cubicBezTo>
                  <a:cubicBezTo>
                    <a:pt x="162" y="5"/>
                    <a:pt x="172" y="4"/>
                    <a:pt x="181" y="3"/>
                  </a:cubicBezTo>
                  <a:cubicBezTo>
                    <a:pt x="184" y="3"/>
                    <a:pt x="187" y="2"/>
                    <a:pt x="190" y="2"/>
                  </a:cubicBezTo>
                  <a:cubicBezTo>
                    <a:pt x="185" y="5"/>
                    <a:pt x="181" y="8"/>
                    <a:pt x="176" y="10"/>
                  </a:cubicBezTo>
                  <a:close/>
                </a:path>
              </a:pathLst>
            </a:custGeom>
            <a:solidFill>
              <a:srgbClr val="C46E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ṩliḋé"/>
            <p:cNvSpPr/>
            <p:nvPr/>
          </p:nvSpPr>
          <p:spPr bwMode="auto">
            <a:xfrm>
              <a:off x="5577924" y="4555179"/>
              <a:ext cx="1128041" cy="226964"/>
            </a:xfrm>
            <a:custGeom>
              <a:avLst/>
              <a:gdLst>
                <a:gd name="T0" fmla="*/ 148 w 160"/>
                <a:gd name="T1" fmla="*/ 10 h 32"/>
                <a:gd name="T2" fmla="*/ 148 w 160"/>
                <a:gd name="T3" fmla="*/ 10 h 32"/>
                <a:gd name="T4" fmla="*/ 147 w 160"/>
                <a:gd name="T5" fmla="*/ 7 h 32"/>
                <a:gd name="T6" fmla="*/ 145 w 160"/>
                <a:gd name="T7" fmla="*/ 6 h 32"/>
                <a:gd name="T8" fmla="*/ 144 w 160"/>
                <a:gd name="T9" fmla="*/ 6 h 32"/>
                <a:gd name="T10" fmla="*/ 143 w 160"/>
                <a:gd name="T11" fmla="*/ 6 h 32"/>
                <a:gd name="T12" fmla="*/ 140 w 160"/>
                <a:gd name="T13" fmla="*/ 7 h 32"/>
                <a:gd name="T14" fmla="*/ 138 w 160"/>
                <a:gd name="T15" fmla="*/ 10 h 32"/>
                <a:gd name="T16" fmla="*/ 140 w 160"/>
                <a:gd name="T17" fmla="*/ 14 h 32"/>
                <a:gd name="T18" fmla="*/ 141 w 160"/>
                <a:gd name="T19" fmla="*/ 15 h 32"/>
                <a:gd name="T20" fmla="*/ 127 w 160"/>
                <a:gd name="T21" fmla="*/ 21 h 32"/>
                <a:gd name="T22" fmla="*/ 98 w 160"/>
                <a:gd name="T23" fmla="*/ 29 h 32"/>
                <a:gd name="T24" fmla="*/ 83 w 160"/>
                <a:gd name="T25" fmla="*/ 31 h 32"/>
                <a:gd name="T26" fmla="*/ 79 w 160"/>
                <a:gd name="T27" fmla="*/ 32 h 32"/>
                <a:gd name="T28" fmla="*/ 66 w 160"/>
                <a:gd name="T29" fmla="*/ 31 h 32"/>
                <a:gd name="T30" fmla="*/ 43 w 160"/>
                <a:gd name="T31" fmla="*/ 26 h 32"/>
                <a:gd name="T32" fmla="*/ 14 w 160"/>
                <a:gd name="T33" fmla="*/ 12 h 32"/>
                <a:gd name="T34" fmla="*/ 14 w 160"/>
                <a:gd name="T35" fmla="*/ 12 h 32"/>
                <a:gd name="T36" fmla="*/ 14 w 160"/>
                <a:gd name="T37" fmla="*/ 3 h 32"/>
                <a:gd name="T38" fmla="*/ 11 w 160"/>
                <a:gd name="T39" fmla="*/ 9 h 32"/>
                <a:gd name="T40" fmla="*/ 3 w 160"/>
                <a:gd name="T41" fmla="*/ 2 h 32"/>
                <a:gd name="T42" fmla="*/ 0 w 160"/>
                <a:gd name="T43" fmla="*/ 0 h 32"/>
                <a:gd name="T44" fmla="*/ 33 w 160"/>
                <a:gd name="T45" fmla="*/ 2 h 32"/>
                <a:gd name="T46" fmla="*/ 81 w 160"/>
                <a:gd name="T47" fmla="*/ 6 h 32"/>
                <a:gd name="T48" fmla="*/ 105 w 160"/>
                <a:gd name="T49" fmla="*/ 7 h 32"/>
                <a:gd name="T50" fmla="*/ 129 w 160"/>
                <a:gd name="T51" fmla="*/ 6 h 32"/>
                <a:gd name="T52" fmla="*/ 153 w 160"/>
                <a:gd name="T53" fmla="*/ 3 h 32"/>
                <a:gd name="T54" fmla="*/ 160 w 160"/>
                <a:gd name="T55" fmla="*/ 2 h 32"/>
                <a:gd name="T56" fmla="*/ 148 w 160"/>
                <a:gd name="T5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32">
                  <a:moveTo>
                    <a:pt x="148" y="10"/>
                  </a:moveTo>
                  <a:cubicBezTo>
                    <a:pt x="148" y="10"/>
                    <a:pt x="148" y="10"/>
                    <a:pt x="148" y="10"/>
                  </a:cubicBezTo>
                  <a:cubicBezTo>
                    <a:pt x="148" y="9"/>
                    <a:pt x="148" y="8"/>
                    <a:pt x="147" y="7"/>
                  </a:cubicBezTo>
                  <a:cubicBezTo>
                    <a:pt x="147" y="7"/>
                    <a:pt x="146" y="6"/>
                    <a:pt x="145" y="6"/>
                  </a:cubicBezTo>
                  <a:cubicBezTo>
                    <a:pt x="145" y="6"/>
                    <a:pt x="144" y="6"/>
                    <a:pt x="144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5"/>
                    <a:pt x="140" y="6"/>
                    <a:pt x="140" y="7"/>
                  </a:cubicBezTo>
                  <a:cubicBezTo>
                    <a:pt x="139" y="8"/>
                    <a:pt x="138" y="9"/>
                    <a:pt x="138" y="10"/>
                  </a:cubicBezTo>
                  <a:cubicBezTo>
                    <a:pt x="138" y="12"/>
                    <a:pt x="139" y="13"/>
                    <a:pt x="140" y="14"/>
                  </a:cubicBezTo>
                  <a:cubicBezTo>
                    <a:pt x="140" y="14"/>
                    <a:pt x="140" y="14"/>
                    <a:pt x="141" y="15"/>
                  </a:cubicBezTo>
                  <a:cubicBezTo>
                    <a:pt x="136" y="17"/>
                    <a:pt x="131" y="19"/>
                    <a:pt x="127" y="21"/>
                  </a:cubicBezTo>
                  <a:cubicBezTo>
                    <a:pt x="117" y="25"/>
                    <a:pt x="108" y="27"/>
                    <a:pt x="98" y="29"/>
                  </a:cubicBezTo>
                  <a:cubicBezTo>
                    <a:pt x="93" y="30"/>
                    <a:pt x="88" y="31"/>
                    <a:pt x="83" y="31"/>
                  </a:cubicBezTo>
                  <a:cubicBezTo>
                    <a:pt x="81" y="32"/>
                    <a:pt x="80" y="32"/>
                    <a:pt x="79" y="32"/>
                  </a:cubicBezTo>
                  <a:cubicBezTo>
                    <a:pt x="75" y="31"/>
                    <a:pt x="70" y="31"/>
                    <a:pt x="66" y="31"/>
                  </a:cubicBezTo>
                  <a:cubicBezTo>
                    <a:pt x="59" y="30"/>
                    <a:pt x="51" y="28"/>
                    <a:pt x="43" y="26"/>
                  </a:cubicBezTo>
                  <a:cubicBezTo>
                    <a:pt x="33" y="23"/>
                    <a:pt x="23" y="18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9" y="12"/>
                    <a:pt x="19" y="3"/>
                    <a:pt x="14" y="3"/>
                  </a:cubicBezTo>
                  <a:cubicBezTo>
                    <a:pt x="11" y="3"/>
                    <a:pt x="10" y="7"/>
                    <a:pt x="11" y="9"/>
                  </a:cubicBezTo>
                  <a:cubicBezTo>
                    <a:pt x="8" y="7"/>
                    <a:pt x="5" y="5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11" y="1"/>
                    <a:pt x="22" y="1"/>
                    <a:pt x="33" y="2"/>
                  </a:cubicBezTo>
                  <a:cubicBezTo>
                    <a:pt x="49" y="4"/>
                    <a:pt x="65" y="5"/>
                    <a:pt x="81" y="6"/>
                  </a:cubicBezTo>
                  <a:cubicBezTo>
                    <a:pt x="89" y="6"/>
                    <a:pt x="97" y="7"/>
                    <a:pt x="105" y="7"/>
                  </a:cubicBezTo>
                  <a:cubicBezTo>
                    <a:pt x="113" y="8"/>
                    <a:pt x="121" y="7"/>
                    <a:pt x="129" y="6"/>
                  </a:cubicBezTo>
                  <a:cubicBezTo>
                    <a:pt x="137" y="5"/>
                    <a:pt x="145" y="4"/>
                    <a:pt x="153" y="3"/>
                  </a:cubicBezTo>
                  <a:cubicBezTo>
                    <a:pt x="155" y="3"/>
                    <a:pt x="158" y="2"/>
                    <a:pt x="160" y="2"/>
                  </a:cubicBezTo>
                  <a:cubicBezTo>
                    <a:pt x="156" y="5"/>
                    <a:pt x="152" y="8"/>
                    <a:pt x="148" y="10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ṣliḍe"/>
            <p:cNvSpPr/>
            <p:nvPr/>
          </p:nvSpPr>
          <p:spPr bwMode="auto">
            <a:xfrm>
              <a:off x="5459362" y="3149364"/>
              <a:ext cx="1392266" cy="416665"/>
            </a:xfrm>
            <a:custGeom>
              <a:avLst/>
              <a:gdLst>
                <a:gd name="T0" fmla="*/ 197 w 198"/>
                <a:gd name="T1" fmla="*/ 31 h 59"/>
                <a:gd name="T2" fmla="*/ 197 w 198"/>
                <a:gd name="T3" fmla="*/ 31 h 59"/>
                <a:gd name="T4" fmla="*/ 186 w 198"/>
                <a:gd name="T5" fmla="*/ 49 h 59"/>
                <a:gd name="T6" fmla="*/ 163 w 198"/>
                <a:gd name="T7" fmla="*/ 55 h 59"/>
                <a:gd name="T8" fmla="*/ 148 w 198"/>
                <a:gd name="T9" fmla="*/ 55 h 59"/>
                <a:gd name="T10" fmla="*/ 129 w 198"/>
                <a:gd name="T11" fmla="*/ 55 h 59"/>
                <a:gd name="T12" fmla="*/ 89 w 198"/>
                <a:gd name="T13" fmla="*/ 57 h 59"/>
                <a:gd name="T14" fmla="*/ 50 w 198"/>
                <a:gd name="T15" fmla="*/ 58 h 59"/>
                <a:gd name="T16" fmla="*/ 24 w 198"/>
                <a:gd name="T17" fmla="*/ 59 h 59"/>
                <a:gd name="T18" fmla="*/ 12 w 198"/>
                <a:gd name="T19" fmla="*/ 57 h 59"/>
                <a:gd name="T20" fmla="*/ 3 w 198"/>
                <a:gd name="T21" fmla="*/ 53 h 59"/>
                <a:gd name="T22" fmla="*/ 0 w 198"/>
                <a:gd name="T23" fmla="*/ 41 h 59"/>
                <a:gd name="T24" fmla="*/ 9 w 198"/>
                <a:gd name="T25" fmla="*/ 14 h 59"/>
                <a:gd name="T26" fmla="*/ 29 w 198"/>
                <a:gd name="T27" fmla="*/ 3 h 59"/>
                <a:gd name="T28" fmla="*/ 58 w 198"/>
                <a:gd name="T29" fmla="*/ 3 h 59"/>
                <a:gd name="T30" fmla="*/ 101 w 198"/>
                <a:gd name="T31" fmla="*/ 2 h 59"/>
                <a:gd name="T32" fmla="*/ 143 w 198"/>
                <a:gd name="T33" fmla="*/ 5 h 59"/>
                <a:gd name="T34" fmla="*/ 152 w 198"/>
                <a:gd name="T35" fmla="*/ 4 h 59"/>
                <a:gd name="T36" fmla="*/ 162 w 198"/>
                <a:gd name="T37" fmla="*/ 4 h 59"/>
                <a:gd name="T38" fmla="*/ 171 w 198"/>
                <a:gd name="T39" fmla="*/ 3 h 59"/>
                <a:gd name="T40" fmla="*/ 177 w 198"/>
                <a:gd name="T41" fmla="*/ 3 h 59"/>
                <a:gd name="T42" fmla="*/ 184 w 198"/>
                <a:gd name="T43" fmla="*/ 5 h 59"/>
                <a:gd name="T44" fmla="*/ 193 w 198"/>
                <a:gd name="T45" fmla="*/ 11 h 59"/>
                <a:gd name="T46" fmla="*/ 197 w 198"/>
                <a:gd name="T47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59">
                  <a:moveTo>
                    <a:pt x="197" y="31"/>
                  </a:moveTo>
                  <a:cubicBezTo>
                    <a:pt x="197" y="31"/>
                    <a:pt x="197" y="31"/>
                    <a:pt x="197" y="31"/>
                  </a:cubicBezTo>
                  <a:cubicBezTo>
                    <a:pt x="196" y="38"/>
                    <a:pt x="192" y="44"/>
                    <a:pt x="186" y="49"/>
                  </a:cubicBezTo>
                  <a:cubicBezTo>
                    <a:pt x="180" y="53"/>
                    <a:pt x="171" y="54"/>
                    <a:pt x="163" y="55"/>
                  </a:cubicBezTo>
                  <a:cubicBezTo>
                    <a:pt x="159" y="53"/>
                    <a:pt x="153" y="55"/>
                    <a:pt x="148" y="55"/>
                  </a:cubicBezTo>
                  <a:cubicBezTo>
                    <a:pt x="142" y="55"/>
                    <a:pt x="135" y="55"/>
                    <a:pt x="129" y="55"/>
                  </a:cubicBezTo>
                  <a:cubicBezTo>
                    <a:pt x="116" y="55"/>
                    <a:pt x="102" y="56"/>
                    <a:pt x="89" y="57"/>
                  </a:cubicBezTo>
                  <a:cubicBezTo>
                    <a:pt x="76" y="57"/>
                    <a:pt x="63" y="58"/>
                    <a:pt x="50" y="58"/>
                  </a:cubicBezTo>
                  <a:cubicBezTo>
                    <a:pt x="41" y="58"/>
                    <a:pt x="32" y="59"/>
                    <a:pt x="24" y="59"/>
                  </a:cubicBezTo>
                  <a:cubicBezTo>
                    <a:pt x="20" y="58"/>
                    <a:pt x="16" y="58"/>
                    <a:pt x="12" y="57"/>
                  </a:cubicBezTo>
                  <a:cubicBezTo>
                    <a:pt x="9" y="56"/>
                    <a:pt x="5" y="55"/>
                    <a:pt x="3" y="53"/>
                  </a:cubicBezTo>
                  <a:cubicBezTo>
                    <a:pt x="0" y="50"/>
                    <a:pt x="0" y="44"/>
                    <a:pt x="0" y="41"/>
                  </a:cubicBezTo>
                  <a:cubicBezTo>
                    <a:pt x="0" y="30"/>
                    <a:pt x="2" y="22"/>
                    <a:pt x="9" y="14"/>
                  </a:cubicBezTo>
                  <a:cubicBezTo>
                    <a:pt x="15" y="8"/>
                    <a:pt x="22" y="6"/>
                    <a:pt x="29" y="3"/>
                  </a:cubicBezTo>
                  <a:cubicBezTo>
                    <a:pt x="39" y="4"/>
                    <a:pt x="48" y="4"/>
                    <a:pt x="58" y="3"/>
                  </a:cubicBezTo>
                  <a:cubicBezTo>
                    <a:pt x="72" y="2"/>
                    <a:pt x="86" y="0"/>
                    <a:pt x="101" y="2"/>
                  </a:cubicBezTo>
                  <a:cubicBezTo>
                    <a:pt x="115" y="4"/>
                    <a:pt x="129" y="4"/>
                    <a:pt x="143" y="5"/>
                  </a:cubicBezTo>
                  <a:cubicBezTo>
                    <a:pt x="146" y="5"/>
                    <a:pt x="149" y="4"/>
                    <a:pt x="152" y="4"/>
                  </a:cubicBezTo>
                  <a:cubicBezTo>
                    <a:pt x="155" y="4"/>
                    <a:pt x="158" y="4"/>
                    <a:pt x="162" y="4"/>
                  </a:cubicBezTo>
                  <a:cubicBezTo>
                    <a:pt x="165" y="4"/>
                    <a:pt x="168" y="3"/>
                    <a:pt x="171" y="3"/>
                  </a:cubicBezTo>
                  <a:cubicBezTo>
                    <a:pt x="173" y="3"/>
                    <a:pt x="175" y="3"/>
                    <a:pt x="177" y="3"/>
                  </a:cubicBezTo>
                  <a:cubicBezTo>
                    <a:pt x="179" y="4"/>
                    <a:pt x="182" y="5"/>
                    <a:pt x="184" y="5"/>
                  </a:cubicBezTo>
                  <a:cubicBezTo>
                    <a:pt x="187" y="7"/>
                    <a:pt x="190" y="8"/>
                    <a:pt x="193" y="11"/>
                  </a:cubicBezTo>
                  <a:cubicBezTo>
                    <a:pt x="198" y="16"/>
                    <a:pt x="198" y="24"/>
                    <a:pt x="197" y="3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" name="iŝľîdê"/>
            <p:cNvSpPr/>
            <p:nvPr/>
          </p:nvSpPr>
          <p:spPr bwMode="auto">
            <a:xfrm>
              <a:off x="6191064" y="3169689"/>
              <a:ext cx="660565" cy="372626"/>
            </a:xfrm>
            <a:custGeom>
              <a:avLst/>
              <a:gdLst>
                <a:gd name="T0" fmla="*/ 93 w 94"/>
                <a:gd name="T1" fmla="*/ 28 h 53"/>
                <a:gd name="T2" fmla="*/ 93 w 94"/>
                <a:gd name="T3" fmla="*/ 28 h 53"/>
                <a:gd name="T4" fmla="*/ 82 w 94"/>
                <a:gd name="T5" fmla="*/ 46 h 53"/>
                <a:gd name="T6" fmla="*/ 59 w 94"/>
                <a:gd name="T7" fmla="*/ 52 h 53"/>
                <a:gd name="T8" fmla="*/ 44 w 94"/>
                <a:gd name="T9" fmla="*/ 52 h 53"/>
                <a:gd name="T10" fmla="*/ 25 w 94"/>
                <a:gd name="T11" fmla="*/ 52 h 53"/>
                <a:gd name="T12" fmla="*/ 0 w 94"/>
                <a:gd name="T13" fmla="*/ 53 h 53"/>
                <a:gd name="T14" fmla="*/ 21 w 94"/>
                <a:gd name="T15" fmla="*/ 45 h 53"/>
                <a:gd name="T16" fmla="*/ 71 w 94"/>
                <a:gd name="T17" fmla="*/ 0 h 53"/>
                <a:gd name="T18" fmla="*/ 73 w 94"/>
                <a:gd name="T19" fmla="*/ 0 h 53"/>
                <a:gd name="T20" fmla="*/ 80 w 94"/>
                <a:gd name="T21" fmla="*/ 2 h 53"/>
                <a:gd name="T22" fmla="*/ 89 w 94"/>
                <a:gd name="T23" fmla="*/ 8 h 53"/>
                <a:gd name="T24" fmla="*/ 93 w 94"/>
                <a:gd name="T25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3"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2" y="35"/>
                    <a:pt x="88" y="41"/>
                    <a:pt x="82" y="46"/>
                  </a:cubicBezTo>
                  <a:cubicBezTo>
                    <a:pt x="76" y="50"/>
                    <a:pt x="67" y="51"/>
                    <a:pt x="59" y="52"/>
                  </a:cubicBezTo>
                  <a:cubicBezTo>
                    <a:pt x="55" y="50"/>
                    <a:pt x="49" y="52"/>
                    <a:pt x="44" y="52"/>
                  </a:cubicBezTo>
                  <a:cubicBezTo>
                    <a:pt x="38" y="52"/>
                    <a:pt x="31" y="52"/>
                    <a:pt x="25" y="52"/>
                  </a:cubicBezTo>
                  <a:cubicBezTo>
                    <a:pt x="17" y="52"/>
                    <a:pt x="9" y="52"/>
                    <a:pt x="0" y="53"/>
                  </a:cubicBezTo>
                  <a:cubicBezTo>
                    <a:pt x="2" y="51"/>
                    <a:pt x="9" y="48"/>
                    <a:pt x="21" y="45"/>
                  </a:cubicBezTo>
                  <a:cubicBezTo>
                    <a:pt x="75" y="34"/>
                    <a:pt x="75" y="12"/>
                    <a:pt x="71" y="0"/>
                  </a:cubicBezTo>
                  <a:cubicBezTo>
                    <a:pt x="72" y="0"/>
                    <a:pt x="72" y="0"/>
                    <a:pt x="73" y="0"/>
                  </a:cubicBezTo>
                  <a:cubicBezTo>
                    <a:pt x="75" y="1"/>
                    <a:pt x="78" y="2"/>
                    <a:pt x="80" y="2"/>
                  </a:cubicBezTo>
                  <a:cubicBezTo>
                    <a:pt x="83" y="4"/>
                    <a:pt x="86" y="5"/>
                    <a:pt x="89" y="8"/>
                  </a:cubicBezTo>
                  <a:cubicBezTo>
                    <a:pt x="94" y="13"/>
                    <a:pt x="94" y="21"/>
                    <a:pt x="93" y="2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Sľíďé"/>
            <p:cNvSpPr/>
            <p:nvPr/>
          </p:nvSpPr>
          <p:spPr bwMode="auto">
            <a:xfrm>
              <a:off x="8013542" y="3274700"/>
              <a:ext cx="528451" cy="423440"/>
            </a:xfrm>
            <a:custGeom>
              <a:avLst/>
              <a:gdLst>
                <a:gd name="T0" fmla="*/ 71 w 75"/>
                <a:gd name="T1" fmla="*/ 32 h 60"/>
                <a:gd name="T2" fmla="*/ 71 w 75"/>
                <a:gd name="T3" fmla="*/ 32 h 60"/>
                <a:gd name="T4" fmla="*/ 58 w 75"/>
                <a:gd name="T5" fmla="*/ 52 h 60"/>
                <a:gd name="T6" fmla="*/ 23 w 75"/>
                <a:gd name="T7" fmla="*/ 54 h 60"/>
                <a:gd name="T8" fmla="*/ 2 w 75"/>
                <a:gd name="T9" fmla="*/ 25 h 60"/>
                <a:gd name="T10" fmla="*/ 10 w 75"/>
                <a:gd name="T11" fmla="*/ 6 h 60"/>
                <a:gd name="T12" fmla="*/ 14 w 75"/>
                <a:gd name="T13" fmla="*/ 0 h 60"/>
                <a:gd name="T14" fmla="*/ 16 w 75"/>
                <a:gd name="T15" fmla="*/ 1 h 60"/>
                <a:gd name="T16" fmla="*/ 18 w 75"/>
                <a:gd name="T17" fmla="*/ 1 h 60"/>
                <a:gd name="T18" fmla="*/ 20 w 75"/>
                <a:gd name="T19" fmla="*/ 1 h 60"/>
                <a:gd name="T20" fmla="*/ 21 w 75"/>
                <a:gd name="T21" fmla="*/ 2 h 60"/>
                <a:gd name="T22" fmla="*/ 21 w 75"/>
                <a:gd name="T23" fmla="*/ 2 h 60"/>
                <a:gd name="T24" fmla="*/ 21 w 75"/>
                <a:gd name="T25" fmla="*/ 3 h 60"/>
                <a:gd name="T26" fmla="*/ 18 w 75"/>
                <a:gd name="T27" fmla="*/ 9 h 60"/>
                <a:gd name="T28" fmla="*/ 15 w 75"/>
                <a:gd name="T29" fmla="*/ 26 h 60"/>
                <a:gd name="T30" fmla="*/ 29 w 75"/>
                <a:gd name="T31" fmla="*/ 39 h 60"/>
                <a:gd name="T32" fmla="*/ 60 w 75"/>
                <a:gd name="T33" fmla="*/ 30 h 60"/>
                <a:gd name="T34" fmla="*/ 70 w 75"/>
                <a:gd name="T35" fmla="*/ 16 h 60"/>
                <a:gd name="T36" fmla="*/ 70 w 75"/>
                <a:gd name="T37" fmla="*/ 15 h 60"/>
                <a:gd name="T38" fmla="*/ 71 w 75"/>
                <a:gd name="T39" fmla="*/ 15 h 60"/>
                <a:gd name="T40" fmla="*/ 74 w 75"/>
                <a:gd name="T41" fmla="*/ 16 h 60"/>
                <a:gd name="T42" fmla="*/ 75 w 75"/>
                <a:gd name="T43" fmla="*/ 17 h 60"/>
                <a:gd name="T44" fmla="*/ 74 w 75"/>
                <a:gd name="T45" fmla="*/ 20 h 60"/>
                <a:gd name="T46" fmla="*/ 71 w 75"/>
                <a:gd name="T4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60"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68" y="40"/>
                    <a:pt x="64" y="47"/>
                    <a:pt x="58" y="52"/>
                  </a:cubicBezTo>
                  <a:cubicBezTo>
                    <a:pt x="48" y="60"/>
                    <a:pt x="34" y="59"/>
                    <a:pt x="23" y="54"/>
                  </a:cubicBezTo>
                  <a:cubicBezTo>
                    <a:pt x="12" y="49"/>
                    <a:pt x="0" y="38"/>
                    <a:pt x="2" y="25"/>
                  </a:cubicBezTo>
                  <a:cubicBezTo>
                    <a:pt x="3" y="18"/>
                    <a:pt x="7" y="12"/>
                    <a:pt x="10" y="6"/>
                  </a:cubicBezTo>
                  <a:cubicBezTo>
                    <a:pt x="11" y="4"/>
                    <a:pt x="13" y="2"/>
                    <a:pt x="14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6" y="1"/>
                    <a:pt x="18" y="1"/>
                    <a:pt x="18" y="1"/>
                  </a:cubicBezTo>
                  <a:cubicBezTo>
                    <a:pt x="18" y="1"/>
                    <a:pt x="19" y="1"/>
                    <a:pt x="20" y="1"/>
                  </a:cubicBezTo>
                  <a:cubicBezTo>
                    <a:pt x="20" y="1"/>
                    <a:pt x="22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3"/>
                    <a:pt x="21" y="3"/>
                  </a:cubicBezTo>
                  <a:cubicBezTo>
                    <a:pt x="20" y="5"/>
                    <a:pt x="19" y="7"/>
                    <a:pt x="18" y="9"/>
                  </a:cubicBezTo>
                  <a:cubicBezTo>
                    <a:pt x="14" y="14"/>
                    <a:pt x="13" y="20"/>
                    <a:pt x="15" y="26"/>
                  </a:cubicBezTo>
                  <a:cubicBezTo>
                    <a:pt x="17" y="32"/>
                    <a:pt x="22" y="37"/>
                    <a:pt x="29" y="39"/>
                  </a:cubicBezTo>
                  <a:cubicBezTo>
                    <a:pt x="40" y="43"/>
                    <a:pt x="53" y="38"/>
                    <a:pt x="60" y="30"/>
                  </a:cubicBezTo>
                  <a:cubicBezTo>
                    <a:pt x="64" y="25"/>
                    <a:pt x="67" y="20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5"/>
                    <a:pt x="70" y="15"/>
                    <a:pt x="71" y="15"/>
                  </a:cubicBezTo>
                  <a:cubicBezTo>
                    <a:pt x="72" y="16"/>
                    <a:pt x="73" y="16"/>
                    <a:pt x="74" y="16"/>
                  </a:cubicBezTo>
                  <a:cubicBezTo>
                    <a:pt x="74" y="16"/>
                    <a:pt x="74" y="16"/>
                    <a:pt x="75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72" y="24"/>
                    <a:pt x="72" y="28"/>
                    <a:pt x="71" y="32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śḷiḋè"/>
            <p:cNvSpPr/>
            <p:nvPr/>
          </p:nvSpPr>
          <p:spPr bwMode="auto">
            <a:xfrm>
              <a:off x="8274379" y="3383101"/>
              <a:ext cx="267614" cy="308264"/>
            </a:xfrm>
            <a:custGeom>
              <a:avLst/>
              <a:gdLst>
                <a:gd name="T0" fmla="*/ 34 w 38"/>
                <a:gd name="T1" fmla="*/ 17 h 44"/>
                <a:gd name="T2" fmla="*/ 34 w 38"/>
                <a:gd name="T3" fmla="*/ 17 h 44"/>
                <a:gd name="T4" fmla="*/ 21 w 38"/>
                <a:gd name="T5" fmla="*/ 37 h 44"/>
                <a:gd name="T6" fmla="*/ 0 w 38"/>
                <a:gd name="T7" fmla="*/ 43 h 44"/>
                <a:gd name="T8" fmla="*/ 10 w 38"/>
                <a:gd name="T9" fmla="*/ 23 h 44"/>
                <a:gd name="T10" fmla="*/ 23 w 38"/>
                <a:gd name="T11" fmla="*/ 15 h 44"/>
                <a:gd name="T12" fmla="*/ 33 w 38"/>
                <a:gd name="T13" fmla="*/ 1 h 44"/>
                <a:gd name="T14" fmla="*/ 33 w 38"/>
                <a:gd name="T15" fmla="*/ 0 h 44"/>
                <a:gd name="T16" fmla="*/ 34 w 38"/>
                <a:gd name="T17" fmla="*/ 0 h 44"/>
                <a:gd name="T18" fmla="*/ 37 w 38"/>
                <a:gd name="T19" fmla="*/ 1 h 44"/>
                <a:gd name="T20" fmla="*/ 38 w 38"/>
                <a:gd name="T21" fmla="*/ 2 h 44"/>
                <a:gd name="T22" fmla="*/ 37 w 38"/>
                <a:gd name="T23" fmla="*/ 5 h 44"/>
                <a:gd name="T24" fmla="*/ 34 w 38"/>
                <a:gd name="T25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4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1" y="25"/>
                    <a:pt x="27" y="32"/>
                    <a:pt x="21" y="37"/>
                  </a:cubicBezTo>
                  <a:cubicBezTo>
                    <a:pt x="15" y="42"/>
                    <a:pt x="7" y="44"/>
                    <a:pt x="0" y="43"/>
                  </a:cubicBezTo>
                  <a:cubicBezTo>
                    <a:pt x="4" y="39"/>
                    <a:pt x="8" y="33"/>
                    <a:pt x="10" y="23"/>
                  </a:cubicBezTo>
                  <a:cubicBezTo>
                    <a:pt x="15" y="22"/>
                    <a:pt x="20" y="19"/>
                    <a:pt x="23" y="15"/>
                  </a:cubicBezTo>
                  <a:cubicBezTo>
                    <a:pt x="27" y="10"/>
                    <a:pt x="30" y="5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5" y="1"/>
                    <a:pt x="36" y="1"/>
                    <a:pt x="37" y="1"/>
                  </a:cubicBezTo>
                  <a:cubicBezTo>
                    <a:pt x="37" y="1"/>
                    <a:pt x="37" y="1"/>
                    <a:pt x="38" y="2"/>
                  </a:cubicBezTo>
                  <a:cubicBezTo>
                    <a:pt x="37" y="3"/>
                    <a:pt x="37" y="4"/>
                    <a:pt x="37" y="5"/>
                  </a:cubicBezTo>
                  <a:cubicBezTo>
                    <a:pt x="35" y="9"/>
                    <a:pt x="35" y="13"/>
                    <a:pt x="34" y="17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ṥlïḍé"/>
            <p:cNvSpPr/>
            <p:nvPr/>
          </p:nvSpPr>
          <p:spPr bwMode="auto">
            <a:xfrm>
              <a:off x="7386853" y="3704915"/>
              <a:ext cx="846877" cy="450540"/>
            </a:xfrm>
            <a:custGeom>
              <a:avLst/>
              <a:gdLst>
                <a:gd name="T0" fmla="*/ 114 w 120"/>
                <a:gd name="T1" fmla="*/ 24 h 64"/>
                <a:gd name="T2" fmla="*/ 114 w 120"/>
                <a:gd name="T3" fmla="*/ 24 h 64"/>
                <a:gd name="T4" fmla="*/ 104 w 120"/>
                <a:gd name="T5" fmla="*/ 38 h 64"/>
                <a:gd name="T6" fmla="*/ 100 w 120"/>
                <a:gd name="T7" fmla="*/ 33 h 64"/>
                <a:gd name="T8" fmla="*/ 93 w 120"/>
                <a:gd name="T9" fmla="*/ 25 h 64"/>
                <a:gd name="T10" fmla="*/ 86 w 120"/>
                <a:gd name="T11" fmla="*/ 18 h 64"/>
                <a:gd name="T12" fmla="*/ 93 w 120"/>
                <a:gd name="T13" fmla="*/ 10 h 64"/>
                <a:gd name="T14" fmla="*/ 93 w 120"/>
                <a:gd name="T15" fmla="*/ 10 h 64"/>
                <a:gd name="T16" fmla="*/ 98 w 120"/>
                <a:gd name="T17" fmla="*/ 16 h 64"/>
                <a:gd name="T18" fmla="*/ 104 w 120"/>
                <a:gd name="T19" fmla="*/ 21 h 64"/>
                <a:gd name="T20" fmla="*/ 112 w 120"/>
                <a:gd name="T21" fmla="*/ 24 h 64"/>
                <a:gd name="T22" fmla="*/ 113 w 120"/>
                <a:gd name="T23" fmla="*/ 18 h 64"/>
                <a:gd name="T24" fmla="*/ 107 w 120"/>
                <a:gd name="T25" fmla="*/ 13 h 64"/>
                <a:gd name="T26" fmla="*/ 96 w 120"/>
                <a:gd name="T27" fmla="*/ 4 h 64"/>
                <a:gd name="T28" fmla="*/ 98 w 120"/>
                <a:gd name="T29" fmla="*/ 0 h 64"/>
                <a:gd name="T30" fmla="*/ 101 w 120"/>
                <a:gd name="T31" fmla="*/ 3 h 64"/>
                <a:gd name="T32" fmla="*/ 120 w 120"/>
                <a:gd name="T33" fmla="*/ 10 h 64"/>
                <a:gd name="T34" fmla="*/ 120 w 120"/>
                <a:gd name="T35" fmla="*/ 12 h 64"/>
                <a:gd name="T36" fmla="*/ 114 w 120"/>
                <a:gd name="T37" fmla="*/ 24 h 64"/>
                <a:gd name="T38" fmla="*/ 0 w 120"/>
                <a:gd name="T39" fmla="*/ 52 h 64"/>
                <a:gd name="T40" fmla="*/ 0 w 120"/>
                <a:gd name="T41" fmla="*/ 52 h 64"/>
                <a:gd name="T42" fmla="*/ 1 w 120"/>
                <a:gd name="T43" fmla="*/ 51 h 64"/>
                <a:gd name="T44" fmla="*/ 13 w 120"/>
                <a:gd name="T45" fmla="*/ 26 h 64"/>
                <a:gd name="T46" fmla="*/ 13 w 120"/>
                <a:gd name="T47" fmla="*/ 26 h 64"/>
                <a:gd name="T48" fmla="*/ 20 w 120"/>
                <a:gd name="T49" fmla="*/ 29 h 64"/>
                <a:gd name="T50" fmla="*/ 30 w 120"/>
                <a:gd name="T51" fmla="*/ 32 h 64"/>
                <a:gd name="T52" fmla="*/ 26 w 120"/>
                <a:gd name="T53" fmla="*/ 43 h 64"/>
                <a:gd name="T54" fmla="*/ 21 w 120"/>
                <a:gd name="T55" fmla="*/ 55 h 64"/>
                <a:gd name="T56" fmla="*/ 19 w 120"/>
                <a:gd name="T57" fmla="*/ 59 h 64"/>
                <a:gd name="T58" fmla="*/ 0 w 120"/>
                <a:gd name="T59" fmla="*/ 52 h 64"/>
                <a:gd name="T60" fmla="*/ 28 w 120"/>
                <a:gd name="T61" fmla="*/ 62 h 64"/>
                <a:gd name="T62" fmla="*/ 28 w 120"/>
                <a:gd name="T63" fmla="*/ 62 h 64"/>
                <a:gd name="T64" fmla="*/ 26 w 120"/>
                <a:gd name="T65" fmla="*/ 61 h 64"/>
                <a:gd name="T66" fmla="*/ 26 w 120"/>
                <a:gd name="T67" fmla="*/ 59 h 64"/>
                <a:gd name="T68" fmla="*/ 31 w 120"/>
                <a:gd name="T69" fmla="*/ 48 h 64"/>
                <a:gd name="T70" fmla="*/ 35 w 120"/>
                <a:gd name="T71" fmla="*/ 33 h 64"/>
                <a:gd name="T72" fmla="*/ 47 w 120"/>
                <a:gd name="T73" fmla="*/ 35 h 64"/>
                <a:gd name="T74" fmla="*/ 51 w 120"/>
                <a:gd name="T75" fmla="*/ 34 h 64"/>
                <a:gd name="T76" fmla="*/ 50 w 120"/>
                <a:gd name="T77" fmla="*/ 49 h 64"/>
                <a:gd name="T78" fmla="*/ 49 w 120"/>
                <a:gd name="T79" fmla="*/ 60 h 64"/>
                <a:gd name="T80" fmla="*/ 49 w 120"/>
                <a:gd name="T81" fmla="*/ 64 h 64"/>
                <a:gd name="T82" fmla="*/ 28 w 120"/>
                <a:gd name="T83" fmla="*/ 62 h 64"/>
                <a:gd name="T84" fmla="*/ 55 w 120"/>
                <a:gd name="T85" fmla="*/ 64 h 64"/>
                <a:gd name="T86" fmla="*/ 55 w 120"/>
                <a:gd name="T87" fmla="*/ 64 h 64"/>
                <a:gd name="T88" fmla="*/ 55 w 120"/>
                <a:gd name="T89" fmla="*/ 61 h 64"/>
                <a:gd name="T90" fmla="*/ 56 w 120"/>
                <a:gd name="T91" fmla="*/ 51 h 64"/>
                <a:gd name="T92" fmla="*/ 56 w 120"/>
                <a:gd name="T93" fmla="*/ 34 h 64"/>
                <a:gd name="T94" fmla="*/ 64 w 120"/>
                <a:gd name="T95" fmla="*/ 32 h 64"/>
                <a:gd name="T96" fmla="*/ 67 w 120"/>
                <a:gd name="T97" fmla="*/ 45 h 64"/>
                <a:gd name="T98" fmla="*/ 70 w 120"/>
                <a:gd name="T99" fmla="*/ 61 h 64"/>
                <a:gd name="T100" fmla="*/ 62 w 120"/>
                <a:gd name="T101" fmla="*/ 63 h 64"/>
                <a:gd name="T102" fmla="*/ 55 w 120"/>
                <a:gd name="T103" fmla="*/ 64 h 64"/>
                <a:gd name="T104" fmla="*/ 75 w 120"/>
                <a:gd name="T105" fmla="*/ 59 h 64"/>
                <a:gd name="T106" fmla="*/ 75 w 120"/>
                <a:gd name="T107" fmla="*/ 59 h 64"/>
                <a:gd name="T108" fmla="*/ 73 w 120"/>
                <a:gd name="T109" fmla="*/ 46 h 64"/>
                <a:gd name="T110" fmla="*/ 71 w 120"/>
                <a:gd name="T111" fmla="*/ 37 h 64"/>
                <a:gd name="T112" fmla="*/ 68 w 120"/>
                <a:gd name="T113" fmla="*/ 30 h 64"/>
                <a:gd name="T114" fmla="*/ 81 w 120"/>
                <a:gd name="T115" fmla="*/ 23 h 64"/>
                <a:gd name="T116" fmla="*/ 82 w 120"/>
                <a:gd name="T117" fmla="*/ 22 h 64"/>
                <a:gd name="T118" fmla="*/ 93 w 120"/>
                <a:gd name="T119" fmla="*/ 35 h 64"/>
                <a:gd name="T120" fmla="*/ 98 w 120"/>
                <a:gd name="T121" fmla="*/ 44 h 64"/>
                <a:gd name="T122" fmla="*/ 75 w 120"/>
                <a:gd name="T12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" h="64">
                  <a:moveTo>
                    <a:pt x="114" y="24"/>
                  </a:moveTo>
                  <a:cubicBezTo>
                    <a:pt x="114" y="24"/>
                    <a:pt x="114" y="24"/>
                    <a:pt x="114" y="24"/>
                  </a:cubicBezTo>
                  <a:cubicBezTo>
                    <a:pt x="111" y="29"/>
                    <a:pt x="108" y="34"/>
                    <a:pt x="104" y="38"/>
                  </a:cubicBezTo>
                  <a:cubicBezTo>
                    <a:pt x="103" y="36"/>
                    <a:pt x="102" y="35"/>
                    <a:pt x="100" y="33"/>
                  </a:cubicBezTo>
                  <a:cubicBezTo>
                    <a:pt x="98" y="30"/>
                    <a:pt x="96" y="27"/>
                    <a:pt x="93" y="25"/>
                  </a:cubicBezTo>
                  <a:cubicBezTo>
                    <a:pt x="91" y="23"/>
                    <a:pt x="88" y="21"/>
                    <a:pt x="86" y="18"/>
                  </a:cubicBezTo>
                  <a:cubicBezTo>
                    <a:pt x="88" y="16"/>
                    <a:pt x="91" y="13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2"/>
                    <a:pt x="96" y="14"/>
                    <a:pt x="98" y="16"/>
                  </a:cubicBezTo>
                  <a:cubicBezTo>
                    <a:pt x="100" y="18"/>
                    <a:pt x="102" y="19"/>
                    <a:pt x="104" y="21"/>
                  </a:cubicBezTo>
                  <a:cubicBezTo>
                    <a:pt x="107" y="22"/>
                    <a:pt x="109" y="25"/>
                    <a:pt x="112" y="24"/>
                  </a:cubicBezTo>
                  <a:cubicBezTo>
                    <a:pt x="114" y="23"/>
                    <a:pt x="114" y="20"/>
                    <a:pt x="113" y="18"/>
                  </a:cubicBezTo>
                  <a:cubicBezTo>
                    <a:pt x="112" y="16"/>
                    <a:pt x="109" y="14"/>
                    <a:pt x="107" y="13"/>
                  </a:cubicBezTo>
                  <a:cubicBezTo>
                    <a:pt x="103" y="10"/>
                    <a:pt x="99" y="8"/>
                    <a:pt x="96" y="4"/>
                  </a:cubicBezTo>
                  <a:cubicBezTo>
                    <a:pt x="97" y="3"/>
                    <a:pt x="97" y="2"/>
                    <a:pt x="98" y="0"/>
                  </a:cubicBezTo>
                  <a:cubicBezTo>
                    <a:pt x="99" y="1"/>
                    <a:pt x="100" y="2"/>
                    <a:pt x="101" y="3"/>
                  </a:cubicBezTo>
                  <a:cubicBezTo>
                    <a:pt x="107" y="6"/>
                    <a:pt x="114" y="9"/>
                    <a:pt x="120" y="10"/>
                  </a:cubicBezTo>
                  <a:cubicBezTo>
                    <a:pt x="120" y="11"/>
                    <a:pt x="120" y="11"/>
                    <a:pt x="120" y="12"/>
                  </a:cubicBezTo>
                  <a:cubicBezTo>
                    <a:pt x="118" y="16"/>
                    <a:pt x="116" y="20"/>
                    <a:pt x="114" y="24"/>
                  </a:cubicBezTo>
                  <a:close/>
                  <a:moveTo>
                    <a:pt x="0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7" y="43"/>
                    <a:pt x="12" y="3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6" y="27"/>
                    <a:pt x="18" y="28"/>
                    <a:pt x="20" y="29"/>
                  </a:cubicBezTo>
                  <a:cubicBezTo>
                    <a:pt x="23" y="31"/>
                    <a:pt x="27" y="32"/>
                    <a:pt x="30" y="32"/>
                  </a:cubicBezTo>
                  <a:cubicBezTo>
                    <a:pt x="29" y="36"/>
                    <a:pt x="28" y="40"/>
                    <a:pt x="26" y="43"/>
                  </a:cubicBezTo>
                  <a:cubicBezTo>
                    <a:pt x="25" y="47"/>
                    <a:pt x="23" y="51"/>
                    <a:pt x="21" y="55"/>
                  </a:cubicBezTo>
                  <a:cubicBezTo>
                    <a:pt x="20" y="56"/>
                    <a:pt x="20" y="58"/>
                    <a:pt x="19" y="59"/>
                  </a:cubicBezTo>
                  <a:cubicBezTo>
                    <a:pt x="12" y="57"/>
                    <a:pt x="6" y="54"/>
                    <a:pt x="0" y="52"/>
                  </a:cubicBezTo>
                  <a:close/>
                  <a:moveTo>
                    <a:pt x="28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1"/>
                    <a:pt x="26" y="60"/>
                    <a:pt x="26" y="59"/>
                  </a:cubicBezTo>
                  <a:cubicBezTo>
                    <a:pt x="28" y="56"/>
                    <a:pt x="30" y="52"/>
                    <a:pt x="31" y="48"/>
                  </a:cubicBezTo>
                  <a:cubicBezTo>
                    <a:pt x="33" y="44"/>
                    <a:pt x="34" y="38"/>
                    <a:pt x="35" y="33"/>
                  </a:cubicBezTo>
                  <a:cubicBezTo>
                    <a:pt x="39" y="34"/>
                    <a:pt x="43" y="35"/>
                    <a:pt x="47" y="35"/>
                  </a:cubicBezTo>
                  <a:cubicBezTo>
                    <a:pt x="48" y="35"/>
                    <a:pt x="50" y="35"/>
                    <a:pt x="51" y="34"/>
                  </a:cubicBezTo>
                  <a:cubicBezTo>
                    <a:pt x="50" y="39"/>
                    <a:pt x="50" y="44"/>
                    <a:pt x="50" y="49"/>
                  </a:cubicBezTo>
                  <a:cubicBezTo>
                    <a:pt x="49" y="53"/>
                    <a:pt x="49" y="56"/>
                    <a:pt x="49" y="60"/>
                  </a:cubicBezTo>
                  <a:cubicBezTo>
                    <a:pt x="48" y="61"/>
                    <a:pt x="48" y="63"/>
                    <a:pt x="49" y="64"/>
                  </a:cubicBezTo>
                  <a:cubicBezTo>
                    <a:pt x="42" y="64"/>
                    <a:pt x="35" y="63"/>
                    <a:pt x="28" y="62"/>
                  </a:cubicBez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55" y="63"/>
                    <a:pt x="55" y="62"/>
                    <a:pt x="55" y="61"/>
                  </a:cubicBezTo>
                  <a:cubicBezTo>
                    <a:pt x="55" y="57"/>
                    <a:pt x="56" y="54"/>
                    <a:pt x="56" y="51"/>
                  </a:cubicBezTo>
                  <a:cubicBezTo>
                    <a:pt x="56" y="45"/>
                    <a:pt x="56" y="39"/>
                    <a:pt x="56" y="34"/>
                  </a:cubicBezTo>
                  <a:cubicBezTo>
                    <a:pt x="59" y="33"/>
                    <a:pt x="61" y="33"/>
                    <a:pt x="64" y="32"/>
                  </a:cubicBezTo>
                  <a:cubicBezTo>
                    <a:pt x="64" y="36"/>
                    <a:pt x="66" y="40"/>
                    <a:pt x="67" y="45"/>
                  </a:cubicBezTo>
                  <a:cubicBezTo>
                    <a:pt x="68" y="50"/>
                    <a:pt x="68" y="56"/>
                    <a:pt x="70" y="61"/>
                  </a:cubicBezTo>
                  <a:cubicBezTo>
                    <a:pt x="67" y="61"/>
                    <a:pt x="65" y="62"/>
                    <a:pt x="62" y="63"/>
                  </a:cubicBezTo>
                  <a:cubicBezTo>
                    <a:pt x="60" y="63"/>
                    <a:pt x="57" y="64"/>
                    <a:pt x="55" y="64"/>
                  </a:cubicBezTo>
                  <a:close/>
                  <a:moveTo>
                    <a:pt x="75" y="59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5" y="54"/>
                    <a:pt x="74" y="50"/>
                    <a:pt x="73" y="46"/>
                  </a:cubicBezTo>
                  <a:cubicBezTo>
                    <a:pt x="72" y="43"/>
                    <a:pt x="72" y="40"/>
                    <a:pt x="71" y="37"/>
                  </a:cubicBezTo>
                  <a:cubicBezTo>
                    <a:pt x="70" y="35"/>
                    <a:pt x="69" y="33"/>
                    <a:pt x="68" y="30"/>
                  </a:cubicBezTo>
                  <a:cubicBezTo>
                    <a:pt x="73" y="29"/>
                    <a:pt x="77" y="26"/>
                    <a:pt x="81" y="23"/>
                  </a:cubicBezTo>
                  <a:cubicBezTo>
                    <a:pt x="81" y="23"/>
                    <a:pt x="82" y="22"/>
                    <a:pt x="82" y="22"/>
                  </a:cubicBezTo>
                  <a:cubicBezTo>
                    <a:pt x="85" y="27"/>
                    <a:pt x="90" y="31"/>
                    <a:pt x="93" y="35"/>
                  </a:cubicBezTo>
                  <a:cubicBezTo>
                    <a:pt x="95" y="38"/>
                    <a:pt x="97" y="41"/>
                    <a:pt x="98" y="44"/>
                  </a:cubicBezTo>
                  <a:cubicBezTo>
                    <a:pt x="91" y="50"/>
                    <a:pt x="83" y="55"/>
                    <a:pt x="75" y="59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ŝḷíde"/>
            <p:cNvSpPr/>
            <p:nvPr/>
          </p:nvSpPr>
          <p:spPr bwMode="auto">
            <a:xfrm>
              <a:off x="7386853" y="3762502"/>
              <a:ext cx="846877" cy="392951"/>
            </a:xfrm>
            <a:custGeom>
              <a:avLst/>
              <a:gdLst>
                <a:gd name="T0" fmla="*/ 114 w 120"/>
                <a:gd name="T1" fmla="*/ 16 h 56"/>
                <a:gd name="T2" fmla="*/ 114 w 120"/>
                <a:gd name="T3" fmla="*/ 16 h 56"/>
                <a:gd name="T4" fmla="*/ 104 w 120"/>
                <a:gd name="T5" fmla="*/ 30 h 56"/>
                <a:gd name="T6" fmla="*/ 100 w 120"/>
                <a:gd name="T7" fmla="*/ 25 h 56"/>
                <a:gd name="T8" fmla="*/ 96 w 120"/>
                <a:gd name="T9" fmla="*/ 20 h 56"/>
                <a:gd name="T10" fmla="*/ 104 w 120"/>
                <a:gd name="T11" fmla="*/ 12 h 56"/>
                <a:gd name="T12" fmla="*/ 104 w 120"/>
                <a:gd name="T13" fmla="*/ 13 h 56"/>
                <a:gd name="T14" fmla="*/ 112 w 120"/>
                <a:gd name="T15" fmla="*/ 16 h 56"/>
                <a:gd name="T16" fmla="*/ 113 w 120"/>
                <a:gd name="T17" fmla="*/ 10 h 56"/>
                <a:gd name="T18" fmla="*/ 109 w 120"/>
                <a:gd name="T19" fmla="*/ 6 h 56"/>
                <a:gd name="T20" fmla="*/ 114 w 120"/>
                <a:gd name="T21" fmla="*/ 0 h 56"/>
                <a:gd name="T22" fmla="*/ 120 w 120"/>
                <a:gd name="T23" fmla="*/ 2 h 56"/>
                <a:gd name="T24" fmla="*/ 120 w 120"/>
                <a:gd name="T25" fmla="*/ 4 h 56"/>
                <a:gd name="T26" fmla="*/ 114 w 120"/>
                <a:gd name="T27" fmla="*/ 16 h 56"/>
                <a:gd name="T28" fmla="*/ 10 w 120"/>
                <a:gd name="T29" fmla="*/ 31 h 56"/>
                <a:gd name="T30" fmla="*/ 25 w 120"/>
                <a:gd name="T31" fmla="*/ 37 h 56"/>
                <a:gd name="T32" fmla="*/ 21 w 120"/>
                <a:gd name="T33" fmla="*/ 47 h 56"/>
                <a:gd name="T34" fmla="*/ 19 w 120"/>
                <a:gd name="T35" fmla="*/ 51 h 56"/>
                <a:gd name="T36" fmla="*/ 0 w 120"/>
                <a:gd name="T37" fmla="*/ 44 h 56"/>
                <a:gd name="T38" fmla="*/ 0 w 120"/>
                <a:gd name="T39" fmla="*/ 44 h 56"/>
                <a:gd name="T40" fmla="*/ 1 w 120"/>
                <a:gd name="T41" fmla="*/ 43 h 56"/>
                <a:gd name="T42" fmla="*/ 10 w 120"/>
                <a:gd name="T43" fmla="*/ 31 h 56"/>
                <a:gd name="T44" fmla="*/ 32 w 120"/>
                <a:gd name="T45" fmla="*/ 39 h 56"/>
                <a:gd name="T46" fmla="*/ 50 w 120"/>
                <a:gd name="T47" fmla="*/ 41 h 56"/>
                <a:gd name="T48" fmla="*/ 50 w 120"/>
                <a:gd name="T49" fmla="*/ 41 h 56"/>
                <a:gd name="T50" fmla="*/ 49 w 120"/>
                <a:gd name="T51" fmla="*/ 52 h 56"/>
                <a:gd name="T52" fmla="*/ 49 w 120"/>
                <a:gd name="T53" fmla="*/ 56 h 56"/>
                <a:gd name="T54" fmla="*/ 28 w 120"/>
                <a:gd name="T55" fmla="*/ 54 h 56"/>
                <a:gd name="T56" fmla="*/ 28 w 120"/>
                <a:gd name="T57" fmla="*/ 54 h 56"/>
                <a:gd name="T58" fmla="*/ 26 w 120"/>
                <a:gd name="T59" fmla="*/ 53 h 56"/>
                <a:gd name="T60" fmla="*/ 26 w 120"/>
                <a:gd name="T61" fmla="*/ 51 h 56"/>
                <a:gd name="T62" fmla="*/ 31 w 120"/>
                <a:gd name="T63" fmla="*/ 40 h 56"/>
                <a:gd name="T64" fmla="*/ 32 w 120"/>
                <a:gd name="T65" fmla="*/ 39 h 56"/>
                <a:gd name="T66" fmla="*/ 56 w 120"/>
                <a:gd name="T67" fmla="*/ 40 h 56"/>
                <a:gd name="T68" fmla="*/ 67 w 120"/>
                <a:gd name="T69" fmla="*/ 38 h 56"/>
                <a:gd name="T70" fmla="*/ 70 w 120"/>
                <a:gd name="T71" fmla="*/ 53 h 56"/>
                <a:gd name="T72" fmla="*/ 62 w 120"/>
                <a:gd name="T73" fmla="*/ 55 h 56"/>
                <a:gd name="T74" fmla="*/ 55 w 120"/>
                <a:gd name="T75" fmla="*/ 56 h 56"/>
                <a:gd name="T76" fmla="*/ 55 w 120"/>
                <a:gd name="T77" fmla="*/ 56 h 56"/>
                <a:gd name="T78" fmla="*/ 55 w 120"/>
                <a:gd name="T79" fmla="*/ 53 h 56"/>
                <a:gd name="T80" fmla="*/ 56 w 120"/>
                <a:gd name="T81" fmla="*/ 43 h 56"/>
                <a:gd name="T82" fmla="*/ 56 w 120"/>
                <a:gd name="T83" fmla="*/ 40 h 56"/>
                <a:gd name="T84" fmla="*/ 73 w 120"/>
                <a:gd name="T85" fmla="*/ 35 h 56"/>
                <a:gd name="T86" fmla="*/ 91 w 120"/>
                <a:gd name="T87" fmla="*/ 25 h 56"/>
                <a:gd name="T88" fmla="*/ 93 w 120"/>
                <a:gd name="T89" fmla="*/ 27 h 56"/>
                <a:gd name="T90" fmla="*/ 98 w 120"/>
                <a:gd name="T91" fmla="*/ 36 h 56"/>
                <a:gd name="T92" fmla="*/ 75 w 120"/>
                <a:gd name="T93" fmla="*/ 51 h 56"/>
                <a:gd name="T94" fmla="*/ 75 w 120"/>
                <a:gd name="T95" fmla="*/ 51 h 56"/>
                <a:gd name="T96" fmla="*/ 73 w 120"/>
                <a:gd name="T97" fmla="*/ 38 h 56"/>
                <a:gd name="T98" fmla="*/ 73 w 120"/>
                <a:gd name="T99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56">
                  <a:moveTo>
                    <a:pt x="114" y="16"/>
                  </a:moveTo>
                  <a:cubicBezTo>
                    <a:pt x="114" y="16"/>
                    <a:pt x="114" y="16"/>
                    <a:pt x="114" y="16"/>
                  </a:cubicBezTo>
                  <a:cubicBezTo>
                    <a:pt x="111" y="21"/>
                    <a:pt x="108" y="26"/>
                    <a:pt x="104" y="30"/>
                  </a:cubicBezTo>
                  <a:cubicBezTo>
                    <a:pt x="103" y="28"/>
                    <a:pt x="102" y="27"/>
                    <a:pt x="100" y="25"/>
                  </a:cubicBezTo>
                  <a:cubicBezTo>
                    <a:pt x="99" y="24"/>
                    <a:pt x="98" y="22"/>
                    <a:pt x="96" y="20"/>
                  </a:cubicBezTo>
                  <a:cubicBezTo>
                    <a:pt x="99" y="18"/>
                    <a:pt x="101" y="15"/>
                    <a:pt x="104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7" y="14"/>
                    <a:pt x="109" y="17"/>
                    <a:pt x="112" y="16"/>
                  </a:cubicBezTo>
                  <a:cubicBezTo>
                    <a:pt x="114" y="15"/>
                    <a:pt x="114" y="12"/>
                    <a:pt x="113" y="10"/>
                  </a:cubicBezTo>
                  <a:cubicBezTo>
                    <a:pt x="112" y="9"/>
                    <a:pt x="111" y="7"/>
                    <a:pt x="109" y="6"/>
                  </a:cubicBezTo>
                  <a:cubicBezTo>
                    <a:pt x="111" y="4"/>
                    <a:pt x="112" y="2"/>
                    <a:pt x="114" y="0"/>
                  </a:cubicBezTo>
                  <a:cubicBezTo>
                    <a:pt x="116" y="1"/>
                    <a:pt x="118" y="2"/>
                    <a:pt x="120" y="2"/>
                  </a:cubicBezTo>
                  <a:cubicBezTo>
                    <a:pt x="120" y="3"/>
                    <a:pt x="120" y="3"/>
                    <a:pt x="120" y="4"/>
                  </a:cubicBezTo>
                  <a:cubicBezTo>
                    <a:pt x="118" y="8"/>
                    <a:pt x="116" y="12"/>
                    <a:pt x="114" y="16"/>
                  </a:cubicBezTo>
                  <a:close/>
                  <a:moveTo>
                    <a:pt x="10" y="31"/>
                  </a:moveTo>
                  <a:cubicBezTo>
                    <a:pt x="13" y="33"/>
                    <a:pt x="19" y="35"/>
                    <a:pt x="25" y="37"/>
                  </a:cubicBezTo>
                  <a:cubicBezTo>
                    <a:pt x="24" y="40"/>
                    <a:pt x="23" y="44"/>
                    <a:pt x="21" y="47"/>
                  </a:cubicBezTo>
                  <a:cubicBezTo>
                    <a:pt x="20" y="48"/>
                    <a:pt x="20" y="50"/>
                    <a:pt x="19" y="51"/>
                  </a:cubicBezTo>
                  <a:cubicBezTo>
                    <a:pt x="12" y="49"/>
                    <a:pt x="6" y="46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4" y="39"/>
                    <a:pt x="7" y="35"/>
                    <a:pt x="10" y="31"/>
                  </a:cubicBezTo>
                  <a:close/>
                  <a:moveTo>
                    <a:pt x="32" y="39"/>
                  </a:moveTo>
                  <a:cubicBezTo>
                    <a:pt x="37" y="40"/>
                    <a:pt x="43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49" y="45"/>
                    <a:pt x="49" y="48"/>
                    <a:pt x="49" y="52"/>
                  </a:cubicBezTo>
                  <a:cubicBezTo>
                    <a:pt x="48" y="53"/>
                    <a:pt x="48" y="55"/>
                    <a:pt x="49" y="56"/>
                  </a:cubicBezTo>
                  <a:cubicBezTo>
                    <a:pt x="42" y="56"/>
                    <a:pt x="35" y="55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3"/>
                    <a:pt x="26" y="53"/>
                    <a:pt x="26" y="53"/>
                  </a:cubicBezTo>
                  <a:cubicBezTo>
                    <a:pt x="26" y="53"/>
                    <a:pt x="26" y="52"/>
                    <a:pt x="26" y="51"/>
                  </a:cubicBezTo>
                  <a:cubicBezTo>
                    <a:pt x="28" y="48"/>
                    <a:pt x="30" y="44"/>
                    <a:pt x="31" y="40"/>
                  </a:cubicBezTo>
                  <a:cubicBezTo>
                    <a:pt x="31" y="40"/>
                    <a:pt x="31" y="39"/>
                    <a:pt x="32" y="39"/>
                  </a:cubicBezTo>
                  <a:close/>
                  <a:moveTo>
                    <a:pt x="56" y="40"/>
                  </a:moveTo>
                  <a:cubicBezTo>
                    <a:pt x="60" y="40"/>
                    <a:pt x="63" y="39"/>
                    <a:pt x="67" y="38"/>
                  </a:cubicBezTo>
                  <a:cubicBezTo>
                    <a:pt x="68" y="42"/>
                    <a:pt x="68" y="48"/>
                    <a:pt x="70" y="53"/>
                  </a:cubicBezTo>
                  <a:cubicBezTo>
                    <a:pt x="67" y="53"/>
                    <a:pt x="65" y="54"/>
                    <a:pt x="62" y="55"/>
                  </a:cubicBezTo>
                  <a:cubicBezTo>
                    <a:pt x="60" y="55"/>
                    <a:pt x="57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4"/>
                    <a:pt x="55" y="53"/>
                  </a:cubicBezTo>
                  <a:cubicBezTo>
                    <a:pt x="55" y="49"/>
                    <a:pt x="56" y="46"/>
                    <a:pt x="56" y="43"/>
                  </a:cubicBezTo>
                  <a:cubicBezTo>
                    <a:pt x="56" y="42"/>
                    <a:pt x="56" y="41"/>
                    <a:pt x="56" y="40"/>
                  </a:cubicBezTo>
                  <a:close/>
                  <a:moveTo>
                    <a:pt x="73" y="35"/>
                  </a:moveTo>
                  <a:cubicBezTo>
                    <a:pt x="79" y="33"/>
                    <a:pt x="85" y="30"/>
                    <a:pt x="91" y="25"/>
                  </a:cubicBezTo>
                  <a:cubicBezTo>
                    <a:pt x="91" y="26"/>
                    <a:pt x="92" y="26"/>
                    <a:pt x="93" y="27"/>
                  </a:cubicBezTo>
                  <a:cubicBezTo>
                    <a:pt x="95" y="30"/>
                    <a:pt x="97" y="33"/>
                    <a:pt x="98" y="36"/>
                  </a:cubicBezTo>
                  <a:cubicBezTo>
                    <a:pt x="91" y="42"/>
                    <a:pt x="83" y="47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46"/>
                    <a:pt x="74" y="42"/>
                    <a:pt x="73" y="38"/>
                  </a:cubicBezTo>
                  <a:cubicBezTo>
                    <a:pt x="73" y="37"/>
                    <a:pt x="73" y="36"/>
                    <a:pt x="73" y="35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ṣľiḋé"/>
            <p:cNvSpPr/>
            <p:nvPr/>
          </p:nvSpPr>
          <p:spPr bwMode="auto">
            <a:xfrm>
              <a:off x="7308941" y="3718465"/>
              <a:ext cx="91464" cy="304876"/>
            </a:xfrm>
            <a:custGeom>
              <a:avLst/>
              <a:gdLst>
                <a:gd name="T0" fmla="*/ 4 w 13"/>
                <a:gd name="T1" fmla="*/ 24 h 43"/>
                <a:gd name="T2" fmla="*/ 4 w 13"/>
                <a:gd name="T3" fmla="*/ 24 h 43"/>
                <a:gd name="T4" fmla="*/ 6 w 13"/>
                <a:gd name="T5" fmla="*/ 22 h 43"/>
                <a:gd name="T6" fmla="*/ 6 w 13"/>
                <a:gd name="T7" fmla="*/ 0 h 43"/>
                <a:gd name="T8" fmla="*/ 8 w 13"/>
                <a:gd name="T9" fmla="*/ 3 h 43"/>
                <a:gd name="T10" fmla="*/ 12 w 13"/>
                <a:gd name="T11" fmla="*/ 22 h 43"/>
                <a:gd name="T12" fmla="*/ 4 w 13"/>
                <a:gd name="T13" fmla="*/ 39 h 43"/>
                <a:gd name="T14" fmla="*/ 0 w 13"/>
                <a:gd name="T15" fmla="*/ 43 h 43"/>
                <a:gd name="T16" fmla="*/ 4 w 13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3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5" y="24"/>
                    <a:pt x="6" y="23"/>
                    <a:pt x="6" y="22"/>
                  </a:cubicBezTo>
                  <a:cubicBezTo>
                    <a:pt x="8" y="15"/>
                    <a:pt x="7" y="8"/>
                    <a:pt x="6" y="0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12" y="9"/>
                    <a:pt x="13" y="16"/>
                    <a:pt x="12" y="22"/>
                  </a:cubicBezTo>
                  <a:cubicBezTo>
                    <a:pt x="12" y="29"/>
                    <a:pt x="7" y="34"/>
                    <a:pt x="4" y="39"/>
                  </a:cubicBezTo>
                  <a:cubicBezTo>
                    <a:pt x="3" y="40"/>
                    <a:pt x="1" y="42"/>
                    <a:pt x="0" y="43"/>
                  </a:cubicBezTo>
                  <a:cubicBezTo>
                    <a:pt x="2" y="37"/>
                    <a:pt x="3" y="31"/>
                    <a:pt x="4" y="24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šļïḋe"/>
            <p:cNvSpPr/>
            <p:nvPr/>
          </p:nvSpPr>
          <p:spPr bwMode="auto">
            <a:xfrm>
              <a:off x="4155171" y="3952202"/>
              <a:ext cx="873977" cy="352301"/>
            </a:xfrm>
            <a:custGeom>
              <a:avLst/>
              <a:gdLst>
                <a:gd name="T0" fmla="*/ 119 w 124"/>
                <a:gd name="T1" fmla="*/ 31 h 50"/>
                <a:gd name="T2" fmla="*/ 112 w 124"/>
                <a:gd name="T3" fmla="*/ 36 h 50"/>
                <a:gd name="T4" fmla="*/ 101 w 124"/>
                <a:gd name="T5" fmla="*/ 6 h 50"/>
                <a:gd name="T6" fmla="*/ 108 w 124"/>
                <a:gd name="T7" fmla="*/ 0 h 50"/>
                <a:gd name="T8" fmla="*/ 122 w 124"/>
                <a:gd name="T9" fmla="*/ 26 h 50"/>
                <a:gd name="T10" fmla="*/ 119 w 124"/>
                <a:gd name="T11" fmla="*/ 31 h 50"/>
                <a:gd name="T12" fmla="*/ 0 w 124"/>
                <a:gd name="T13" fmla="*/ 24 h 50"/>
                <a:gd name="T14" fmla="*/ 22 w 124"/>
                <a:gd name="T15" fmla="*/ 9 h 50"/>
                <a:gd name="T16" fmla="*/ 15 w 124"/>
                <a:gd name="T17" fmla="*/ 18 h 50"/>
                <a:gd name="T18" fmla="*/ 7 w 124"/>
                <a:gd name="T19" fmla="*/ 28 h 50"/>
                <a:gd name="T20" fmla="*/ 13 w 124"/>
                <a:gd name="T21" fmla="*/ 33 h 50"/>
                <a:gd name="T22" fmla="*/ 12 w 124"/>
                <a:gd name="T23" fmla="*/ 32 h 50"/>
                <a:gd name="T24" fmla="*/ 26 w 124"/>
                <a:gd name="T25" fmla="*/ 14 h 50"/>
                <a:gd name="T26" fmla="*/ 33 w 124"/>
                <a:gd name="T27" fmla="*/ 14 h 50"/>
                <a:gd name="T28" fmla="*/ 35 w 124"/>
                <a:gd name="T29" fmla="*/ 27 h 50"/>
                <a:gd name="T30" fmla="*/ 13 w 124"/>
                <a:gd name="T31" fmla="*/ 33 h 50"/>
                <a:gd name="T32" fmla="*/ 30 w 124"/>
                <a:gd name="T33" fmla="*/ 44 h 50"/>
                <a:gd name="T34" fmla="*/ 41 w 124"/>
                <a:gd name="T35" fmla="*/ 23 h 50"/>
                <a:gd name="T36" fmla="*/ 57 w 124"/>
                <a:gd name="T37" fmla="*/ 18 h 50"/>
                <a:gd name="T38" fmla="*/ 48 w 124"/>
                <a:gd name="T39" fmla="*/ 49 h 50"/>
                <a:gd name="T40" fmla="*/ 51 w 124"/>
                <a:gd name="T41" fmla="*/ 49 h 50"/>
                <a:gd name="T42" fmla="*/ 57 w 124"/>
                <a:gd name="T43" fmla="*/ 36 h 50"/>
                <a:gd name="T44" fmla="*/ 59 w 124"/>
                <a:gd name="T45" fmla="*/ 18 h 50"/>
                <a:gd name="T46" fmla="*/ 69 w 124"/>
                <a:gd name="T47" fmla="*/ 18 h 50"/>
                <a:gd name="T48" fmla="*/ 69 w 124"/>
                <a:gd name="T49" fmla="*/ 49 h 50"/>
                <a:gd name="T50" fmla="*/ 72 w 124"/>
                <a:gd name="T51" fmla="*/ 49 h 50"/>
                <a:gd name="T52" fmla="*/ 73 w 124"/>
                <a:gd name="T53" fmla="*/ 30 h 50"/>
                <a:gd name="T54" fmla="*/ 85 w 124"/>
                <a:gd name="T55" fmla="*/ 14 h 50"/>
                <a:gd name="T56" fmla="*/ 88 w 124"/>
                <a:gd name="T57" fmla="*/ 28 h 50"/>
                <a:gd name="T58" fmla="*/ 91 w 124"/>
                <a:gd name="T59" fmla="*/ 48 h 50"/>
                <a:gd name="T60" fmla="*/ 72 w 124"/>
                <a:gd name="T61" fmla="*/ 49 h 50"/>
                <a:gd name="T62" fmla="*/ 105 w 124"/>
                <a:gd name="T63" fmla="*/ 41 h 50"/>
                <a:gd name="T64" fmla="*/ 94 w 124"/>
                <a:gd name="T65" fmla="*/ 28 h 50"/>
                <a:gd name="T66" fmla="*/ 90 w 124"/>
                <a:gd name="T67" fmla="*/ 12 h 50"/>
                <a:gd name="T68" fmla="*/ 96 w 124"/>
                <a:gd name="T69" fmla="*/ 9 h 50"/>
                <a:gd name="T70" fmla="*/ 109 w 124"/>
                <a:gd name="T71" fmla="*/ 37 h 50"/>
                <a:gd name="T72" fmla="*/ 105 w 124"/>
                <a:gd name="T7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50">
                  <a:moveTo>
                    <a:pt x="119" y="31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7" y="33"/>
                    <a:pt x="114" y="35"/>
                    <a:pt x="112" y="37"/>
                  </a:cubicBezTo>
                  <a:cubicBezTo>
                    <a:pt x="112" y="37"/>
                    <a:pt x="112" y="36"/>
                    <a:pt x="112" y="36"/>
                  </a:cubicBezTo>
                  <a:cubicBezTo>
                    <a:pt x="110" y="29"/>
                    <a:pt x="107" y="22"/>
                    <a:pt x="104" y="15"/>
                  </a:cubicBezTo>
                  <a:cubicBezTo>
                    <a:pt x="103" y="12"/>
                    <a:pt x="102" y="9"/>
                    <a:pt x="101" y="6"/>
                  </a:cubicBezTo>
                  <a:cubicBezTo>
                    <a:pt x="103" y="4"/>
                    <a:pt x="105" y="3"/>
                    <a:pt x="107" y="1"/>
                  </a:cubicBezTo>
                  <a:cubicBezTo>
                    <a:pt x="107" y="1"/>
                    <a:pt x="107" y="0"/>
                    <a:pt x="108" y="0"/>
                  </a:cubicBezTo>
                  <a:cubicBezTo>
                    <a:pt x="108" y="1"/>
                    <a:pt x="108" y="2"/>
                    <a:pt x="108" y="4"/>
                  </a:cubicBezTo>
                  <a:cubicBezTo>
                    <a:pt x="110" y="12"/>
                    <a:pt x="115" y="20"/>
                    <a:pt x="122" y="26"/>
                  </a:cubicBezTo>
                  <a:cubicBezTo>
                    <a:pt x="123" y="27"/>
                    <a:pt x="123" y="27"/>
                    <a:pt x="124" y="28"/>
                  </a:cubicBezTo>
                  <a:cubicBezTo>
                    <a:pt x="123" y="29"/>
                    <a:pt x="121" y="30"/>
                    <a:pt x="119" y="31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7" y="19"/>
                    <a:pt x="12" y="13"/>
                    <a:pt x="16" y="5"/>
                  </a:cubicBezTo>
                  <a:cubicBezTo>
                    <a:pt x="18" y="7"/>
                    <a:pt x="20" y="8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0" y="12"/>
                    <a:pt x="17" y="15"/>
                    <a:pt x="15" y="18"/>
                  </a:cubicBezTo>
                  <a:cubicBezTo>
                    <a:pt x="13" y="20"/>
                    <a:pt x="11" y="23"/>
                    <a:pt x="9" y="26"/>
                  </a:cubicBezTo>
                  <a:cubicBezTo>
                    <a:pt x="8" y="27"/>
                    <a:pt x="8" y="27"/>
                    <a:pt x="7" y="28"/>
                  </a:cubicBezTo>
                  <a:cubicBezTo>
                    <a:pt x="5" y="26"/>
                    <a:pt x="3" y="25"/>
                    <a:pt x="0" y="24"/>
                  </a:cubicBezTo>
                  <a:close/>
                  <a:moveTo>
                    <a:pt x="13" y="33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2" y="32"/>
                    <a:pt x="12" y="32"/>
                  </a:cubicBezTo>
                  <a:cubicBezTo>
                    <a:pt x="14" y="28"/>
                    <a:pt x="17" y="25"/>
                    <a:pt x="20" y="22"/>
                  </a:cubicBezTo>
                  <a:cubicBezTo>
                    <a:pt x="22" y="19"/>
                    <a:pt x="24" y="17"/>
                    <a:pt x="26" y="14"/>
                  </a:cubicBezTo>
                  <a:cubicBezTo>
                    <a:pt x="27" y="14"/>
                    <a:pt x="28" y="13"/>
                    <a:pt x="28" y="12"/>
                  </a:cubicBezTo>
                  <a:cubicBezTo>
                    <a:pt x="30" y="13"/>
                    <a:pt x="32" y="13"/>
                    <a:pt x="33" y="14"/>
                  </a:cubicBezTo>
                  <a:cubicBezTo>
                    <a:pt x="35" y="15"/>
                    <a:pt x="38" y="15"/>
                    <a:pt x="40" y="16"/>
                  </a:cubicBezTo>
                  <a:cubicBezTo>
                    <a:pt x="38" y="19"/>
                    <a:pt x="36" y="24"/>
                    <a:pt x="35" y="27"/>
                  </a:cubicBezTo>
                  <a:cubicBezTo>
                    <a:pt x="33" y="32"/>
                    <a:pt x="31" y="38"/>
                    <a:pt x="27" y="42"/>
                  </a:cubicBezTo>
                  <a:cubicBezTo>
                    <a:pt x="22" y="39"/>
                    <a:pt x="18" y="36"/>
                    <a:pt x="13" y="33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4"/>
                    <a:pt x="30" y="44"/>
                  </a:cubicBezTo>
                  <a:cubicBezTo>
                    <a:pt x="34" y="40"/>
                    <a:pt x="36" y="35"/>
                    <a:pt x="38" y="31"/>
                  </a:cubicBezTo>
                  <a:cubicBezTo>
                    <a:pt x="40" y="28"/>
                    <a:pt x="40" y="26"/>
                    <a:pt x="41" y="23"/>
                  </a:cubicBezTo>
                  <a:cubicBezTo>
                    <a:pt x="42" y="21"/>
                    <a:pt x="43" y="19"/>
                    <a:pt x="44" y="17"/>
                  </a:cubicBezTo>
                  <a:cubicBezTo>
                    <a:pt x="48" y="18"/>
                    <a:pt x="52" y="18"/>
                    <a:pt x="57" y="18"/>
                  </a:cubicBezTo>
                  <a:cubicBezTo>
                    <a:pt x="54" y="22"/>
                    <a:pt x="53" y="28"/>
                    <a:pt x="52" y="32"/>
                  </a:cubicBezTo>
                  <a:cubicBezTo>
                    <a:pt x="51" y="38"/>
                    <a:pt x="50" y="44"/>
                    <a:pt x="48" y="49"/>
                  </a:cubicBezTo>
                  <a:cubicBezTo>
                    <a:pt x="42" y="48"/>
                    <a:pt x="36" y="46"/>
                    <a:pt x="30" y="44"/>
                  </a:cubicBezTo>
                  <a:close/>
                  <a:moveTo>
                    <a:pt x="51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4" y="45"/>
                    <a:pt x="55" y="41"/>
                    <a:pt x="57" y="36"/>
                  </a:cubicBezTo>
                  <a:cubicBezTo>
                    <a:pt x="58" y="31"/>
                    <a:pt x="60" y="24"/>
                    <a:pt x="60" y="19"/>
                  </a:cubicBezTo>
                  <a:cubicBezTo>
                    <a:pt x="60" y="19"/>
                    <a:pt x="60" y="19"/>
                    <a:pt x="59" y="18"/>
                  </a:cubicBezTo>
                  <a:cubicBezTo>
                    <a:pt x="61" y="18"/>
                    <a:pt x="63" y="18"/>
                    <a:pt x="65" y="18"/>
                  </a:cubicBezTo>
                  <a:cubicBezTo>
                    <a:pt x="66" y="18"/>
                    <a:pt x="68" y="18"/>
                    <a:pt x="69" y="18"/>
                  </a:cubicBezTo>
                  <a:cubicBezTo>
                    <a:pt x="68" y="22"/>
                    <a:pt x="69" y="26"/>
                    <a:pt x="68" y="30"/>
                  </a:cubicBezTo>
                  <a:cubicBezTo>
                    <a:pt x="68" y="36"/>
                    <a:pt x="68" y="43"/>
                    <a:pt x="69" y="49"/>
                  </a:cubicBezTo>
                  <a:cubicBezTo>
                    <a:pt x="63" y="49"/>
                    <a:pt x="57" y="49"/>
                    <a:pt x="51" y="49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3" y="43"/>
                    <a:pt x="73" y="36"/>
                    <a:pt x="73" y="30"/>
                  </a:cubicBezTo>
                  <a:cubicBezTo>
                    <a:pt x="74" y="26"/>
                    <a:pt x="75" y="21"/>
                    <a:pt x="74" y="17"/>
                  </a:cubicBezTo>
                  <a:cubicBezTo>
                    <a:pt x="78" y="16"/>
                    <a:pt x="81" y="15"/>
                    <a:pt x="85" y="14"/>
                  </a:cubicBezTo>
                  <a:cubicBezTo>
                    <a:pt x="85" y="15"/>
                    <a:pt x="85" y="17"/>
                    <a:pt x="86" y="18"/>
                  </a:cubicBezTo>
                  <a:cubicBezTo>
                    <a:pt x="86" y="21"/>
                    <a:pt x="87" y="24"/>
                    <a:pt x="88" y="28"/>
                  </a:cubicBezTo>
                  <a:cubicBezTo>
                    <a:pt x="89" y="34"/>
                    <a:pt x="89" y="41"/>
                    <a:pt x="91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0" y="48"/>
                    <a:pt x="90" y="48"/>
                  </a:cubicBezTo>
                  <a:cubicBezTo>
                    <a:pt x="84" y="50"/>
                    <a:pt x="78" y="49"/>
                    <a:pt x="72" y="4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2" y="44"/>
                    <a:pt x="98" y="46"/>
                    <a:pt x="94" y="47"/>
                  </a:cubicBezTo>
                  <a:cubicBezTo>
                    <a:pt x="95" y="41"/>
                    <a:pt x="95" y="34"/>
                    <a:pt x="94" y="28"/>
                  </a:cubicBezTo>
                  <a:cubicBezTo>
                    <a:pt x="93" y="24"/>
                    <a:pt x="93" y="21"/>
                    <a:pt x="92" y="18"/>
                  </a:cubicBezTo>
                  <a:cubicBezTo>
                    <a:pt x="91" y="16"/>
                    <a:pt x="91" y="14"/>
                    <a:pt x="90" y="12"/>
                  </a:cubicBezTo>
                  <a:cubicBezTo>
                    <a:pt x="92" y="11"/>
                    <a:pt x="93" y="10"/>
                    <a:pt x="95" y="9"/>
                  </a:cubicBezTo>
                  <a:cubicBezTo>
                    <a:pt x="95" y="9"/>
                    <a:pt x="96" y="9"/>
                    <a:pt x="96" y="9"/>
                  </a:cubicBezTo>
                  <a:cubicBezTo>
                    <a:pt x="97" y="12"/>
                    <a:pt x="98" y="15"/>
                    <a:pt x="100" y="18"/>
                  </a:cubicBezTo>
                  <a:cubicBezTo>
                    <a:pt x="102" y="25"/>
                    <a:pt x="104" y="32"/>
                    <a:pt x="109" y="37"/>
                  </a:cubicBezTo>
                  <a:cubicBezTo>
                    <a:pt x="109" y="38"/>
                    <a:pt x="110" y="38"/>
                    <a:pt x="110" y="38"/>
                  </a:cubicBezTo>
                  <a:cubicBezTo>
                    <a:pt x="109" y="39"/>
                    <a:pt x="107" y="40"/>
                    <a:pt x="105" y="41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$ļïḑê"/>
            <p:cNvSpPr/>
            <p:nvPr/>
          </p:nvSpPr>
          <p:spPr bwMode="auto">
            <a:xfrm>
              <a:off x="4155171" y="4036891"/>
              <a:ext cx="873977" cy="267614"/>
            </a:xfrm>
            <a:custGeom>
              <a:avLst/>
              <a:gdLst>
                <a:gd name="T0" fmla="*/ 119 w 124"/>
                <a:gd name="T1" fmla="*/ 19 h 38"/>
                <a:gd name="T2" fmla="*/ 119 w 124"/>
                <a:gd name="T3" fmla="*/ 19 h 38"/>
                <a:gd name="T4" fmla="*/ 112 w 124"/>
                <a:gd name="T5" fmla="*/ 25 h 38"/>
                <a:gd name="T6" fmla="*/ 112 w 124"/>
                <a:gd name="T7" fmla="*/ 24 h 38"/>
                <a:gd name="T8" fmla="*/ 107 w 124"/>
                <a:gd name="T9" fmla="*/ 11 h 38"/>
                <a:gd name="T10" fmla="*/ 115 w 124"/>
                <a:gd name="T11" fmla="*/ 6 h 38"/>
                <a:gd name="T12" fmla="*/ 122 w 124"/>
                <a:gd name="T13" fmla="*/ 14 h 38"/>
                <a:gd name="T14" fmla="*/ 124 w 124"/>
                <a:gd name="T15" fmla="*/ 16 h 38"/>
                <a:gd name="T16" fmla="*/ 119 w 124"/>
                <a:gd name="T17" fmla="*/ 19 h 38"/>
                <a:gd name="T18" fmla="*/ 12 w 124"/>
                <a:gd name="T19" fmla="*/ 0 h 38"/>
                <a:gd name="T20" fmla="*/ 16 w 124"/>
                <a:gd name="T21" fmla="*/ 5 h 38"/>
                <a:gd name="T22" fmla="*/ 15 w 124"/>
                <a:gd name="T23" fmla="*/ 6 h 38"/>
                <a:gd name="T24" fmla="*/ 9 w 124"/>
                <a:gd name="T25" fmla="*/ 14 h 38"/>
                <a:gd name="T26" fmla="*/ 7 w 124"/>
                <a:gd name="T27" fmla="*/ 16 h 38"/>
                <a:gd name="T28" fmla="*/ 0 w 124"/>
                <a:gd name="T29" fmla="*/ 12 h 38"/>
                <a:gd name="T30" fmla="*/ 0 w 124"/>
                <a:gd name="T31" fmla="*/ 12 h 38"/>
                <a:gd name="T32" fmla="*/ 12 w 124"/>
                <a:gd name="T33" fmla="*/ 0 h 38"/>
                <a:gd name="T34" fmla="*/ 21 w 124"/>
                <a:gd name="T35" fmla="*/ 9 h 38"/>
                <a:gd name="T36" fmla="*/ 34 w 124"/>
                <a:gd name="T37" fmla="*/ 18 h 38"/>
                <a:gd name="T38" fmla="*/ 27 w 124"/>
                <a:gd name="T39" fmla="*/ 30 h 38"/>
                <a:gd name="T40" fmla="*/ 13 w 124"/>
                <a:gd name="T41" fmla="*/ 21 h 38"/>
                <a:gd name="T42" fmla="*/ 13 w 124"/>
                <a:gd name="T43" fmla="*/ 21 h 38"/>
                <a:gd name="T44" fmla="*/ 12 w 124"/>
                <a:gd name="T45" fmla="*/ 20 h 38"/>
                <a:gd name="T46" fmla="*/ 20 w 124"/>
                <a:gd name="T47" fmla="*/ 10 h 38"/>
                <a:gd name="T48" fmla="*/ 21 w 124"/>
                <a:gd name="T49" fmla="*/ 9 h 38"/>
                <a:gd name="T50" fmla="*/ 38 w 124"/>
                <a:gd name="T51" fmla="*/ 20 h 38"/>
                <a:gd name="T52" fmla="*/ 52 w 124"/>
                <a:gd name="T53" fmla="*/ 24 h 38"/>
                <a:gd name="T54" fmla="*/ 48 w 124"/>
                <a:gd name="T55" fmla="*/ 37 h 38"/>
                <a:gd name="T56" fmla="*/ 30 w 124"/>
                <a:gd name="T57" fmla="*/ 32 h 38"/>
                <a:gd name="T58" fmla="*/ 30 w 124"/>
                <a:gd name="T59" fmla="*/ 32 h 38"/>
                <a:gd name="T60" fmla="*/ 38 w 124"/>
                <a:gd name="T61" fmla="*/ 20 h 38"/>
                <a:gd name="T62" fmla="*/ 56 w 124"/>
                <a:gd name="T63" fmla="*/ 25 h 38"/>
                <a:gd name="T64" fmla="*/ 68 w 124"/>
                <a:gd name="T65" fmla="*/ 25 h 38"/>
                <a:gd name="T66" fmla="*/ 69 w 124"/>
                <a:gd name="T67" fmla="*/ 37 h 38"/>
                <a:gd name="T68" fmla="*/ 51 w 124"/>
                <a:gd name="T69" fmla="*/ 37 h 38"/>
                <a:gd name="T70" fmla="*/ 51 w 124"/>
                <a:gd name="T71" fmla="*/ 37 h 38"/>
                <a:gd name="T72" fmla="*/ 56 w 124"/>
                <a:gd name="T73" fmla="*/ 25 h 38"/>
                <a:gd name="T74" fmla="*/ 73 w 124"/>
                <a:gd name="T75" fmla="*/ 24 h 38"/>
                <a:gd name="T76" fmla="*/ 88 w 124"/>
                <a:gd name="T77" fmla="*/ 20 h 38"/>
                <a:gd name="T78" fmla="*/ 91 w 124"/>
                <a:gd name="T79" fmla="*/ 35 h 38"/>
                <a:gd name="T80" fmla="*/ 91 w 124"/>
                <a:gd name="T81" fmla="*/ 36 h 38"/>
                <a:gd name="T82" fmla="*/ 90 w 124"/>
                <a:gd name="T83" fmla="*/ 36 h 38"/>
                <a:gd name="T84" fmla="*/ 72 w 124"/>
                <a:gd name="T85" fmla="*/ 37 h 38"/>
                <a:gd name="T86" fmla="*/ 72 w 124"/>
                <a:gd name="T87" fmla="*/ 37 h 38"/>
                <a:gd name="T88" fmla="*/ 73 w 124"/>
                <a:gd name="T89" fmla="*/ 24 h 38"/>
                <a:gd name="T90" fmla="*/ 94 w 124"/>
                <a:gd name="T91" fmla="*/ 18 h 38"/>
                <a:gd name="T92" fmla="*/ 103 w 124"/>
                <a:gd name="T93" fmla="*/ 14 h 38"/>
                <a:gd name="T94" fmla="*/ 109 w 124"/>
                <a:gd name="T95" fmla="*/ 25 h 38"/>
                <a:gd name="T96" fmla="*/ 110 w 124"/>
                <a:gd name="T97" fmla="*/ 26 h 38"/>
                <a:gd name="T98" fmla="*/ 105 w 124"/>
                <a:gd name="T99" fmla="*/ 29 h 38"/>
                <a:gd name="T100" fmla="*/ 105 w 124"/>
                <a:gd name="T101" fmla="*/ 29 h 38"/>
                <a:gd name="T102" fmla="*/ 94 w 124"/>
                <a:gd name="T103" fmla="*/ 35 h 38"/>
                <a:gd name="T104" fmla="*/ 94 w 124"/>
                <a:gd name="T10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" h="38">
                  <a:moveTo>
                    <a:pt x="119" y="19"/>
                  </a:moveTo>
                  <a:cubicBezTo>
                    <a:pt x="119" y="19"/>
                    <a:pt x="119" y="19"/>
                    <a:pt x="119" y="19"/>
                  </a:cubicBezTo>
                  <a:cubicBezTo>
                    <a:pt x="117" y="21"/>
                    <a:pt x="114" y="23"/>
                    <a:pt x="112" y="25"/>
                  </a:cubicBezTo>
                  <a:cubicBezTo>
                    <a:pt x="112" y="25"/>
                    <a:pt x="112" y="24"/>
                    <a:pt x="112" y="24"/>
                  </a:cubicBezTo>
                  <a:cubicBezTo>
                    <a:pt x="111" y="20"/>
                    <a:pt x="109" y="16"/>
                    <a:pt x="107" y="11"/>
                  </a:cubicBezTo>
                  <a:cubicBezTo>
                    <a:pt x="110" y="10"/>
                    <a:pt x="113" y="8"/>
                    <a:pt x="115" y="6"/>
                  </a:cubicBezTo>
                  <a:cubicBezTo>
                    <a:pt x="117" y="9"/>
                    <a:pt x="119" y="12"/>
                    <a:pt x="122" y="14"/>
                  </a:cubicBezTo>
                  <a:cubicBezTo>
                    <a:pt x="123" y="15"/>
                    <a:pt x="123" y="15"/>
                    <a:pt x="124" y="16"/>
                  </a:cubicBezTo>
                  <a:cubicBezTo>
                    <a:pt x="123" y="17"/>
                    <a:pt x="121" y="18"/>
                    <a:pt x="119" y="19"/>
                  </a:cubicBezTo>
                  <a:close/>
                  <a:moveTo>
                    <a:pt x="12" y="0"/>
                  </a:moveTo>
                  <a:cubicBezTo>
                    <a:pt x="13" y="2"/>
                    <a:pt x="14" y="3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8"/>
                    <a:pt x="11" y="11"/>
                    <a:pt x="9" y="14"/>
                  </a:cubicBezTo>
                  <a:cubicBezTo>
                    <a:pt x="8" y="15"/>
                    <a:pt x="8" y="15"/>
                    <a:pt x="7" y="16"/>
                  </a:cubicBezTo>
                  <a:cubicBezTo>
                    <a:pt x="5" y="14"/>
                    <a:pt x="3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9"/>
                    <a:pt x="9" y="5"/>
                    <a:pt x="12" y="0"/>
                  </a:cubicBezTo>
                  <a:close/>
                  <a:moveTo>
                    <a:pt x="21" y="9"/>
                  </a:moveTo>
                  <a:cubicBezTo>
                    <a:pt x="24" y="12"/>
                    <a:pt x="29" y="15"/>
                    <a:pt x="34" y="18"/>
                  </a:cubicBezTo>
                  <a:cubicBezTo>
                    <a:pt x="32" y="22"/>
                    <a:pt x="30" y="26"/>
                    <a:pt x="27" y="30"/>
                  </a:cubicBezTo>
                  <a:cubicBezTo>
                    <a:pt x="22" y="27"/>
                    <a:pt x="18" y="24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4" y="16"/>
                    <a:pt x="17" y="13"/>
                    <a:pt x="20" y="10"/>
                  </a:cubicBezTo>
                  <a:lnTo>
                    <a:pt x="21" y="9"/>
                  </a:lnTo>
                  <a:close/>
                  <a:moveTo>
                    <a:pt x="38" y="20"/>
                  </a:moveTo>
                  <a:cubicBezTo>
                    <a:pt x="42" y="21"/>
                    <a:pt x="47" y="23"/>
                    <a:pt x="52" y="24"/>
                  </a:cubicBezTo>
                  <a:cubicBezTo>
                    <a:pt x="51" y="28"/>
                    <a:pt x="49" y="33"/>
                    <a:pt x="48" y="37"/>
                  </a:cubicBezTo>
                  <a:cubicBezTo>
                    <a:pt x="42" y="36"/>
                    <a:pt x="36" y="34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4" y="28"/>
                    <a:pt x="36" y="24"/>
                    <a:pt x="38" y="20"/>
                  </a:cubicBezTo>
                  <a:close/>
                  <a:moveTo>
                    <a:pt x="56" y="25"/>
                  </a:moveTo>
                  <a:cubicBezTo>
                    <a:pt x="60" y="25"/>
                    <a:pt x="64" y="25"/>
                    <a:pt x="68" y="25"/>
                  </a:cubicBezTo>
                  <a:cubicBezTo>
                    <a:pt x="68" y="29"/>
                    <a:pt x="68" y="33"/>
                    <a:pt x="69" y="37"/>
                  </a:cubicBezTo>
                  <a:cubicBezTo>
                    <a:pt x="63" y="37"/>
                    <a:pt x="57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3"/>
                    <a:pt x="55" y="29"/>
                    <a:pt x="56" y="25"/>
                  </a:cubicBezTo>
                  <a:close/>
                  <a:moveTo>
                    <a:pt x="73" y="24"/>
                  </a:moveTo>
                  <a:cubicBezTo>
                    <a:pt x="78" y="24"/>
                    <a:pt x="83" y="22"/>
                    <a:pt x="88" y="20"/>
                  </a:cubicBezTo>
                  <a:cubicBezTo>
                    <a:pt x="89" y="25"/>
                    <a:pt x="89" y="30"/>
                    <a:pt x="91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6"/>
                    <a:pt x="90" y="36"/>
                    <a:pt x="90" y="36"/>
                  </a:cubicBezTo>
                  <a:cubicBezTo>
                    <a:pt x="84" y="38"/>
                    <a:pt x="78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3"/>
                    <a:pt x="73" y="29"/>
                    <a:pt x="73" y="24"/>
                  </a:cubicBezTo>
                  <a:close/>
                  <a:moveTo>
                    <a:pt x="94" y="18"/>
                  </a:moveTo>
                  <a:cubicBezTo>
                    <a:pt x="97" y="17"/>
                    <a:pt x="100" y="16"/>
                    <a:pt x="103" y="14"/>
                  </a:cubicBezTo>
                  <a:cubicBezTo>
                    <a:pt x="104" y="18"/>
                    <a:pt x="106" y="22"/>
                    <a:pt x="109" y="25"/>
                  </a:cubicBezTo>
                  <a:cubicBezTo>
                    <a:pt x="109" y="26"/>
                    <a:pt x="110" y="26"/>
                    <a:pt x="110" y="26"/>
                  </a:cubicBezTo>
                  <a:cubicBezTo>
                    <a:pt x="109" y="27"/>
                    <a:pt x="107" y="28"/>
                    <a:pt x="105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2" y="32"/>
                    <a:pt x="98" y="34"/>
                    <a:pt x="94" y="35"/>
                  </a:cubicBezTo>
                  <a:cubicBezTo>
                    <a:pt x="95" y="30"/>
                    <a:pt x="95" y="24"/>
                    <a:pt x="94" y="18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şľïḍê"/>
            <p:cNvSpPr/>
            <p:nvPr/>
          </p:nvSpPr>
          <p:spPr bwMode="auto">
            <a:xfrm>
              <a:off x="3643659" y="3515215"/>
              <a:ext cx="569101" cy="569102"/>
            </a:xfrm>
            <a:custGeom>
              <a:avLst/>
              <a:gdLst>
                <a:gd name="T0" fmla="*/ 40 w 81"/>
                <a:gd name="T1" fmla="*/ 81 h 81"/>
                <a:gd name="T2" fmla="*/ 40 w 81"/>
                <a:gd name="T3" fmla="*/ 81 h 81"/>
                <a:gd name="T4" fmla="*/ 21 w 81"/>
                <a:gd name="T5" fmla="*/ 75 h 81"/>
                <a:gd name="T6" fmla="*/ 3 w 81"/>
                <a:gd name="T7" fmla="*/ 58 h 81"/>
                <a:gd name="T8" fmla="*/ 2 w 81"/>
                <a:gd name="T9" fmla="*/ 57 h 81"/>
                <a:gd name="T10" fmla="*/ 1 w 81"/>
                <a:gd name="T11" fmla="*/ 53 h 81"/>
                <a:gd name="T12" fmla="*/ 2 w 81"/>
                <a:gd name="T13" fmla="*/ 49 h 81"/>
                <a:gd name="T14" fmla="*/ 5 w 81"/>
                <a:gd name="T15" fmla="*/ 45 h 81"/>
                <a:gd name="T16" fmla="*/ 15 w 81"/>
                <a:gd name="T17" fmla="*/ 54 h 81"/>
                <a:gd name="T18" fmla="*/ 33 w 81"/>
                <a:gd name="T19" fmla="*/ 63 h 81"/>
                <a:gd name="T20" fmla="*/ 64 w 81"/>
                <a:gd name="T21" fmla="*/ 52 h 81"/>
                <a:gd name="T22" fmla="*/ 57 w 81"/>
                <a:gd name="T23" fmla="*/ 23 h 81"/>
                <a:gd name="T24" fmla="*/ 45 w 81"/>
                <a:gd name="T25" fmla="*/ 14 h 81"/>
                <a:gd name="T26" fmla="*/ 39 w 81"/>
                <a:gd name="T27" fmla="*/ 10 h 81"/>
                <a:gd name="T28" fmla="*/ 41 w 81"/>
                <a:gd name="T29" fmla="*/ 5 h 81"/>
                <a:gd name="T30" fmla="*/ 43 w 81"/>
                <a:gd name="T31" fmla="*/ 1 h 81"/>
                <a:gd name="T32" fmla="*/ 46 w 81"/>
                <a:gd name="T33" fmla="*/ 0 h 81"/>
                <a:gd name="T34" fmla="*/ 61 w 81"/>
                <a:gd name="T35" fmla="*/ 12 h 81"/>
                <a:gd name="T36" fmla="*/ 75 w 81"/>
                <a:gd name="T37" fmla="*/ 30 h 81"/>
                <a:gd name="T38" fmla="*/ 73 w 81"/>
                <a:gd name="T39" fmla="*/ 68 h 81"/>
                <a:gd name="T40" fmla="*/ 40 w 81"/>
                <a:gd name="T4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34" y="81"/>
                    <a:pt x="27" y="79"/>
                    <a:pt x="21" y="75"/>
                  </a:cubicBezTo>
                  <a:cubicBezTo>
                    <a:pt x="14" y="71"/>
                    <a:pt x="9" y="64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6"/>
                    <a:pt x="1" y="55"/>
                    <a:pt x="1" y="53"/>
                  </a:cubicBezTo>
                  <a:cubicBezTo>
                    <a:pt x="0" y="52"/>
                    <a:pt x="1" y="51"/>
                    <a:pt x="2" y="49"/>
                  </a:cubicBezTo>
                  <a:cubicBezTo>
                    <a:pt x="3" y="48"/>
                    <a:pt x="4" y="46"/>
                    <a:pt x="5" y="45"/>
                  </a:cubicBezTo>
                  <a:cubicBezTo>
                    <a:pt x="8" y="49"/>
                    <a:pt x="12" y="52"/>
                    <a:pt x="15" y="54"/>
                  </a:cubicBezTo>
                  <a:cubicBezTo>
                    <a:pt x="21" y="58"/>
                    <a:pt x="27" y="61"/>
                    <a:pt x="33" y="63"/>
                  </a:cubicBezTo>
                  <a:cubicBezTo>
                    <a:pt x="44" y="66"/>
                    <a:pt x="59" y="62"/>
                    <a:pt x="64" y="52"/>
                  </a:cubicBezTo>
                  <a:cubicBezTo>
                    <a:pt x="70" y="42"/>
                    <a:pt x="64" y="30"/>
                    <a:pt x="57" y="23"/>
                  </a:cubicBezTo>
                  <a:cubicBezTo>
                    <a:pt x="53" y="20"/>
                    <a:pt x="49" y="17"/>
                    <a:pt x="45" y="14"/>
                  </a:cubicBezTo>
                  <a:cubicBezTo>
                    <a:pt x="43" y="13"/>
                    <a:pt x="41" y="12"/>
                    <a:pt x="39" y="10"/>
                  </a:cubicBezTo>
                  <a:cubicBezTo>
                    <a:pt x="40" y="8"/>
                    <a:pt x="40" y="6"/>
                    <a:pt x="41" y="5"/>
                  </a:cubicBezTo>
                  <a:cubicBezTo>
                    <a:pt x="41" y="3"/>
                    <a:pt x="41" y="2"/>
                    <a:pt x="43" y="1"/>
                  </a:cubicBezTo>
                  <a:cubicBezTo>
                    <a:pt x="43" y="0"/>
                    <a:pt x="45" y="0"/>
                    <a:pt x="46" y="0"/>
                  </a:cubicBezTo>
                  <a:cubicBezTo>
                    <a:pt x="51" y="4"/>
                    <a:pt x="56" y="8"/>
                    <a:pt x="61" y="12"/>
                  </a:cubicBezTo>
                  <a:cubicBezTo>
                    <a:pt x="67" y="17"/>
                    <a:pt x="72" y="23"/>
                    <a:pt x="75" y="30"/>
                  </a:cubicBezTo>
                  <a:cubicBezTo>
                    <a:pt x="81" y="42"/>
                    <a:pt x="81" y="58"/>
                    <a:pt x="73" y="68"/>
                  </a:cubicBezTo>
                  <a:cubicBezTo>
                    <a:pt x="65" y="78"/>
                    <a:pt x="52" y="81"/>
                    <a:pt x="40" y="81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ṡlïḍè"/>
            <p:cNvSpPr/>
            <p:nvPr/>
          </p:nvSpPr>
          <p:spPr bwMode="auto">
            <a:xfrm>
              <a:off x="3643659" y="3830252"/>
              <a:ext cx="504740" cy="254064"/>
            </a:xfrm>
            <a:custGeom>
              <a:avLst/>
              <a:gdLst>
                <a:gd name="T0" fmla="*/ 40 w 72"/>
                <a:gd name="T1" fmla="*/ 36 h 36"/>
                <a:gd name="T2" fmla="*/ 40 w 72"/>
                <a:gd name="T3" fmla="*/ 36 h 36"/>
                <a:gd name="T4" fmla="*/ 21 w 72"/>
                <a:gd name="T5" fmla="*/ 30 h 36"/>
                <a:gd name="T6" fmla="*/ 3 w 72"/>
                <a:gd name="T7" fmla="*/ 13 h 36"/>
                <a:gd name="T8" fmla="*/ 2 w 72"/>
                <a:gd name="T9" fmla="*/ 12 h 36"/>
                <a:gd name="T10" fmla="*/ 1 w 72"/>
                <a:gd name="T11" fmla="*/ 8 h 36"/>
                <a:gd name="T12" fmla="*/ 2 w 72"/>
                <a:gd name="T13" fmla="*/ 4 h 36"/>
                <a:gd name="T14" fmla="*/ 5 w 72"/>
                <a:gd name="T15" fmla="*/ 0 h 36"/>
                <a:gd name="T16" fmla="*/ 15 w 72"/>
                <a:gd name="T17" fmla="*/ 9 h 36"/>
                <a:gd name="T18" fmla="*/ 33 w 72"/>
                <a:gd name="T19" fmla="*/ 18 h 36"/>
                <a:gd name="T20" fmla="*/ 46 w 72"/>
                <a:gd name="T21" fmla="*/ 18 h 36"/>
                <a:gd name="T22" fmla="*/ 72 w 72"/>
                <a:gd name="T23" fmla="*/ 24 h 36"/>
                <a:gd name="T24" fmla="*/ 40 w 72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36">
                  <a:moveTo>
                    <a:pt x="40" y="36"/>
                  </a:moveTo>
                  <a:cubicBezTo>
                    <a:pt x="40" y="36"/>
                    <a:pt x="40" y="36"/>
                    <a:pt x="40" y="36"/>
                  </a:cubicBezTo>
                  <a:cubicBezTo>
                    <a:pt x="34" y="36"/>
                    <a:pt x="27" y="34"/>
                    <a:pt x="21" y="30"/>
                  </a:cubicBezTo>
                  <a:cubicBezTo>
                    <a:pt x="14" y="26"/>
                    <a:pt x="9" y="19"/>
                    <a:pt x="3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3" y="3"/>
                    <a:pt x="4" y="1"/>
                    <a:pt x="5" y="0"/>
                  </a:cubicBezTo>
                  <a:cubicBezTo>
                    <a:pt x="8" y="4"/>
                    <a:pt x="12" y="7"/>
                    <a:pt x="15" y="9"/>
                  </a:cubicBezTo>
                  <a:cubicBezTo>
                    <a:pt x="21" y="13"/>
                    <a:pt x="27" y="16"/>
                    <a:pt x="33" y="18"/>
                  </a:cubicBezTo>
                  <a:cubicBezTo>
                    <a:pt x="37" y="19"/>
                    <a:pt x="42" y="19"/>
                    <a:pt x="46" y="18"/>
                  </a:cubicBezTo>
                  <a:cubicBezTo>
                    <a:pt x="53" y="21"/>
                    <a:pt x="62" y="23"/>
                    <a:pt x="72" y="24"/>
                  </a:cubicBezTo>
                  <a:cubicBezTo>
                    <a:pt x="64" y="33"/>
                    <a:pt x="52" y="36"/>
                    <a:pt x="40" y="36"/>
                  </a:cubicBezTo>
                  <a:close/>
                </a:path>
              </a:pathLst>
            </a:custGeom>
            <a:solidFill>
              <a:srgbClr val="D1A5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ŝḻíďè"/>
            <p:cNvSpPr/>
            <p:nvPr/>
          </p:nvSpPr>
          <p:spPr bwMode="auto">
            <a:xfrm>
              <a:off x="4988498" y="3776052"/>
              <a:ext cx="105014" cy="315039"/>
            </a:xfrm>
            <a:custGeom>
              <a:avLst/>
              <a:gdLst>
                <a:gd name="T0" fmla="*/ 5 w 15"/>
                <a:gd name="T1" fmla="*/ 7 h 45"/>
                <a:gd name="T2" fmla="*/ 5 w 15"/>
                <a:gd name="T3" fmla="*/ 7 h 45"/>
                <a:gd name="T4" fmla="*/ 10 w 15"/>
                <a:gd name="T5" fmla="*/ 0 h 45"/>
                <a:gd name="T6" fmla="*/ 15 w 15"/>
                <a:gd name="T7" fmla="*/ 45 h 45"/>
                <a:gd name="T8" fmla="*/ 14 w 15"/>
                <a:gd name="T9" fmla="*/ 44 h 45"/>
                <a:gd name="T10" fmla="*/ 2 w 15"/>
                <a:gd name="T11" fmla="*/ 27 h 45"/>
                <a:gd name="T12" fmla="*/ 5 w 1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5"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2"/>
                    <a:pt x="10" y="0"/>
                  </a:cubicBezTo>
                  <a:cubicBezTo>
                    <a:pt x="10" y="15"/>
                    <a:pt x="11" y="30"/>
                    <a:pt x="15" y="45"/>
                  </a:cubicBezTo>
                  <a:cubicBezTo>
                    <a:pt x="15" y="45"/>
                    <a:pt x="14" y="44"/>
                    <a:pt x="14" y="44"/>
                  </a:cubicBezTo>
                  <a:cubicBezTo>
                    <a:pt x="8" y="39"/>
                    <a:pt x="4" y="34"/>
                    <a:pt x="2" y="27"/>
                  </a:cubicBezTo>
                  <a:cubicBezTo>
                    <a:pt x="0" y="20"/>
                    <a:pt x="1" y="13"/>
                    <a:pt x="5" y="7"/>
                  </a:cubicBezTo>
                  <a:close/>
                </a:path>
              </a:pathLst>
            </a:custGeom>
            <a:solidFill>
              <a:srgbClr val="EB86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ṡ1iḓè"/>
            <p:cNvSpPr/>
            <p:nvPr/>
          </p:nvSpPr>
          <p:spPr bwMode="auto">
            <a:xfrm>
              <a:off x="5530499" y="2573487"/>
              <a:ext cx="172764" cy="315039"/>
            </a:xfrm>
            <a:custGeom>
              <a:avLst/>
              <a:gdLst>
                <a:gd name="T0" fmla="*/ 11 w 25"/>
                <a:gd name="T1" fmla="*/ 37 h 45"/>
                <a:gd name="T2" fmla="*/ 11 w 25"/>
                <a:gd name="T3" fmla="*/ 37 h 45"/>
                <a:gd name="T4" fmla="*/ 6 w 25"/>
                <a:gd name="T5" fmla="*/ 21 h 45"/>
                <a:gd name="T6" fmla="*/ 10 w 25"/>
                <a:gd name="T7" fmla="*/ 1 h 45"/>
                <a:gd name="T8" fmla="*/ 18 w 25"/>
                <a:gd name="T9" fmla="*/ 17 h 45"/>
                <a:gd name="T10" fmla="*/ 22 w 25"/>
                <a:gd name="T11" fmla="*/ 30 h 45"/>
                <a:gd name="T12" fmla="*/ 24 w 25"/>
                <a:gd name="T13" fmla="*/ 37 h 45"/>
                <a:gd name="T14" fmla="*/ 25 w 25"/>
                <a:gd name="T15" fmla="*/ 40 h 45"/>
                <a:gd name="T16" fmla="*/ 14 w 25"/>
                <a:gd name="T17" fmla="*/ 44 h 45"/>
                <a:gd name="T18" fmla="*/ 12 w 25"/>
                <a:gd name="T19" fmla="*/ 45 h 45"/>
                <a:gd name="T20" fmla="*/ 11 w 25"/>
                <a:gd name="T2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45">
                  <a:moveTo>
                    <a:pt x="11" y="37"/>
                  </a:moveTo>
                  <a:cubicBezTo>
                    <a:pt x="11" y="37"/>
                    <a:pt x="11" y="37"/>
                    <a:pt x="11" y="37"/>
                  </a:cubicBezTo>
                  <a:cubicBezTo>
                    <a:pt x="10" y="32"/>
                    <a:pt x="8" y="27"/>
                    <a:pt x="6" y="21"/>
                  </a:cubicBezTo>
                  <a:cubicBezTo>
                    <a:pt x="3" y="14"/>
                    <a:pt x="0" y="3"/>
                    <a:pt x="10" y="1"/>
                  </a:cubicBezTo>
                  <a:cubicBezTo>
                    <a:pt x="15" y="0"/>
                    <a:pt x="17" y="13"/>
                    <a:pt x="18" y="17"/>
                  </a:cubicBezTo>
                  <a:cubicBezTo>
                    <a:pt x="19" y="21"/>
                    <a:pt x="20" y="25"/>
                    <a:pt x="22" y="30"/>
                  </a:cubicBezTo>
                  <a:cubicBezTo>
                    <a:pt x="23" y="32"/>
                    <a:pt x="24" y="35"/>
                    <a:pt x="24" y="37"/>
                  </a:cubicBezTo>
                  <a:cubicBezTo>
                    <a:pt x="25" y="38"/>
                    <a:pt x="25" y="39"/>
                    <a:pt x="25" y="40"/>
                  </a:cubicBezTo>
                  <a:cubicBezTo>
                    <a:pt x="21" y="41"/>
                    <a:pt x="18" y="43"/>
                    <a:pt x="14" y="44"/>
                  </a:cubicBezTo>
                  <a:cubicBezTo>
                    <a:pt x="13" y="45"/>
                    <a:pt x="13" y="45"/>
                    <a:pt x="12" y="45"/>
                  </a:cubicBezTo>
                  <a:cubicBezTo>
                    <a:pt x="12" y="43"/>
                    <a:pt x="11" y="40"/>
                    <a:pt x="11" y="37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ṧľiḓe"/>
            <p:cNvSpPr/>
            <p:nvPr/>
          </p:nvSpPr>
          <p:spPr bwMode="auto">
            <a:xfrm>
              <a:off x="6682251" y="2600587"/>
              <a:ext cx="220189" cy="311651"/>
            </a:xfrm>
            <a:custGeom>
              <a:avLst/>
              <a:gdLst>
                <a:gd name="T0" fmla="*/ 8 w 31"/>
                <a:gd name="T1" fmla="*/ 20 h 44"/>
                <a:gd name="T2" fmla="*/ 8 w 31"/>
                <a:gd name="T3" fmla="*/ 20 h 44"/>
                <a:gd name="T4" fmla="*/ 23 w 31"/>
                <a:gd name="T5" fmla="*/ 1 h 44"/>
                <a:gd name="T6" fmla="*/ 29 w 31"/>
                <a:gd name="T7" fmla="*/ 6 h 44"/>
                <a:gd name="T8" fmla="*/ 27 w 31"/>
                <a:gd name="T9" fmla="*/ 21 h 44"/>
                <a:gd name="T10" fmla="*/ 18 w 31"/>
                <a:gd name="T11" fmla="*/ 36 h 44"/>
                <a:gd name="T12" fmla="*/ 13 w 31"/>
                <a:gd name="T13" fmla="*/ 44 h 44"/>
                <a:gd name="T14" fmla="*/ 0 w 31"/>
                <a:gd name="T15" fmla="*/ 37 h 44"/>
                <a:gd name="T16" fmla="*/ 8 w 31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4"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11" y="13"/>
                    <a:pt x="16" y="4"/>
                    <a:pt x="23" y="1"/>
                  </a:cubicBezTo>
                  <a:cubicBezTo>
                    <a:pt x="27" y="0"/>
                    <a:pt x="29" y="3"/>
                    <a:pt x="29" y="6"/>
                  </a:cubicBezTo>
                  <a:cubicBezTo>
                    <a:pt x="31" y="11"/>
                    <a:pt x="29" y="16"/>
                    <a:pt x="27" y="21"/>
                  </a:cubicBezTo>
                  <a:cubicBezTo>
                    <a:pt x="24" y="26"/>
                    <a:pt x="21" y="31"/>
                    <a:pt x="18" y="36"/>
                  </a:cubicBezTo>
                  <a:cubicBezTo>
                    <a:pt x="16" y="39"/>
                    <a:pt x="14" y="41"/>
                    <a:pt x="13" y="44"/>
                  </a:cubicBezTo>
                  <a:cubicBezTo>
                    <a:pt x="9" y="42"/>
                    <a:pt x="4" y="39"/>
                    <a:pt x="0" y="37"/>
                  </a:cubicBezTo>
                  <a:cubicBezTo>
                    <a:pt x="3" y="32"/>
                    <a:pt x="6" y="26"/>
                    <a:pt x="8" y="20"/>
                  </a:cubicBezTo>
                  <a:close/>
                </a:path>
              </a:pathLst>
            </a:custGeom>
            <a:solidFill>
              <a:srgbClr val="FFC9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ṩlîḑe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ṥlíḋê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ṥļíď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493220"/>
            </a:solidFill>
            <a:ln w="6350" cap="flat">
              <a:solidFill>
                <a:srgbClr val="FBBA20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ŝliḑe"/>
            <p:cNvSpPr/>
            <p:nvPr/>
          </p:nvSpPr>
          <p:spPr bwMode="auto">
            <a:xfrm>
              <a:off x="6492551" y="3840416"/>
              <a:ext cx="359076" cy="555552"/>
            </a:xfrm>
            <a:custGeom>
              <a:avLst/>
              <a:gdLst>
                <a:gd name="T0" fmla="*/ 37 w 51"/>
                <a:gd name="T1" fmla="*/ 77 h 79"/>
                <a:gd name="T2" fmla="*/ 37 w 51"/>
                <a:gd name="T3" fmla="*/ 77 h 79"/>
                <a:gd name="T4" fmla="*/ 17 w 51"/>
                <a:gd name="T5" fmla="*/ 79 h 79"/>
                <a:gd name="T6" fmla="*/ 4 w 51"/>
                <a:gd name="T7" fmla="*/ 75 h 79"/>
                <a:gd name="T8" fmla="*/ 1 w 51"/>
                <a:gd name="T9" fmla="*/ 66 h 79"/>
                <a:gd name="T10" fmla="*/ 2 w 51"/>
                <a:gd name="T11" fmla="*/ 40 h 79"/>
                <a:gd name="T12" fmla="*/ 3 w 51"/>
                <a:gd name="T13" fmla="*/ 0 h 79"/>
                <a:gd name="T14" fmla="*/ 7 w 51"/>
                <a:gd name="T15" fmla="*/ 0 h 79"/>
                <a:gd name="T16" fmla="*/ 14 w 51"/>
                <a:gd name="T17" fmla="*/ 0 h 79"/>
                <a:gd name="T18" fmla="*/ 28 w 51"/>
                <a:gd name="T19" fmla="*/ 1 h 79"/>
                <a:gd name="T20" fmla="*/ 42 w 51"/>
                <a:gd name="T21" fmla="*/ 2 h 79"/>
                <a:gd name="T22" fmla="*/ 47 w 51"/>
                <a:gd name="T23" fmla="*/ 2 h 79"/>
                <a:gd name="T24" fmla="*/ 50 w 51"/>
                <a:gd name="T25" fmla="*/ 2 h 79"/>
                <a:gd name="T26" fmla="*/ 50 w 51"/>
                <a:gd name="T27" fmla="*/ 2 h 79"/>
                <a:gd name="T28" fmla="*/ 50 w 51"/>
                <a:gd name="T29" fmla="*/ 19 h 79"/>
                <a:gd name="T30" fmla="*/ 50 w 51"/>
                <a:gd name="T31" fmla="*/ 42 h 79"/>
                <a:gd name="T32" fmla="*/ 50 w 51"/>
                <a:gd name="T33" fmla="*/ 63 h 79"/>
                <a:gd name="T34" fmla="*/ 50 w 51"/>
                <a:gd name="T35" fmla="*/ 75 h 79"/>
                <a:gd name="T36" fmla="*/ 37 w 51"/>
                <a:gd name="T3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79">
                  <a:moveTo>
                    <a:pt x="37" y="77"/>
                  </a:moveTo>
                  <a:cubicBezTo>
                    <a:pt x="37" y="77"/>
                    <a:pt x="37" y="77"/>
                    <a:pt x="37" y="77"/>
                  </a:cubicBezTo>
                  <a:cubicBezTo>
                    <a:pt x="30" y="78"/>
                    <a:pt x="24" y="79"/>
                    <a:pt x="17" y="79"/>
                  </a:cubicBezTo>
                  <a:cubicBezTo>
                    <a:pt x="13" y="79"/>
                    <a:pt x="7" y="78"/>
                    <a:pt x="4" y="75"/>
                  </a:cubicBezTo>
                  <a:cubicBezTo>
                    <a:pt x="1" y="73"/>
                    <a:pt x="1" y="69"/>
                    <a:pt x="1" y="66"/>
                  </a:cubicBezTo>
                  <a:cubicBezTo>
                    <a:pt x="0" y="57"/>
                    <a:pt x="2" y="48"/>
                    <a:pt x="2" y="40"/>
                  </a:cubicBezTo>
                  <a:cubicBezTo>
                    <a:pt x="2" y="26"/>
                    <a:pt x="2" y="13"/>
                    <a:pt x="3" y="0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2" y="0"/>
                    <a:pt x="14" y="0"/>
                  </a:cubicBezTo>
                  <a:cubicBezTo>
                    <a:pt x="19" y="0"/>
                    <a:pt x="24" y="1"/>
                    <a:pt x="28" y="1"/>
                  </a:cubicBezTo>
                  <a:cubicBezTo>
                    <a:pt x="33" y="1"/>
                    <a:pt x="38" y="2"/>
                    <a:pt x="42" y="2"/>
                  </a:cubicBezTo>
                  <a:cubicBezTo>
                    <a:pt x="44" y="2"/>
                    <a:pt x="46" y="2"/>
                    <a:pt x="47" y="2"/>
                  </a:cubicBezTo>
                  <a:cubicBezTo>
                    <a:pt x="48" y="2"/>
                    <a:pt x="49" y="2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7"/>
                    <a:pt x="50" y="13"/>
                    <a:pt x="50" y="19"/>
                  </a:cubicBezTo>
                  <a:cubicBezTo>
                    <a:pt x="50" y="27"/>
                    <a:pt x="50" y="34"/>
                    <a:pt x="50" y="42"/>
                  </a:cubicBezTo>
                  <a:cubicBezTo>
                    <a:pt x="50" y="49"/>
                    <a:pt x="51" y="56"/>
                    <a:pt x="50" y="63"/>
                  </a:cubicBezTo>
                  <a:cubicBezTo>
                    <a:pt x="50" y="67"/>
                    <a:pt x="49" y="71"/>
                    <a:pt x="50" y="75"/>
                  </a:cubicBezTo>
                  <a:cubicBezTo>
                    <a:pt x="45" y="75"/>
                    <a:pt x="41" y="76"/>
                    <a:pt x="37" y="77"/>
                  </a:cubicBezTo>
                  <a:close/>
                </a:path>
              </a:pathLst>
            </a:custGeom>
            <a:solidFill>
              <a:srgbClr val="8A63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ṧlidé"/>
            <p:cNvSpPr/>
            <p:nvPr/>
          </p:nvSpPr>
          <p:spPr bwMode="auto">
            <a:xfrm>
              <a:off x="6536589" y="3847191"/>
              <a:ext cx="315039" cy="548777"/>
            </a:xfrm>
            <a:custGeom>
              <a:avLst/>
              <a:gdLst>
                <a:gd name="T0" fmla="*/ 31 w 45"/>
                <a:gd name="T1" fmla="*/ 76 h 78"/>
                <a:gd name="T2" fmla="*/ 31 w 45"/>
                <a:gd name="T3" fmla="*/ 76 h 78"/>
                <a:gd name="T4" fmla="*/ 11 w 45"/>
                <a:gd name="T5" fmla="*/ 78 h 78"/>
                <a:gd name="T6" fmla="*/ 0 w 45"/>
                <a:gd name="T7" fmla="*/ 75 h 78"/>
                <a:gd name="T8" fmla="*/ 25 w 45"/>
                <a:gd name="T9" fmla="*/ 0 h 78"/>
                <a:gd name="T10" fmla="*/ 25 w 45"/>
                <a:gd name="T11" fmla="*/ 0 h 78"/>
                <a:gd name="T12" fmla="*/ 36 w 45"/>
                <a:gd name="T13" fmla="*/ 1 h 78"/>
                <a:gd name="T14" fmla="*/ 41 w 45"/>
                <a:gd name="T15" fmla="*/ 1 h 78"/>
                <a:gd name="T16" fmla="*/ 44 w 45"/>
                <a:gd name="T17" fmla="*/ 1 h 78"/>
                <a:gd name="T18" fmla="*/ 44 w 45"/>
                <a:gd name="T19" fmla="*/ 1 h 78"/>
                <a:gd name="T20" fmla="*/ 44 w 45"/>
                <a:gd name="T21" fmla="*/ 18 h 78"/>
                <a:gd name="T22" fmla="*/ 44 w 45"/>
                <a:gd name="T23" fmla="*/ 41 h 78"/>
                <a:gd name="T24" fmla="*/ 44 w 45"/>
                <a:gd name="T25" fmla="*/ 62 h 78"/>
                <a:gd name="T26" fmla="*/ 44 w 45"/>
                <a:gd name="T27" fmla="*/ 74 h 78"/>
                <a:gd name="T28" fmla="*/ 31 w 45"/>
                <a:gd name="T29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78"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4" y="77"/>
                    <a:pt x="18" y="78"/>
                    <a:pt x="11" y="78"/>
                  </a:cubicBezTo>
                  <a:cubicBezTo>
                    <a:pt x="7" y="78"/>
                    <a:pt x="3" y="77"/>
                    <a:pt x="0" y="75"/>
                  </a:cubicBezTo>
                  <a:cubicBezTo>
                    <a:pt x="44" y="58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1"/>
                    <a:pt x="33" y="1"/>
                    <a:pt x="36" y="1"/>
                  </a:cubicBezTo>
                  <a:cubicBezTo>
                    <a:pt x="38" y="1"/>
                    <a:pt x="40" y="1"/>
                    <a:pt x="41" y="1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6"/>
                    <a:pt x="44" y="12"/>
                    <a:pt x="44" y="18"/>
                  </a:cubicBezTo>
                  <a:cubicBezTo>
                    <a:pt x="44" y="26"/>
                    <a:pt x="44" y="33"/>
                    <a:pt x="44" y="41"/>
                  </a:cubicBezTo>
                  <a:cubicBezTo>
                    <a:pt x="44" y="48"/>
                    <a:pt x="45" y="55"/>
                    <a:pt x="44" y="62"/>
                  </a:cubicBezTo>
                  <a:cubicBezTo>
                    <a:pt x="44" y="66"/>
                    <a:pt x="43" y="70"/>
                    <a:pt x="44" y="74"/>
                  </a:cubicBezTo>
                  <a:cubicBezTo>
                    <a:pt x="39" y="74"/>
                    <a:pt x="35" y="75"/>
                    <a:pt x="31" y="76"/>
                  </a:cubicBezTo>
                  <a:close/>
                </a:path>
              </a:pathLst>
            </a:custGeom>
            <a:solidFill>
              <a:srgbClr val="6B4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šļiďê"/>
            <p:cNvSpPr/>
            <p:nvPr/>
          </p:nvSpPr>
          <p:spPr bwMode="auto">
            <a:xfrm>
              <a:off x="5401774" y="3101938"/>
              <a:ext cx="1520992" cy="525065"/>
            </a:xfrm>
            <a:custGeom>
              <a:avLst/>
              <a:gdLst>
                <a:gd name="T0" fmla="*/ 197 w 216"/>
                <a:gd name="T1" fmla="*/ 4 h 75"/>
                <a:gd name="T2" fmla="*/ 183 w 216"/>
                <a:gd name="T3" fmla="*/ 3 h 75"/>
                <a:gd name="T4" fmla="*/ 175 w 216"/>
                <a:gd name="T5" fmla="*/ 3 h 75"/>
                <a:gd name="T6" fmla="*/ 165 w 216"/>
                <a:gd name="T7" fmla="*/ 3 h 75"/>
                <a:gd name="T8" fmla="*/ 155 w 216"/>
                <a:gd name="T9" fmla="*/ 3 h 75"/>
                <a:gd name="T10" fmla="*/ 133 w 216"/>
                <a:gd name="T11" fmla="*/ 2 h 75"/>
                <a:gd name="T12" fmla="*/ 111 w 216"/>
                <a:gd name="T13" fmla="*/ 1 h 75"/>
                <a:gd name="T14" fmla="*/ 90 w 216"/>
                <a:gd name="T15" fmla="*/ 0 h 75"/>
                <a:gd name="T16" fmla="*/ 68 w 216"/>
                <a:gd name="T17" fmla="*/ 2 h 75"/>
                <a:gd name="T18" fmla="*/ 40 w 216"/>
                <a:gd name="T19" fmla="*/ 5 h 75"/>
                <a:gd name="T20" fmla="*/ 35 w 216"/>
                <a:gd name="T21" fmla="*/ 5 h 75"/>
                <a:gd name="T22" fmla="*/ 27 w 216"/>
                <a:gd name="T23" fmla="*/ 6 h 75"/>
                <a:gd name="T24" fmla="*/ 12 w 216"/>
                <a:gd name="T25" fmla="*/ 14 h 75"/>
                <a:gd name="T26" fmla="*/ 0 w 216"/>
                <a:gd name="T27" fmla="*/ 47 h 75"/>
                <a:gd name="T28" fmla="*/ 3 w 216"/>
                <a:gd name="T29" fmla="*/ 63 h 75"/>
                <a:gd name="T30" fmla="*/ 14 w 216"/>
                <a:gd name="T31" fmla="*/ 71 h 75"/>
                <a:gd name="T32" fmla="*/ 41 w 216"/>
                <a:gd name="T33" fmla="*/ 72 h 75"/>
                <a:gd name="T34" fmla="*/ 42 w 216"/>
                <a:gd name="T35" fmla="*/ 71 h 75"/>
                <a:gd name="T36" fmla="*/ 56 w 216"/>
                <a:gd name="T37" fmla="*/ 72 h 75"/>
                <a:gd name="T38" fmla="*/ 96 w 216"/>
                <a:gd name="T39" fmla="*/ 71 h 75"/>
                <a:gd name="T40" fmla="*/ 136 w 216"/>
                <a:gd name="T41" fmla="*/ 70 h 75"/>
                <a:gd name="T42" fmla="*/ 155 w 216"/>
                <a:gd name="T43" fmla="*/ 70 h 75"/>
                <a:gd name="T44" fmla="*/ 165 w 216"/>
                <a:gd name="T45" fmla="*/ 70 h 75"/>
                <a:gd name="T46" fmla="*/ 171 w 216"/>
                <a:gd name="T47" fmla="*/ 68 h 75"/>
                <a:gd name="T48" fmla="*/ 200 w 216"/>
                <a:gd name="T49" fmla="*/ 62 h 75"/>
                <a:gd name="T50" fmla="*/ 214 w 216"/>
                <a:gd name="T51" fmla="*/ 39 h 75"/>
                <a:gd name="T52" fmla="*/ 209 w 216"/>
                <a:gd name="T53" fmla="*/ 13 h 75"/>
                <a:gd name="T54" fmla="*/ 197 w 216"/>
                <a:gd name="T55" fmla="*/ 4 h 75"/>
                <a:gd name="T56" fmla="*/ 205 w 216"/>
                <a:gd name="T57" fmla="*/ 38 h 75"/>
                <a:gd name="T58" fmla="*/ 205 w 216"/>
                <a:gd name="T59" fmla="*/ 38 h 75"/>
                <a:gd name="T60" fmla="*/ 194 w 216"/>
                <a:gd name="T61" fmla="*/ 56 h 75"/>
                <a:gd name="T62" fmla="*/ 171 w 216"/>
                <a:gd name="T63" fmla="*/ 62 h 75"/>
                <a:gd name="T64" fmla="*/ 156 w 216"/>
                <a:gd name="T65" fmla="*/ 62 h 75"/>
                <a:gd name="T66" fmla="*/ 137 w 216"/>
                <a:gd name="T67" fmla="*/ 62 h 75"/>
                <a:gd name="T68" fmla="*/ 97 w 216"/>
                <a:gd name="T69" fmla="*/ 64 h 75"/>
                <a:gd name="T70" fmla="*/ 58 w 216"/>
                <a:gd name="T71" fmla="*/ 65 h 75"/>
                <a:gd name="T72" fmla="*/ 32 w 216"/>
                <a:gd name="T73" fmla="*/ 66 h 75"/>
                <a:gd name="T74" fmla="*/ 20 w 216"/>
                <a:gd name="T75" fmla="*/ 64 h 75"/>
                <a:gd name="T76" fmla="*/ 11 w 216"/>
                <a:gd name="T77" fmla="*/ 60 h 75"/>
                <a:gd name="T78" fmla="*/ 8 w 216"/>
                <a:gd name="T79" fmla="*/ 48 h 75"/>
                <a:gd name="T80" fmla="*/ 17 w 216"/>
                <a:gd name="T81" fmla="*/ 21 h 75"/>
                <a:gd name="T82" fmla="*/ 37 w 216"/>
                <a:gd name="T83" fmla="*/ 10 h 75"/>
                <a:gd name="T84" fmla="*/ 66 w 216"/>
                <a:gd name="T85" fmla="*/ 10 h 75"/>
                <a:gd name="T86" fmla="*/ 109 w 216"/>
                <a:gd name="T87" fmla="*/ 9 h 75"/>
                <a:gd name="T88" fmla="*/ 151 w 216"/>
                <a:gd name="T89" fmla="*/ 12 h 75"/>
                <a:gd name="T90" fmla="*/ 160 w 216"/>
                <a:gd name="T91" fmla="*/ 11 h 75"/>
                <a:gd name="T92" fmla="*/ 170 w 216"/>
                <a:gd name="T93" fmla="*/ 11 h 75"/>
                <a:gd name="T94" fmla="*/ 179 w 216"/>
                <a:gd name="T95" fmla="*/ 10 h 75"/>
                <a:gd name="T96" fmla="*/ 185 w 216"/>
                <a:gd name="T97" fmla="*/ 10 h 75"/>
                <a:gd name="T98" fmla="*/ 192 w 216"/>
                <a:gd name="T99" fmla="*/ 12 h 75"/>
                <a:gd name="T100" fmla="*/ 201 w 216"/>
                <a:gd name="T101" fmla="*/ 18 h 75"/>
                <a:gd name="T102" fmla="*/ 205 w 216"/>
                <a:gd name="T103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75">
                  <a:moveTo>
                    <a:pt x="197" y="4"/>
                  </a:moveTo>
                  <a:cubicBezTo>
                    <a:pt x="193" y="2"/>
                    <a:pt x="187" y="1"/>
                    <a:pt x="183" y="3"/>
                  </a:cubicBezTo>
                  <a:cubicBezTo>
                    <a:pt x="180" y="2"/>
                    <a:pt x="177" y="3"/>
                    <a:pt x="175" y="3"/>
                  </a:cubicBezTo>
                  <a:cubicBezTo>
                    <a:pt x="171" y="3"/>
                    <a:pt x="168" y="3"/>
                    <a:pt x="165" y="3"/>
                  </a:cubicBezTo>
                  <a:cubicBezTo>
                    <a:pt x="162" y="2"/>
                    <a:pt x="158" y="3"/>
                    <a:pt x="155" y="3"/>
                  </a:cubicBezTo>
                  <a:cubicBezTo>
                    <a:pt x="148" y="4"/>
                    <a:pt x="140" y="3"/>
                    <a:pt x="133" y="2"/>
                  </a:cubicBezTo>
                  <a:cubicBezTo>
                    <a:pt x="126" y="2"/>
                    <a:pt x="119" y="2"/>
                    <a:pt x="111" y="1"/>
                  </a:cubicBezTo>
                  <a:cubicBezTo>
                    <a:pt x="104" y="0"/>
                    <a:pt x="98" y="0"/>
                    <a:pt x="90" y="0"/>
                  </a:cubicBezTo>
                  <a:cubicBezTo>
                    <a:pt x="83" y="0"/>
                    <a:pt x="76" y="1"/>
                    <a:pt x="68" y="2"/>
                  </a:cubicBezTo>
                  <a:cubicBezTo>
                    <a:pt x="59" y="3"/>
                    <a:pt x="50" y="4"/>
                    <a:pt x="40" y="5"/>
                  </a:cubicBezTo>
                  <a:cubicBezTo>
                    <a:pt x="39" y="5"/>
                    <a:pt x="37" y="4"/>
                    <a:pt x="35" y="5"/>
                  </a:cubicBezTo>
                  <a:cubicBezTo>
                    <a:pt x="32" y="5"/>
                    <a:pt x="30" y="5"/>
                    <a:pt x="27" y="6"/>
                  </a:cubicBezTo>
                  <a:cubicBezTo>
                    <a:pt x="21" y="7"/>
                    <a:pt x="16" y="10"/>
                    <a:pt x="12" y="14"/>
                  </a:cubicBezTo>
                  <a:cubicBezTo>
                    <a:pt x="2" y="23"/>
                    <a:pt x="0" y="34"/>
                    <a:pt x="0" y="47"/>
                  </a:cubicBezTo>
                  <a:cubicBezTo>
                    <a:pt x="0" y="52"/>
                    <a:pt x="0" y="58"/>
                    <a:pt x="3" y="63"/>
                  </a:cubicBezTo>
                  <a:cubicBezTo>
                    <a:pt x="6" y="67"/>
                    <a:pt x="10" y="69"/>
                    <a:pt x="14" y="71"/>
                  </a:cubicBezTo>
                  <a:cubicBezTo>
                    <a:pt x="22" y="74"/>
                    <a:pt x="33" y="75"/>
                    <a:pt x="41" y="72"/>
                  </a:cubicBezTo>
                  <a:cubicBezTo>
                    <a:pt x="42" y="72"/>
                    <a:pt x="42" y="72"/>
                    <a:pt x="42" y="71"/>
                  </a:cubicBezTo>
                  <a:cubicBezTo>
                    <a:pt x="47" y="71"/>
                    <a:pt x="52" y="72"/>
                    <a:pt x="56" y="72"/>
                  </a:cubicBezTo>
                  <a:cubicBezTo>
                    <a:pt x="70" y="72"/>
                    <a:pt x="83" y="71"/>
                    <a:pt x="96" y="71"/>
                  </a:cubicBezTo>
                  <a:cubicBezTo>
                    <a:pt x="109" y="71"/>
                    <a:pt x="122" y="70"/>
                    <a:pt x="136" y="70"/>
                  </a:cubicBezTo>
                  <a:cubicBezTo>
                    <a:pt x="142" y="70"/>
                    <a:pt x="149" y="70"/>
                    <a:pt x="155" y="70"/>
                  </a:cubicBezTo>
                  <a:cubicBezTo>
                    <a:pt x="158" y="70"/>
                    <a:pt x="162" y="70"/>
                    <a:pt x="165" y="70"/>
                  </a:cubicBezTo>
                  <a:cubicBezTo>
                    <a:pt x="167" y="69"/>
                    <a:pt x="170" y="69"/>
                    <a:pt x="171" y="68"/>
                  </a:cubicBezTo>
                  <a:cubicBezTo>
                    <a:pt x="181" y="69"/>
                    <a:pt x="192" y="68"/>
                    <a:pt x="200" y="62"/>
                  </a:cubicBezTo>
                  <a:cubicBezTo>
                    <a:pt x="207" y="57"/>
                    <a:pt x="212" y="48"/>
                    <a:pt x="214" y="39"/>
                  </a:cubicBezTo>
                  <a:cubicBezTo>
                    <a:pt x="216" y="30"/>
                    <a:pt x="215" y="21"/>
                    <a:pt x="209" y="13"/>
                  </a:cubicBezTo>
                  <a:cubicBezTo>
                    <a:pt x="206" y="8"/>
                    <a:pt x="202" y="6"/>
                    <a:pt x="197" y="4"/>
                  </a:cubicBezTo>
                  <a:close/>
                  <a:moveTo>
                    <a:pt x="205" y="38"/>
                  </a:moveTo>
                  <a:cubicBezTo>
                    <a:pt x="205" y="38"/>
                    <a:pt x="205" y="38"/>
                    <a:pt x="205" y="38"/>
                  </a:cubicBezTo>
                  <a:cubicBezTo>
                    <a:pt x="204" y="45"/>
                    <a:pt x="200" y="51"/>
                    <a:pt x="194" y="56"/>
                  </a:cubicBezTo>
                  <a:cubicBezTo>
                    <a:pt x="188" y="60"/>
                    <a:pt x="179" y="61"/>
                    <a:pt x="171" y="62"/>
                  </a:cubicBezTo>
                  <a:cubicBezTo>
                    <a:pt x="167" y="60"/>
                    <a:pt x="161" y="62"/>
                    <a:pt x="156" y="62"/>
                  </a:cubicBezTo>
                  <a:cubicBezTo>
                    <a:pt x="150" y="62"/>
                    <a:pt x="143" y="62"/>
                    <a:pt x="137" y="62"/>
                  </a:cubicBezTo>
                  <a:cubicBezTo>
                    <a:pt x="124" y="62"/>
                    <a:pt x="110" y="63"/>
                    <a:pt x="97" y="64"/>
                  </a:cubicBezTo>
                  <a:cubicBezTo>
                    <a:pt x="84" y="64"/>
                    <a:pt x="71" y="65"/>
                    <a:pt x="58" y="65"/>
                  </a:cubicBezTo>
                  <a:cubicBezTo>
                    <a:pt x="49" y="65"/>
                    <a:pt x="40" y="66"/>
                    <a:pt x="32" y="66"/>
                  </a:cubicBezTo>
                  <a:cubicBezTo>
                    <a:pt x="28" y="65"/>
                    <a:pt x="24" y="65"/>
                    <a:pt x="20" y="64"/>
                  </a:cubicBezTo>
                  <a:cubicBezTo>
                    <a:pt x="17" y="63"/>
                    <a:pt x="13" y="62"/>
                    <a:pt x="11" y="60"/>
                  </a:cubicBezTo>
                  <a:cubicBezTo>
                    <a:pt x="8" y="57"/>
                    <a:pt x="8" y="51"/>
                    <a:pt x="8" y="48"/>
                  </a:cubicBezTo>
                  <a:cubicBezTo>
                    <a:pt x="8" y="37"/>
                    <a:pt x="10" y="29"/>
                    <a:pt x="17" y="21"/>
                  </a:cubicBezTo>
                  <a:cubicBezTo>
                    <a:pt x="23" y="15"/>
                    <a:pt x="30" y="13"/>
                    <a:pt x="37" y="10"/>
                  </a:cubicBezTo>
                  <a:cubicBezTo>
                    <a:pt x="47" y="11"/>
                    <a:pt x="56" y="11"/>
                    <a:pt x="66" y="10"/>
                  </a:cubicBezTo>
                  <a:cubicBezTo>
                    <a:pt x="80" y="9"/>
                    <a:pt x="94" y="7"/>
                    <a:pt x="109" y="9"/>
                  </a:cubicBezTo>
                  <a:cubicBezTo>
                    <a:pt x="123" y="11"/>
                    <a:pt x="137" y="11"/>
                    <a:pt x="151" y="12"/>
                  </a:cubicBezTo>
                  <a:cubicBezTo>
                    <a:pt x="154" y="12"/>
                    <a:pt x="157" y="11"/>
                    <a:pt x="160" y="11"/>
                  </a:cubicBezTo>
                  <a:cubicBezTo>
                    <a:pt x="163" y="11"/>
                    <a:pt x="166" y="11"/>
                    <a:pt x="170" y="11"/>
                  </a:cubicBezTo>
                  <a:cubicBezTo>
                    <a:pt x="173" y="11"/>
                    <a:pt x="176" y="10"/>
                    <a:pt x="179" y="10"/>
                  </a:cubicBezTo>
                  <a:cubicBezTo>
                    <a:pt x="181" y="10"/>
                    <a:pt x="183" y="10"/>
                    <a:pt x="185" y="10"/>
                  </a:cubicBezTo>
                  <a:cubicBezTo>
                    <a:pt x="187" y="11"/>
                    <a:pt x="190" y="12"/>
                    <a:pt x="192" y="12"/>
                  </a:cubicBezTo>
                  <a:cubicBezTo>
                    <a:pt x="195" y="14"/>
                    <a:pt x="198" y="15"/>
                    <a:pt x="201" y="18"/>
                  </a:cubicBezTo>
                  <a:cubicBezTo>
                    <a:pt x="206" y="23"/>
                    <a:pt x="206" y="31"/>
                    <a:pt x="205" y="38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ṡlïḍè"/>
            <p:cNvSpPr/>
            <p:nvPr/>
          </p:nvSpPr>
          <p:spPr bwMode="auto">
            <a:xfrm>
              <a:off x="5754074" y="3234050"/>
              <a:ext cx="226964" cy="203251"/>
            </a:xfrm>
            <a:custGeom>
              <a:avLst/>
              <a:gdLst>
                <a:gd name="T0" fmla="*/ 18 w 32"/>
                <a:gd name="T1" fmla="*/ 1 h 29"/>
                <a:gd name="T2" fmla="*/ 5 w 32"/>
                <a:gd name="T3" fmla="*/ 6 h 29"/>
                <a:gd name="T4" fmla="*/ 4 w 32"/>
                <a:gd name="T5" fmla="*/ 7 h 29"/>
                <a:gd name="T6" fmla="*/ 4 w 32"/>
                <a:gd name="T7" fmla="*/ 8 h 29"/>
                <a:gd name="T8" fmla="*/ 7 w 32"/>
                <a:gd name="T9" fmla="*/ 22 h 29"/>
                <a:gd name="T10" fmla="*/ 29 w 32"/>
                <a:gd name="T11" fmla="*/ 10 h 29"/>
                <a:gd name="T12" fmla="*/ 18 w 32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9">
                  <a:moveTo>
                    <a:pt x="18" y="1"/>
                  </a:moveTo>
                  <a:cubicBezTo>
                    <a:pt x="13" y="0"/>
                    <a:pt x="7" y="1"/>
                    <a:pt x="5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0" y="13"/>
                    <a:pt x="3" y="19"/>
                    <a:pt x="7" y="22"/>
                  </a:cubicBezTo>
                  <a:cubicBezTo>
                    <a:pt x="16" y="29"/>
                    <a:pt x="32" y="22"/>
                    <a:pt x="29" y="10"/>
                  </a:cubicBezTo>
                  <a:cubicBezTo>
                    <a:pt x="28" y="5"/>
                    <a:pt x="23" y="2"/>
                    <a:pt x="18" y="1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ṣliḓe"/>
            <p:cNvSpPr/>
            <p:nvPr/>
          </p:nvSpPr>
          <p:spPr bwMode="auto">
            <a:xfrm>
              <a:off x="6353664" y="3206950"/>
              <a:ext cx="216800" cy="189701"/>
            </a:xfrm>
            <a:custGeom>
              <a:avLst/>
              <a:gdLst>
                <a:gd name="T0" fmla="*/ 26 w 31"/>
                <a:gd name="T1" fmla="*/ 5 h 27"/>
                <a:gd name="T2" fmla="*/ 9 w 31"/>
                <a:gd name="T3" fmla="*/ 2 h 27"/>
                <a:gd name="T4" fmla="*/ 6 w 31"/>
                <a:gd name="T5" fmla="*/ 5 h 27"/>
                <a:gd name="T6" fmla="*/ 0 w 31"/>
                <a:gd name="T7" fmla="*/ 15 h 27"/>
                <a:gd name="T8" fmla="*/ 13 w 31"/>
                <a:gd name="T9" fmla="*/ 27 h 27"/>
                <a:gd name="T10" fmla="*/ 27 w 31"/>
                <a:gd name="T11" fmla="*/ 22 h 27"/>
                <a:gd name="T12" fmla="*/ 26 w 31"/>
                <a:gd name="T1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7">
                  <a:moveTo>
                    <a:pt x="26" y="5"/>
                  </a:moveTo>
                  <a:cubicBezTo>
                    <a:pt x="22" y="1"/>
                    <a:pt x="15" y="0"/>
                    <a:pt x="9" y="2"/>
                  </a:cubicBezTo>
                  <a:cubicBezTo>
                    <a:pt x="8" y="3"/>
                    <a:pt x="7" y="4"/>
                    <a:pt x="6" y="5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22"/>
                    <a:pt x="7" y="26"/>
                    <a:pt x="13" y="27"/>
                  </a:cubicBezTo>
                  <a:cubicBezTo>
                    <a:pt x="18" y="27"/>
                    <a:pt x="24" y="26"/>
                    <a:pt x="27" y="22"/>
                  </a:cubicBezTo>
                  <a:cubicBezTo>
                    <a:pt x="31" y="17"/>
                    <a:pt x="31" y="9"/>
                    <a:pt x="26" y="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ṥḻïde"/>
            <p:cNvSpPr/>
            <p:nvPr/>
          </p:nvSpPr>
          <p:spPr bwMode="auto">
            <a:xfrm>
              <a:off x="5747299" y="4592443"/>
              <a:ext cx="64364" cy="67750"/>
            </a:xfrm>
            <a:custGeom>
              <a:avLst/>
              <a:gdLst>
                <a:gd name="T0" fmla="*/ 8 w 9"/>
                <a:gd name="T1" fmla="*/ 2 h 10"/>
                <a:gd name="T2" fmla="*/ 4 w 9"/>
                <a:gd name="T3" fmla="*/ 0 h 10"/>
                <a:gd name="T4" fmla="*/ 2 w 9"/>
                <a:gd name="T5" fmla="*/ 1 h 10"/>
                <a:gd name="T6" fmla="*/ 1 w 9"/>
                <a:gd name="T7" fmla="*/ 2 h 10"/>
                <a:gd name="T8" fmla="*/ 0 w 9"/>
                <a:gd name="T9" fmla="*/ 4 h 10"/>
                <a:gd name="T10" fmla="*/ 1 w 9"/>
                <a:gd name="T11" fmla="*/ 7 h 10"/>
                <a:gd name="T12" fmla="*/ 8 w 9"/>
                <a:gd name="T13" fmla="*/ 7 h 10"/>
                <a:gd name="T14" fmla="*/ 9 w 9"/>
                <a:gd name="T15" fmla="*/ 4 h 10"/>
                <a:gd name="T16" fmla="*/ 8 w 9"/>
                <a:gd name="T1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2" y="10"/>
                    <a:pt x="7" y="10"/>
                    <a:pt x="8" y="7"/>
                  </a:cubicBezTo>
                  <a:cubicBezTo>
                    <a:pt x="9" y="6"/>
                    <a:pt x="9" y="5"/>
                    <a:pt x="9" y="4"/>
                  </a:cubicBezTo>
                  <a:cubicBezTo>
                    <a:pt x="8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ṧḻiḓé"/>
            <p:cNvSpPr/>
            <p:nvPr/>
          </p:nvSpPr>
          <p:spPr bwMode="auto">
            <a:xfrm>
              <a:off x="6014913" y="4605993"/>
              <a:ext cx="71139" cy="71139"/>
            </a:xfrm>
            <a:custGeom>
              <a:avLst/>
              <a:gdLst>
                <a:gd name="T0" fmla="*/ 9 w 10"/>
                <a:gd name="T1" fmla="*/ 3 h 10"/>
                <a:gd name="T2" fmla="*/ 5 w 10"/>
                <a:gd name="T3" fmla="*/ 0 h 10"/>
                <a:gd name="T4" fmla="*/ 1 w 10"/>
                <a:gd name="T5" fmla="*/ 3 h 10"/>
                <a:gd name="T6" fmla="*/ 1 w 10"/>
                <a:gd name="T7" fmla="*/ 3 h 10"/>
                <a:gd name="T8" fmla="*/ 0 w 10"/>
                <a:gd name="T9" fmla="*/ 5 h 10"/>
                <a:gd name="T10" fmla="*/ 1 w 10"/>
                <a:gd name="T11" fmla="*/ 8 h 10"/>
                <a:gd name="T12" fmla="*/ 5 w 10"/>
                <a:gd name="T13" fmla="*/ 10 h 10"/>
                <a:gd name="T14" fmla="*/ 9 w 10"/>
                <a:gd name="T15" fmla="*/ 8 h 10"/>
                <a:gd name="T16" fmla="*/ 10 w 10"/>
                <a:gd name="T17" fmla="*/ 5 h 10"/>
                <a:gd name="T18" fmla="*/ 9 w 10"/>
                <a:gd name="T19" fmla="*/ 3 h 10"/>
                <a:gd name="T20" fmla="*/ 9 w 10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9" y="3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ṧľîďè"/>
            <p:cNvSpPr/>
            <p:nvPr/>
          </p:nvSpPr>
          <p:spPr bwMode="auto">
            <a:xfrm>
              <a:off x="6204614" y="4619543"/>
              <a:ext cx="64364" cy="64364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0 h 9"/>
                <a:gd name="T4" fmla="*/ 1 w 9"/>
                <a:gd name="T5" fmla="*/ 1 h 9"/>
                <a:gd name="T6" fmla="*/ 0 w 9"/>
                <a:gd name="T7" fmla="*/ 5 h 9"/>
                <a:gd name="T8" fmla="*/ 0 w 9"/>
                <a:gd name="T9" fmla="*/ 6 h 9"/>
                <a:gd name="T10" fmla="*/ 1 w 9"/>
                <a:gd name="T11" fmla="*/ 8 h 9"/>
                <a:gd name="T12" fmla="*/ 4 w 9"/>
                <a:gd name="T13" fmla="*/ 9 h 9"/>
                <a:gd name="T14" fmla="*/ 6 w 9"/>
                <a:gd name="T15" fmla="*/ 9 h 9"/>
                <a:gd name="T16" fmla="*/ 8 w 9"/>
                <a:gd name="T17" fmla="*/ 6 h 9"/>
                <a:gd name="T18" fmla="*/ 8 w 9"/>
                <a:gd name="T19" fmla="*/ 2 h 9"/>
                <a:gd name="T20" fmla="*/ 5 w 9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2" y="9"/>
                    <a:pt x="3" y="9"/>
                    <a:pt x="4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9" y="5"/>
                    <a:pt x="9" y="3"/>
                    <a:pt x="8" y="2"/>
                  </a:cubicBezTo>
                  <a:cubicBezTo>
                    <a:pt x="7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$ļîdé"/>
            <p:cNvSpPr/>
            <p:nvPr/>
          </p:nvSpPr>
          <p:spPr bwMode="auto">
            <a:xfrm>
              <a:off x="6472226" y="4670354"/>
              <a:ext cx="3389" cy="3389"/>
            </a:xfrm>
            <a:prstGeom prst="rect">
              <a:avLst/>
            </a:pr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$lïdê"/>
            <p:cNvSpPr/>
            <p:nvPr/>
          </p:nvSpPr>
          <p:spPr bwMode="auto">
            <a:xfrm>
              <a:off x="6421414" y="4605993"/>
              <a:ext cx="84689" cy="71139"/>
            </a:xfrm>
            <a:custGeom>
              <a:avLst/>
              <a:gdLst>
                <a:gd name="T0" fmla="*/ 8 w 12"/>
                <a:gd name="T1" fmla="*/ 0 h 10"/>
                <a:gd name="T2" fmla="*/ 2 w 12"/>
                <a:gd name="T3" fmla="*/ 3 h 10"/>
                <a:gd name="T4" fmla="*/ 2 w 12"/>
                <a:gd name="T5" fmla="*/ 8 h 10"/>
                <a:gd name="T6" fmla="*/ 7 w 12"/>
                <a:gd name="T7" fmla="*/ 8 h 10"/>
                <a:gd name="T8" fmla="*/ 7 w 12"/>
                <a:gd name="T9" fmla="*/ 8 h 10"/>
                <a:gd name="T10" fmla="*/ 7 w 12"/>
                <a:gd name="T11" fmla="*/ 9 h 10"/>
                <a:gd name="T12" fmla="*/ 7 w 12"/>
                <a:gd name="T13" fmla="*/ 8 h 10"/>
                <a:gd name="T14" fmla="*/ 7 w 12"/>
                <a:gd name="T15" fmla="*/ 8 h 10"/>
                <a:gd name="T16" fmla="*/ 9 w 12"/>
                <a:gd name="T17" fmla="*/ 8 h 10"/>
                <a:gd name="T18" fmla="*/ 8 w 1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6" y="0"/>
                    <a:pt x="3" y="1"/>
                    <a:pt x="2" y="3"/>
                  </a:cubicBezTo>
                  <a:cubicBezTo>
                    <a:pt x="0" y="4"/>
                    <a:pt x="0" y="7"/>
                    <a:pt x="2" y="8"/>
                  </a:cubicBezTo>
                  <a:cubicBezTo>
                    <a:pt x="3" y="10"/>
                    <a:pt x="6" y="10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2" y="6"/>
                    <a:pt x="12" y="1"/>
                    <a:pt x="8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1iḋé"/>
            <p:cNvSpPr/>
            <p:nvPr/>
          </p:nvSpPr>
          <p:spPr bwMode="auto">
            <a:xfrm>
              <a:off x="6438351" y="3782827"/>
              <a:ext cx="477640" cy="667341"/>
            </a:xfrm>
            <a:custGeom>
              <a:avLst/>
              <a:gdLst>
                <a:gd name="T0" fmla="*/ 66 w 68"/>
                <a:gd name="T1" fmla="*/ 27 h 95"/>
                <a:gd name="T2" fmla="*/ 65 w 68"/>
                <a:gd name="T3" fmla="*/ 9 h 95"/>
                <a:gd name="T4" fmla="*/ 64 w 68"/>
                <a:gd name="T5" fmla="*/ 4 h 95"/>
                <a:gd name="T6" fmla="*/ 54 w 68"/>
                <a:gd name="T7" fmla="*/ 2 h 95"/>
                <a:gd name="T8" fmla="*/ 39 w 68"/>
                <a:gd name="T9" fmla="*/ 1 h 95"/>
                <a:gd name="T10" fmla="*/ 21 w 68"/>
                <a:gd name="T11" fmla="*/ 1 h 95"/>
                <a:gd name="T12" fmla="*/ 8 w 68"/>
                <a:gd name="T13" fmla="*/ 4 h 95"/>
                <a:gd name="T14" fmla="*/ 6 w 68"/>
                <a:gd name="T15" fmla="*/ 5 h 95"/>
                <a:gd name="T16" fmla="*/ 3 w 68"/>
                <a:gd name="T17" fmla="*/ 50 h 95"/>
                <a:gd name="T18" fmla="*/ 1 w 68"/>
                <a:gd name="T19" fmla="*/ 78 h 95"/>
                <a:gd name="T20" fmla="*/ 7 w 68"/>
                <a:gd name="T21" fmla="*/ 89 h 95"/>
                <a:gd name="T22" fmla="*/ 23 w 68"/>
                <a:gd name="T23" fmla="*/ 94 h 95"/>
                <a:gd name="T24" fmla="*/ 44 w 68"/>
                <a:gd name="T25" fmla="*/ 93 h 95"/>
                <a:gd name="T26" fmla="*/ 60 w 68"/>
                <a:gd name="T27" fmla="*/ 89 h 95"/>
                <a:gd name="T28" fmla="*/ 61 w 68"/>
                <a:gd name="T29" fmla="*/ 90 h 95"/>
                <a:gd name="T30" fmla="*/ 65 w 68"/>
                <a:gd name="T31" fmla="*/ 89 h 95"/>
                <a:gd name="T32" fmla="*/ 66 w 68"/>
                <a:gd name="T33" fmla="*/ 80 h 95"/>
                <a:gd name="T34" fmla="*/ 67 w 68"/>
                <a:gd name="T35" fmla="*/ 70 h 95"/>
                <a:gd name="T36" fmla="*/ 67 w 68"/>
                <a:gd name="T37" fmla="*/ 49 h 95"/>
                <a:gd name="T38" fmla="*/ 66 w 68"/>
                <a:gd name="T39" fmla="*/ 27 h 95"/>
                <a:gd name="T40" fmla="*/ 45 w 68"/>
                <a:gd name="T41" fmla="*/ 85 h 95"/>
                <a:gd name="T42" fmla="*/ 45 w 68"/>
                <a:gd name="T43" fmla="*/ 85 h 95"/>
                <a:gd name="T44" fmla="*/ 25 w 68"/>
                <a:gd name="T45" fmla="*/ 87 h 95"/>
                <a:gd name="T46" fmla="*/ 12 w 68"/>
                <a:gd name="T47" fmla="*/ 83 h 95"/>
                <a:gd name="T48" fmla="*/ 9 w 68"/>
                <a:gd name="T49" fmla="*/ 74 h 95"/>
                <a:gd name="T50" fmla="*/ 10 w 68"/>
                <a:gd name="T51" fmla="*/ 48 h 95"/>
                <a:gd name="T52" fmla="*/ 11 w 68"/>
                <a:gd name="T53" fmla="*/ 8 h 95"/>
                <a:gd name="T54" fmla="*/ 15 w 68"/>
                <a:gd name="T55" fmla="*/ 8 h 95"/>
                <a:gd name="T56" fmla="*/ 22 w 68"/>
                <a:gd name="T57" fmla="*/ 8 h 95"/>
                <a:gd name="T58" fmla="*/ 36 w 68"/>
                <a:gd name="T59" fmla="*/ 9 h 95"/>
                <a:gd name="T60" fmla="*/ 50 w 68"/>
                <a:gd name="T61" fmla="*/ 10 h 95"/>
                <a:gd name="T62" fmla="*/ 55 w 68"/>
                <a:gd name="T63" fmla="*/ 10 h 95"/>
                <a:gd name="T64" fmla="*/ 58 w 68"/>
                <a:gd name="T65" fmla="*/ 10 h 95"/>
                <a:gd name="T66" fmla="*/ 58 w 68"/>
                <a:gd name="T67" fmla="*/ 10 h 95"/>
                <a:gd name="T68" fmla="*/ 58 w 68"/>
                <a:gd name="T69" fmla="*/ 27 h 95"/>
                <a:gd name="T70" fmla="*/ 58 w 68"/>
                <a:gd name="T71" fmla="*/ 50 h 95"/>
                <a:gd name="T72" fmla="*/ 58 w 68"/>
                <a:gd name="T73" fmla="*/ 71 h 95"/>
                <a:gd name="T74" fmla="*/ 58 w 68"/>
                <a:gd name="T75" fmla="*/ 83 h 95"/>
                <a:gd name="T76" fmla="*/ 45 w 68"/>
                <a:gd name="T77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95">
                  <a:moveTo>
                    <a:pt x="66" y="27"/>
                  </a:moveTo>
                  <a:cubicBezTo>
                    <a:pt x="66" y="21"/>
                    <a:pt x="66" y="15"/>
                    <a:pt x="65" y="9"/>
                  </a:cubicBezTo>
                  <a:cubicBezTo>
                    <a:pt x="66" y="7"/>
                    <a:pt x="66" y="5"/>
                    <a:pt x="64" y="4"/>
                  </a:cubicBezTo>
                  <a:cubicBezTo>
                    <a:pt x="62" y="1"/>
                    <a:pt x="58" y="1"/>
                    <a:pt x="54" y="2"/>
                  </a:cubicBezTo>
                  <a:cubicBezTo>
                    <a:pt x="49" y="2"/>
                    <a:pt x="44" y="2"/>
                    <a:pt x="39" y="1"/>
                  </a:cubicBezTo>
                  <a:cubicBezTo>
                    <a:pt x="33" y="1"/>
                    <a:pt x="27" y="0"/>
                    <a:pt x="21" y="1"/>
                  </a:cubicBezTo>
                  <a:cubicBezTo>
                    <a:pt x="16" y="1"/>
                    <a:pt x="12" y="1"/>
                    <a:pt x="8" y="4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1" y="20"/>
                    <a:pt x="3" y="35"/>
                    <a:pt x="3" y="50"/>
                  </a:cubicBezTo>
                  <a:cubicBezTo>
                    <a:pt x="3" y="60"/>
                    <a:pt x="0" y="69"/>
                    <a:pt x="1" y="78"/>
                  </a:cubicBezTo>
                  <a:cubicBezTo>
                    <a:pt x="2" y="83"/>
                    <a:pt x="4" y="87"/>
                    <a:pt x="7" y="89"/>
                  </a:cubicBezTo>
                  <a:cubicBezTo>
                    <a:pt x="11" y="93"/>
                    <a:pt x="17" y="94"/>
                    <a:pt x="23" y="94"/>
                  </a:cubicBezTo>
                  <a:cubicBezTo>
                    <a:pt x="30" y="95"/>
                    <a:pt x="37" y="94"/>
                    <a:pt x="44" y="93"/>
                  </a:cubicBezTo>
                  <a:cubicBezTo>
                    <a:pt x="50" y="92"/>
                    <a:pt x="55" y="91"/>
                    <a:pt x="60" y="89"/>
                  </a:cubicBezTo>
                  <a:cubicBezTo>
                    <a:pt x="61" y="89"/>
                    <a:pt x="61" y="90"/>
                    <a:pt x="61" y="90"/>
                  </a:cubicBezTo>
                  <a:cubicBezTo>
                    <a:pt x="63" y="91"/>
                    <a:pt x="65" y="90"/>
                    <a:pt x="65" y="89"/>
                  </a:cubicBezTo>
                  <a:cubicBezTo>
                    <a:pt x="67" y="86"/>
                    <a:pt x="66" y="84"/>
                    <a:pt x="66" y="80"/>
                  </a:cubicBezTo>
                  <a:cubicBezTo>
                    <a:pt x="66" y="77"/>
                    <a:pt x="67" y="73"/>
                    <a:pt x="67" y="70"/>
                  </a:cubicBezTo>
                  <a:cubicBezTo>
                    <a:pt x="68" y="63"/>
                    <a:pt x="67" y="56"/>
                    <a:pt x="67" y="49"/>
                  </a:cubicBezTo>
                  <a:cubicBezTo>
                    <a:pt x="67" y="42"/>
                    <a:pt x="67" y="34"/>
                    <a:pt x="66" y="27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5" y="85"/>
                  </a:cubicBezTo>
                  <a:cubicBezTo>
                    <a:pt x="38" y="86"/>
                    <a:pt x="32" y="87"/>
                    <a:pt x="25" y="87"/>
                  </a:cubicBezTo>
                  <a:cubicBezTo>
                    <a:pt x="21" y="87"/>
                    <a:pt x="15" y="86"/>
                    <a:pt x="12" y="83"/>
                  </a:cubicBezTo>
                  <a:cubicBezTo>
                    <a:pt x="9" y="81"/>
                    <a:pt x="9" y="77"/>
                    <a:pt x="9" y="74"/>
                  </a:cubicBezTo>
                  <a:cubicBezTo>
                    <a:pt x="8" y="65"/>
                    <a:pt x="10" y="56"/>
                    <a:pt x="10" y="48"/>
                  </a:cubicBezTo>
                  <a:cubicBezTo>
                    <a:pt x="10" y="34"/>
                    <a:pt x="10" y="21"/>
                    <a:pt x="11" y="8"/>
                  </a:cubicBezTo>
                  <a:cubicBezTo>
                    <a:pt x="12" y="8"/>
                    <a:pt x="13" y="8"/>
                    <a:pt x="15" y="8"/>
                  </a:cubicBezTo>
                  <a:cubicBezTo>
                    <a:pt x="17" y="8"/>
                    <a:pt x="20" y="8"/>
                    <a:pt x="22" y="8"/>
                  </a:cubicBezTo>
                  <a:cubicBezTo>
                    <a:pt x="27" y="8"/>
                    <a:pt x="32" y="9"/>
                    <a:pt x="36" y="9"/>
                  </a:cubicBezTo>
                  <a:cubicBezTo>
                    <a:pt x="41" y="9"/>
                    <a:pt x="46" y="10"/>
                    <a:pt x="50" y="10"/>
                  </a:cubicBezTo>
                  <a:cubicBezTo>
                    <a:pt x="52" y="10"/>
                    <a:pt x="54" y="10"/>
                    <a:pt x="55" y="10"/>
                  </a:cubicBezTo>
                  <a:cubicBezTo>
                    <a:pt x="56" y="10"/>
                    <a:pt x="57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7" y="15"/>
                    <a:pt x="58" y="21"/>
                    <a:pt x="58" y="27"/>
                  </a:cubicBezTo>
                  <a:cubicBezTo>
                    <a:pt x="58" y="35"/>
                    <a:pt x="58" y="42"/>
                    <a:pt x="58" y="50"/>
                  </a:cubicBezTo>
                  <a:cubicBezTo>
                    <a:pt x="58" y="57"/>
                    <a:pt x="59" y="64"/>
                    <a:pt x="58" y="71"/>
                  </a:cubicBezTo>
                  <a:cubicBezTo>
                    <a:pt x="58" y="75"/>
                    <a:pt x="57" y="79"/>
                    <a:pt x="58" y="83"/>
                  </a:cubicBezTo>
                  <a:cubicBezTo>
                    <a:pt x="53" y="83"/>
                    <a:pt x="49" y="84"/>
                    <a:pt x="45" y="85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ŝḷíde"/>
            <p:cNvSpPr/>
            <p:nvPr/>
          </p:nvSpPr>
          <p:spPr bwMode="auto">
            <a:xfrm>
              <a:off x="6760165" y="3931877"/>
              <a:ext cx="71139" cy="74525"/>
            </a:xfrm>
            <a:custGeom>
              <a:avLst/>
              <a:gdLst>
                <a:gd name="T0" fmla="*/ 9 w 10"/>
                <a:gd name="T1" fmla="*/ 2 h 11"/>
                <a:gd name="T2" fmla="*/ 7 w 10"/>
                <a:gd name="T3" fmla="*/ 0 h 11"/>
                <a:gd name="T4" fmla="*/ 4 w 10"/>
                <a:gd name="T5" fmla="*/ 0 h 11"/>
                <a:gd name="T6" fmla="*/ 2 w 10"/>
                <a:gd name="T7" fmla="*/ 1 h 11"/>
                <a:gd name="T8" fmla="*/ 0 w 10"/>
                <a:gd name="T9" fmla="*/ 4 h 11"/>
                <a:gd name="T10" fmla="*/ 1 w 10"/>
                <a:gd name="T11" fmla="*/ 9 h 11"/>
                <a:gd name="T12" fmla="*/ 5 w 10"/>
                <a:gd name="T13" fmla="*/ 11 h 11"/>
                <a:gd name="T14" fmla="*/ 8 w 10"/>
                <a:gd name="T15" fmla="*/ 10 h 11"/>
                <a:gd name="T16" fmla="*/ 10 w 10"/>
                <a:gd name="T17" fmla="*/ 8 h 11"/>
                <a:gd name="T18" fmla="*/ 10 w 10"/>
                <a:gd name="T19" fmla="*/ 7 h 11"/>
                <a:gd name="T20" fmla="*/ 10 w 10"/>
                <a:gd name="T21" fmla="*/ 4 h 11"/>
                <a:gd name="T22" fmla="*/ 9 w 10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9" y="2"/>
                  </a:move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10"/>
                    <a:pt x="4" y="11"/>
                    <a:pt x="5" y="11"/>
                  </a:cubicBezTo>
                  <a:cubicBezTo>
                    <a:pt x="6" y="11"/>
                    <a:pt x="7" y="10"/>
                    <a:pt x="8" y="10"/>
                  </a:cubicBezTo>
                  <a:cubicBezTo>
                    <a:pt x="8" y="9"/>
                    <a:pt x="9" y="9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6"/>
                    <a:pt x="10" y="5"/>
                    <a:pt x="10" y="4"/>
                  </a:cubicBezTo>
                  <a:cubicBezTo>
                    <a:pt x="10" y="3"/>
                    <a:pt x="9" y="2"/>
                    <a:pt x="9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$ļîdé"/>
            <p:cNvSpPr/>
            <p:nvPr/>
          </p:nvSpPr>
          <p:spPr bwMode="auto">
            <a:xfrm>
              <a:off x="5394999" y="3718465"/>
              <a:ext cx="64364" cy="196476"/>
            </a:xfrm>
            <a:custGeom>
              <a:avLst/>
              <a:gdLst>
                <a:gd name="T0" fmla="*/ 6 w 9"/>
                <a:gd name="T1" fmla="*/ 0 h 28"/>
                <a:gd name="T2" fmla="*/ 4 w 9"/>
                <a:gd name="T3" fmla="*/ 0 h 28"/>
                <a:gd name="T4" fmla="*/ 1 w 9"/>
                <a:gd name="T5" fmla="*/ 10 h 28"/>
                <a:gd name="T6" fmla="*/ 1 w 9"/>
                <a:gd name="T7" fmla="*/ 24 h 28"/>
                <a:gd name="T8" fmla="*/ 9 w 9"/>
                <a:gd name="T9" fmla="*/ 24 h 28"/>
                <a:gd name="T10" fmla="*/ 9 w 9"/>
                <a:gd name="T11" fmla="*/ 11 h 28"/>
                <a:gd name="T12" fmla="*/ 6 w 9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8">
                  <a:moveTo>
                    <a:pt x="6" y="0"/>
                  </a:moveTo>
                  <a:cubicBezTo>
                    <a:pt x="5" y="0"/>
                    <a:pt x="4" y="0"/>
                    <a:pt x="4" y="0"/>
                  </a:cubicBezTo>
                  <a:cubicBezTo>
                    <a:pt x="1" y="2"/>
                    <a:pt x="1" y="6"/>
                    <a:pt x="1" y="10"/>
                  </a:cubicBezTo>
                  <a:cubicBezTo>
                    <a:pt x="1" y="15"/>
                    <a:pt x="0" y="19"/>
                    <a:pt x="1" y="24"/>
                  </a:cubicBezTo>
                  <a:cubicBezTo>
                    <a:pt x="2" y="28"/>
                    <a:pt x="8" y="28"/>
                    <a:pt x="9" y="24"/>
                  </a:cubicBezTo>
                  <a:cubicBezTo>
                    <a:pt x="9" y="20"/>
                    <a:pt x="9" y="15"/>
                    <a:pt x="9" y="11"/>
                  </a:cubicBezTo>
                  <a:cubicBezTo>
                    <a:pt x="9" y="8"/>
                    <a:pt x="9" y="3"/>
                    <a:pt x="6" y="0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ïṩḷïḑé"/>
            <p:cNvSpPr/>
            <p:nvPr/>
          </p:nvSpPr>
          <p:spPr bwMode="auto">
            <a:xfrm>
              <a:off x="5530499" y="3698140"/>
              <a:ext cx="60975" cy="196476"/>
            </a:xfrm>
            <a:custGeom>
              <a:avLst/>
              <a:gdLst>
                <a:gd name="T0" fmla="*/ 1 w 9"/>
                <a:gd name="T1" fmla="*/ 3 h 28"/>
                <a:gd name="T2" fmla="*/ 0 w 9"/>
                <a:gd name="T3" fmla="*/ 13 h 28"/>
                <a:gd name="T4" fmla="*/ 0 w 9"/>
                <a:gd name="T5" fmla="*/ 23 h 28"/>
                <a:gd name="T6" fmla="*/ 8 w 9"/>
                <a:gd name="T7" fmla="*/ 24 h 28"/>
                <a:gd name="T8" fmla="*/ 6 w 9"/>
                <a:gd name="T9" fmla="*/ 3 h 28"/>
                <a:gd name="T10" fmla="*/ 1 w 9"/>
                <a:gd name="T1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8">
                  <a:moveTo>
                    <a:pt x="1" y="3"/>
                  </a:moveTo>
                  <a:cubicBezTo>
                    <a:pt x="0" y="6"/>
                    <a:pt x="0" y="9"/>
                    <a:pt x="0" y="13"/>
                  </a:cubicBezTo>
                  <a:cubicBezTo>
                    <a:pt x="0" y="16"/>
                    <a:pt x="0" y="19"/>
                    <a:pt x="0" y="23"/>
                  </a:cubicBezTo>
                  <a:cubicBezTo>
                    <a:pt x="0" y="27"/>
                    <a:pt x="7" y="28"/>
                    <a:pt x="8" y="24"/>
                  </a:cubicBezTo>
                  <a:cubicBezTo>
                    <a:pt x="9" y="17"/>
                    <a:pt x="9" y="8"/>
                    <a:pt x="6" y="3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$ľíḍê"/>
            <p:cNvSpPr/>
            <p:nvPr/>
          </p:nvSpPr>
          <p:spPr bwMode="auto">
            <a:xfrm>
              <a:off x="5621963" y="3711690"/>
              <a:ext cx="74525" cy="182926"/>
            </a:xfrm>
            <a:custGeom>
              <a:avLst/>
              <a:gdLst>
                <a:gd name="T0" fmla="*/ 3 w 11"/>
                <a:gd name="T1" fmla="*/ 2 h 26"/>
                <a:gd name="T2" fmla="*/ 2 w 11"/>
                <a:gd name="T3" fmla="*/ 23 h 26"/>
                <a:gd name="T4" fmla="*/ 5 w 11"/>
                <a:gd name="T5" fmla="*/ 26 h 26"/>
                <a:gd name="T6" fmla="*/ 7 w 11"/>
                <a:gd name="T7" fmla="*/ 26 h 26"/>
                <a:gd name="T8" fmla="*/ 10 w 11"/>
                <a:gd name="T9" fmla="*/ 23 h 26"/>
                <a:gd name="T10" fmla="*/ 8 w 11"/>
                <a:gd name="T11" fmla="*/ 3 h 26"/>
                <a:gd name="T12" fmla="*/ 3 w 11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6">
                  <a:moveTo>
                    <a:pt x="3" y="2"/>
                  </a:moveTo>
                  <a:cubicBezTo>
                    <a:pt x="0" y="9"/>
                    <a:pt x="1" y="17"/>
                    <a:pt x="2" y="23"/>
                  </a:cubicBezTo>
                  <a:cubicBezTo>
                    <a:pt x="3" y="24"/>
                    <a:pt x="4" y="26"/>
                    <a:pt x="5" y="26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8" y="26"/>
                    <a:pt x="10" y="24"/>
                    <a:pt x="10" y="23"/>
                  </a:cubicBezTo>
                  <a:cubicBezTo>
                    <a:pt x="11" y="17"/>
                    <a:pt x="10" y="9"/>
                    <a:pt x="8" y="3"/>
                  </a:cubicBezTo>
                  <a:cubicBezTo>
                    <a:pt x="7" y="1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ïsḷïdê"/>
            <p:cNvSpPr/>
            <p:nvPr/>
          </p:nvSpPr>
          <p:spPr bwMode="auto">
            <a:xfrm>
              <a:off x="3558970" y="2488798"/>
              <a:ext cx="5067710" cy="2391582"/>
            </a:xfrm>
            <a:custGeom>
              <a:avLst/>
              <a:gdLst>
                <a:gd name="T0" fmla="*/ 661 w 720"/>
                <a:gd name="T1" fmla="*/ 131 h 340"/>
                <a:gd name="T2" fmla="*/ 632 w 720"/>
                <a:gd name="T3" fmla="*/ 165 h 340"/>
                <a:gd name="T4" fmla="*/ 577 w 720"/>
                <a:gd name="T5" fmla="*/ 194 h 340"/>
                <a:gd name="T6" fmla="*/ 531 w 720"/>
                <a:gd name="T7" fmla="*/ 142 h 340"/>
                <a:gd name="T8" fmla="*/ 445 w 720"/>
                <a:gd name="T9" fmla="*/ 24 h 340"/>
                <a:gd name="T10" fmla="*/ 290 w 720"/>
                <a:gd name="T11" fmla="*/ 0 h 340"/>
                <a:gd name="T12" fmla="*/ 255 w 720"/>
                <a:gd name="T13" fmla="*/ 83 h 340"/>
                <a:gd name="T14" fmla="*/ 180 w 720"/>
                <a:gd name="T15" fmla="*/ 203 h 340"/>
                <a:gd name="T16" fmla="*/ 105 w 720"/>
                <a:gd name="T17" fmla="*/ 199 h 340"/>
                <a:gd name="T18" fmla="*/ 66 w 720"/>
                <a:gd name="T19" fmla="*/ 189 h 340"/>
                <a:gd name="T20" fmla="*/ 1 w 720"/>
                <a:gd name="T21" fmla="*/ 200 h 340"/>
                <a:gd name="T22" fmla="*/ 130 w 720"/>
                <a:gd name="T23" fmla="*/ 270 h 340"/>
                <a:gd name="T24" fmla="*/ 274 w 720"/>
                <a:gd name="T25" fmla="*/ 312 h 340"/>
                <a:gd name="T26" fmla="*/ 460 w 720"/>
                <a:gd name="T27" fmla="*/ 312 h 340"/>
                <a:gd name="T28" fmla="*/ 673 w 720"/>
                <a:gd name="T29" fmla="*/ 198 h 340"/>
                <a:gd name="T30" fmla="*/ 703 w 720"/>
                <a:gd name="T31" fmla="*/ 127 h 340"/>
                <a:gd name="T32" fmla="*/ 452 w 720"/>
                <a:gd name="T33" fmla="*/ 36 h 340"/>
                <a:gd name="T34" fmla="*/ 444 w 720"/>
                <a:gd name="T35" fmla="*/ 53 h 340"/>
                <a:gd name="T36" fmla="*/ 302 w 720"/>
                <a:gd name="T37" fmla="*/ 42 h 340"/>
                <a:gd name="T38" fmla="*/ 208 w 720"/>
                <a:gd name="T39" fmla="*/ 190 h 340"/>
                <a:gd name="T40" fmla="*/ 52 w 720"/>
                <a:gd name="T41" fmla="*/ 227 h 340"/>
                <a:gd name="T42" fmla="*/ 27 w 720"/>
                <a:gd name="T43" fmla="*/ 200 h 340"/>
                <a:gd name="T44" fmla="*/ 55 w 720"/>
                <a:gd name="T45" fmla="*/ 147 h 340"/>
                <a:gd name="T46" fmla="*/ 85 w 720"/>
                <a:gd name="T47" fmla="*/ 232 h 340"/>
                <a:gd name="T48" fmla="*/ 85 w 720"/>
                <a:gd name="T49" fmla="*/ 232 h 340"/>
                <a:gd name="T50" fmla="*/ 118 w 720"/>
                <a:gd name="T51" fmla="*/ 222 h 340"/>
                <a:gd name="T52" fmla="*/ 123 w 720"/>
                <a:gd name="T53" fmla="*/ 239 h 340"/>
                <a:gd name="T54" fmla="*/ 136 w 720"/>
                <a:gd name="T55" fmla="*/ 257 h 340"/>
                <a:gd name="T56" fmla="*/ 153 w 720"/>
                <a:gd name="T57" fmla="*/ 238 h 340"/>
                <a:gd name="T58" fmla="*/ 170 w 720"/>
                <a:gd name="T59" fmla="*/ 222 h 340"/>
                <a:gd name="T60" fmla="*/ 190 w 720"/>
                <a:gd name="T61" fmla="*/ 249 h 340"/>
                <a:gd name="T62" fmla="*/ 181 w 720"/>
                <a:gd name="T63" fmla="*/ 217 h 340"/>
                <a:gd name="T64" fmla="*/ 197 w 720"/>
                <a:gd name="T65" fmla="*/ 245 h 340"/>
                <a:gd name="T66" fmla="*/ 207 w 720"/>
                <a:gd name="T67" fmla="*/ 234 h 340"/>
                <a:gd name="T68" fmla="*/ 442 w 720"/>
                <a:gd name="T69" fmla="*/ 299 h 340"/>
                <a:gd name="T70" fmla="*/ 387 w 720"/>
                <a:gd name="T71" fmla="*/ 323 h 340"/>
                <a:gd name="T72" fmla="*/ 287 w 720"/>
                <a:gd name="T73" fmla="*/ 296 h 340"/>
                <a:gd name="T74" fmla="*/ 424 w 720"/>
                <a:gd name="T75" fmla="*/ 299 h 340"/>
                <a:gd name="T76" fmla="*/ 468 w 720"/>
                <a:gd name="T77" fmla="*/ 288 h 340"/>
                <a:gd name="T78" fmla="*/ 236 w 720"/>
                <a:gd name="T79" fmla="*/ 243 h 340"/>
                <a:gd name="T80" fmla="*/ 316 w 720"/>
                <a:gd name="T81" fmla="*/ 60 h 340"/>
                <a:gd name="T82" fmla="*/ 521 w 720"/>
                <a:gd name="T83" fmla="*/ 210 h 340"/>
                <a:gd name="T84" fmla="*/ 545 w 720"/>
                <a:gd name="T85" fmla="*/ 197 h 340"/>
                <a:gd name="T86" fmla="*/ 557 w 720"/>
                <a:gd name="T87" fmla="*/ 199 h 340"/>
                <a:gd name="T88" fmla="*/ 544 w 720"/>
                <a:gd name="T89" fmla="*/ 225 h 340"/>
                <a:gd name="T90" fmla="*/ 591 w 720"/>
                <a:gd name="T91" fmla="*/ 208 h 340"/>
                <a:gd name="T92" fmla="*/ 599 w 720"/>
                <a:gd name="T93" fmla="*/ 237 h 340"/>
                <a:gd name="T94" fmla="*/ 606 w 720"/>
                <a:gd name="T95" fmla="*/ 236 h 340"/>
                <a:gd name="T96" fmla="*/ 625 w 720"/>
                <a:gd name="T97" fmla="*/ 196 h 340"/>
                <a:gd name="T98" fmla="*/ 648 w 720"/>
                <a:gd name="T99" fmla="*/ 211 h 340"/>
                <a:gd name="T100" fmla="*/ 648 w 720"/>
                <a:gd name="T101" fmla="*/ 194 h 340"/>
                <a:gd name="T102" fmla="*/ 664 w 720"/>
                <a:gd name="T103" fmla="*/ 183 h 340"/>
                <a:gd name="T104" fmla="*/ 635 w 720"/>
                <a:gd name="T105" fmla="*/ 137 h 340"/>
                <a:gd name="T106" fmla="*/ 654 w 720"/>
                <a:gd name="T107" fmla="*/ 114 h 340"/>
                <a:gd name="T108" fmla="*/ 703 w 720"/>
                <a:gd name="T109" fmla="*/ 127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0" h="340">
                  <a:moveTo>
                    <a:pt x="716" y="122"/>
                  </a:moveTo>
                  <a:cubicBezTo>
                    <a:pt x="716" y="122"/>
                    <a:pt x="716" y="122"/>
                    <a:pt x="715" y="122"/>
                  </a:cubicBezTo>
                  <a:cubicBezTo>
                    <a:pt x="714" y="118"/>
                    <a:pt x="708" y="115"/>
                    <a:pt x="704" y="115"/>
                  </a:cubicBezTo>
                  <a:cubicBezTo>
                    <a:pt x="697" y="113"/>
                    <a:pt x="692" y="118"/>
                    <a:pt x="689" y="124"/>
                  </a:cubicBezTo>
                  <a:cubicBezTo>
                    <a:pt x="687" y="129"/>
                    <a:pt x="684" y="133"/>
                    <a:pt x="679" y="136"/>
                  </a:cubicBezTo>
                  <a:cubicBezTo>
                    <a:pt x="675" y="139"/>
                    <a:pt x="670" y="139"/>
                    <a:pt x="666" y="138"/>
                  </a:cubicBezTo>
                  <a:cubicBezTo>
                    <a:pt x="662" y="137"/>
                    <a:pt x="660" y="134"/>
                    <a:pt x="661" y="131"/>
                  </a:cubicBezTo>
                  <a:cubicBezTo>
                    <a:pt x="662" y="126"/>
                    <a:pt x="667" y="122"/>
                    <a:pt x="668" y="116"/>
                  </a:cubicBezTo>
                  <a:cubicBezTo>
                    <a:pt x="670" y="106"/>
                    <a:pt x="659" y="98"/>
                    <a:pt x="649" y="99"/>
                  </a:cubicBezTo>
                  <a:cubicBezTo>
                    <a:pt x="648" y="99"/>
                    <a:pt x="648" y="98"/>
                    <a:pt x="647" y="98"/>
                  </a:cubicBezTo>
                  <a:cubicBezTo>
                    <a:pt x="643" y="98"/>
                    <a:pt x="641" y="102"/>
                    <a:pt x="639" y="105"/>
                  </a:cubicBezTo>
                  <a:cubicBezTo>
                    <a:pt x="636" y="108"/>
                    <a:pt x="634" y="111"/>
                    <a:pt x="631" y="115"/>
                  </a:cubicBezTo>
                  <a:cubicBezTo>
                    <a:pt x="626" y="121"/>
                    <a:pt x="623" y="129"/>
                    <a:pt x="622" y="137"/>
                  </a:cubicBezTo>
                  <a:cubicBezTo>
                    <a:pt x="620" y="147"/>
                    <a:pt x="625" y="157"/>
                    <a:pt x="632" y="165"/>
                  </a:cubicBezTo>
                  <a:cubicBezTo>
                    <a:pt x="632" y="165"/>
                    <a:pt x="632" y="165"/>
                    <a:pt x="632" y="166"/>
                  </a:cubicBezTo>
                  <a:cubicBezTo>
                    <a:pt x="630" y="168"/>
                    <a:pt x="629" y="169"/>
                    <a:pt x="628" y="172"/>
                  </a:cubicBezTo>
                  <a:cubicBezTo>
                    <a:pt x="625" y="176"/>
                    <a:pt x="623" y="179"/>
                    <a:pt x="619" y="183"/>
                  </a:cubicBezTo>
                  <a:cubicBezTo>
                    <a:pt x="612" y="189"/>
                    <a:pt x="604" y="193"/>
                    <a:pt x="594" y="194"/>
                  </a:cubicBezTo>
                  <a:cubicBezTo>
                    <a:pt x="589" y="195"/>
                    <a:pt x="584" y="195"/>
                    <a:pt x="579" y="194"/>
                  </a:cubicBezTo>
                  <a:cubicBezTo>
                    <a:pt x="579" y="194"/>
                    <a:pt x="578" y="194"/>
                    <a:pt x="577" y="194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77" y="194"/>
                    <a:pt x="576" y="194"/>
                    <a:pt x="576" y="194"/>
                  </a:cubicBezTo>
                  <a:cubicBezTo>
                    <a:pt x="574" y="193"/>
                    <a:pt x="573" y="193"/>
                    <a:pt x="571" y="193"/>
                  </a:cubicBezTo>
                  <a:cubicBezTo>
                    <a:pt x="568" y="192"/>
                    <a:pt x="564" y="191"/>
                    <a:pt x="561" y="189"/>
                  </a:cubicBezTo>
                  <a:cubicBezTo>
                    <a:pt x="559" y="189"/>
                    <a:pt x="558" y="188"/>
                    <a:pt x="557" y="186"/>
                  </a:cubicBezTo>
                  <a:cubicBezTo>
                    <a:pt x="556" y="182"/>
                    <a:pt x="554" y="178"/>
                    <a:pt x="552" y="174"/>
                  </a:cubicBezTo>
                  <a:cubicBezTo>
                    <a:pt x="548" y="168"/>
                    <a:pt x="543" y="164"/>
                    <a:pt x="536" y="161"/>
                  </a:cubicBezTo>
                  <a:cubicBezTo>
                    <a:pt x="535" y="154"/>
                    <a:pt x="533" y="148"/>
                    <a:pt x="531" y="142"/>
                  </a:cubicBezTo>
                  <a:cubicBezTo>
                    <a:pt x="525" y="124"/>
                    <a:pt x="515" y="108"/>
                    <a:pt x="501" y="94"/>
                  </a:cubicBezTo>
                  <a:cubicBezTo>
                    <a:pt x="491" y="84"/>
                    <a:pt x="480" y="75"/>
                    <a:pt x="468" y="67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70" y="63"/>
                    <a:pt x="472" y="60"/>
                    <a:pt x="474" y="57"/>
                  </a:cubicBezTo>
                  <a:cubicBezTo>
                    <a:pt x="478" y="51"/>
                    <a:pt x="482" y="44"/>
                    <a:pt x="484" y="37"/>
                  </a:cubicBezTo>
                  <a:cubicBezTo>
                    <a:pt x="489" y="25"/>
                    <a:pt x="486" y="5"/>
                    <a:pt x="470" y="4"/>
                  </a:cubicBezTo>
                  <a:cubicBezTo>
                    <a:pt x="458" y="3"/>
                    <a:pt x="450" y="15"/>
                    <a:pt x="445" y="24"/>
                  </a:cubicBezTo>
                  <a:cubicBezTo>
                    <a:pt x="441" y="32"/>
                    <a:pt x="438" y="41"/>
                    <a:pt x="436" y="50"/>
                  </a:cubicBezTo>
                  <a:cubicBezTo>
                    <a:pt x="426" y="46"/>
                    <a:pt x="416" y="43"/>
                    <a:pt x="405" y="41"/>
                  </a:cubicBezTo>
                  <a:cubicBezTo>
                    <a:pt x="381" y="36"/>
                    <a:pt x="355" y="39"/>
                    <a:pt x="330" y="44"/>
                  </a:cubicBezTo>
                  <a:cubicBezTo>
                    <a:pt x="326" y="45"/>
                    <a:pt x="321" y="46"/>
                    <a:pt x="317" y="48"/>
                  </a:cubicBezTo>
                  <a:cubicBezTo>
                    <a:pt x="316" y="44"/>
                    <a:pt x="315" y="40"/>
                    <a:pt x="314" y="37"/>
                  </a:cubicBezTo>
                  <a:cubicBezTo>
                    <a:pt x="312" y="32"/>
                    <a:pt x="311" y="28"/>
                    <a:pt x="310" y="23"/>
                  </a:cubicBezTo>
                  <a:cubicBezTo>
                    <a:pt x="307" y="12"/>
                    <a:pt x="303" y="0"/>
                    <a:pt x="290" y="0"/>
                  </a:cubicBezTo>
                  <a:cubicBezTo>
                    <a:pt x="285" y="0"/>
                    <a:pt x="279" y="4"/>
                    <a:pt x="276" y="8"/>
                  </a:cubicBezTo>
                  <a:cubicBezTo>
                    <a:pt x="271" y="14"/>
                    <a:pt x="271" y="19"/>
                    <a:pt x="272" y="26"/>
                  </a:cubicBezTo>
                  <a:cubicBezTo>
                    <a:pt x="272" y="33"/>
                    <a:pt x="276" y="38"/>
                    <a:pt x="278" y="44"/>
                  </a:cubicBezTo>
                  <a:cubicBezTo>
                    <a:pt x="279" y="47"/>
                    <a:pt x="280" y="50"/>
                    <a:pt x="281" y="54"/>
                  </a:cubicBezTo>
                  <a:cubicBezTo>
                    <a:pt x="282" y="56"/>
                    <a:pt x="282" y="59"/>
                    <a:pt x="283" y="61"/>
                  </a:cubicBezTo>
                  <a:cubicBezTo>
                    <a:pt x="277" y="65"/>
                    <a:pt x="271" y="69"/>
                    <a:pt x="267" y="74"/>
                  </a:cubicBezTo>
                  <a:cubicBezTo>
                    <a:pt x="263" y="77"/>
                    <a:pt x="259" y="80"/>
                    <a:pt x="255" y="83"/>
                  </a:cubicBezTo>
                  <a:cubicBezTo>
                    <a:pt x="241" y="97"/>
                    <a:pt x="231" y="114"/>
                    <a:pt x="224" y="132"/>
                  </a:cubicBezTo>
                  <a:cubicBezTo>
                    <a:pt x="219" y="144"/>
                    <a:pt x="216" y="157"/>
                    <a:pt x="214" y="169"/>
                  </a:cubicBezTo>
                  <a:cubicBezTo>
                    <a:pt x="212" y="170"/>
                    <a:pt x="211" y="171"/>
                    <a:pt x="209" y="172"/>
                  </a:cubicBezTo>
                  <a:cubicBezTo>
                    <a:pt x="205" y="176"/>
                    <a:pt x="202" y="179"/>
                    <a:pt x="199" y="183"/>
                  </a:cubicBezTo>
                  <a:cubicBezTo>
                    <a:pt x="196" y="187"/>
                    <a:pt x="195" y="191"/>
                    <a:pt x="194" y="195"/>
                  </a:cubicBezTo>
                  <a:cubicBezTo>
                    <a:pt x="191" y="195"/>
                    <a:pt x="188" y="198"/>
                    <a:pt x="185" y="199"/>
                  </a:cubicBezTo>
                  <a:cubicBezTo>
                    <a:pt x="183" y="200"/>
                    <a:pt x="181" y="202"/>
                    <a:pt x="180" y="203"/>
                  </a:cubicBezTo>
                  <a:cubicBezTo>
                    <a:pt x="179" y="203"/>
                    <a:pt x="178" y="203"/>
                    <a:pt x="178" y="204"/>
                  </a:cubicBezTo>
                  <a:cubicBezTo>
                    <a:pt x="177" y="204"/>
                    <a:pt x="176" y="205"/>
                    <a:pt x="176" y="205"/>
                  </a:cubicBezTo>
                  <a:cubicBezTo>
                    <a:pt x="168" y="210"/>
                    <a:pt x="160" y="212"/>
                    <a:pt x="151" y="213"/>
                  </a:cubicBezTo>
                  <a:cubicBezTo>
                    <a:pt x="142" y="214"/>
                    <a:pt x="132" y="212"/>
                    <a:pt x="123" y="210"/>
                  </a:cubicBezTo>
                  <a:cubicBezTo>
                    <a:pt x="120" y="209"/>
                    <a:pt x="117" y="207"/>
                    <a:pt x="114" y="206"/>
                  </a:cubicBezTo>
                  <a:cubicBezTo>
                    <a:pt x="111" y="204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7" y="182"/>
                    <a:pt x="99" y="166"/>
                    <a:pt x="87" y="154"/>
                  </a:cubicBezTo>
                  <a:cubicBezTo>
                    <a:pt x="80" y="148"/>
                    <a:pt x="70" y="141"/>
                    <a:pt x="61" y="139"/>
                  </a:cubicBezTo>
                  <a:cubicBezTo>
                    <a:pt x="56" y="134"/>
                    <a:pt x="47" y="137"/>
                    <a:pt x="44" y="142"/>
                  </a:cubicBezTo>
                  <a:cubicBezTo>
                    <a:pt x="41" y="146"/>
                    <a:pt x="38" y="155"/>
                    <a:pt x="40" y="160"/>
                  </a:cubicBezTo>
                  <a:cubicBezTo>
                    <a:pt x="41" y="161"/>
                    <a:pt x="42" y="162"/>
                    <a:pt x="44" y="162"/>
                  </a:cubicBezTo>
                  <a:cubicBezTo>
                    <a:pt x="51" y="172"/>
                    <a:pt x="66" y="176"/>
                    <a:pt x="66" y="189"/>
                  </a:cubicBezTo>
                  <a:cubicBezTo>
                    <a:pt x="66" y="197"/>
                    <a:pt x="53" y="198"/>
                    <a:pt x="48" y="196"/>
                  </a:cubicBezTo>
                  <a:cubicBezTo>
                    <a:pt x="44" y="195"/>
                    <a:pt x="39" y="192"/>
                    <a:pt x="35" y="189"/>
                  </a:cubicBezTo>
                  <a:cubicBezTo>
                    <a:pt x="32" y="188"/>
                    <a:pt x="30" y="186"/>
                    <a:pt x="29" y="185"/>
                  </a:cubicBezTo>
                  <a:cubicBezTo>
                    <a:pt x="27" y="183"/>
                    <a:pt x="25" y="180"/>
                    <a:pt x="22" y="179"/>
                  </a:cubicBezTo>
                  <a:cubicBezTo>
                    <a:pt x="21" y="179"/>
                    <a:pt x="19" y="179"/>
                    <a:pt x="18" y="179"/>
                  </a:cubicBezTo>
                  <a:cubicBezTo>
                    <a:pt x="13" y="179"/>
                    <a:pt x="8" y="184"/>
                    <a:pt x="5" y="188"/>
                  </a:cubicBezTo>
                  <a:cubicBezTo>
                    <a:pt x="2" y="192"/>
                    <a:pt x="0" y="196"/>
                    <a:pt x="1" y="200"/>
                  </a:cubicBezTo>
                  <a:cubicBezTo>
                    <a:pt x="1" y="203"/>
                    <a:pt x="2" y="205"/>
                    <a:pt x="4" y="207"/>
                  </a:cubicBezTo>
                  <a:cubicBezTo>
                    <a:pt x="9" y="223"/>
                    <a:pt x="25" y="235"/>
                    <a:pt x="40" y="239"/>
                  </a:cubicBezTo>
                  <a:cubicBezTo>
                    <a:pt x="53" y="242"/>
                    <a:pt x="66" y="241"/>
                    <a:pt x="78" y="235"/>
                  </a:cubicBezTo>
                  <a:cubicBezTo>
                    <a:pt x="78" y="236"/>
                    <a:pt x="78" y="236"/>
                    <a:pt x="78" y="236"/>
                  </a:cubicBezTo>
                  <a:cubicBezTo>
                    <a:pt x="79" y="242"/>
                    <a:pt x="86" y="247"/>
                    <a:pt x="90" y="251"/>
                  </a:cubicBezTo>
                  <a:cubicBezTo>
                    <a:pt x="96" y="256"/>
                    <a:pt x="101" y="260"/>
                    <a:pt x="108" y="263"/>
                  </a:cubicBezTo>
                  <a:cubicBezTo>
                    <a:pt x="115" y="267"/>
                    <a:pt x="122" y="269"/>
                    <a:pt x="130" y="270"/>
                  </a:cubicBezTo>
                  <a:cubicBezTo>
                    <a:pt x="138" y="271"/>
                    <a:pt x="145" y="270"/>
                    <a:pt x="153" y="271"/>
                  </a:cubicBezTo>
                  <a:cubicBezTo>
                    <a:pt x="161" y="271"/>
                    <a:pt x="169" y="271"/>
                    <a:pt x="177" y="270"/>
                  </a:cubicBezTo>
                  <a:cubicBezTo>
                    <a:pt x="183" y="269"/>
                    <a:pt x="189" y="266"/>
                    <a:pt x="195" y="263"/>
                  </a:cubicBezTo>
                  <a:cubicBezTo>
                    <a:pt x="200" y="259"/>
                    <a:pt x="205" y="255"/>
                    <a:pt x="210" y="251"/>
                  </a:cubicBezTo>
                  <a:cubicBezTo>
                    <a:pt x="213" y="249"/>
                    <a:pt x="216" y="246"/>
                    <a:pt x="220" y="243"/>
                  </a:cubicBezTo>
                  <a:cubicBezTo>
                    <a:pt x="221" y="244"/>
                    <a:pt x="223" y="245"/>
                    <a:pt x="224" y="245"/>
                  </a:cubicBezTo>
                  <a:cubicBezTo>
                    <a:pt x="234" y="272"/>
                    <a:pt x="252" y="295"/>
                    <a:pt x="274" y="312"/>
                  </a:cubicBezTo>
                  <a:cubicBezTo>
                    <a:pt x="289" y="322"/>
                    <a:pt x="305" y="329"/>
                    <a:pt x="323" y="333"/>
                  </a:cubicBezTo>
                  <a:cubicBezTo>
                    <a:pt x="331" y="335"/>
                    <a:pt x="340" y="336"/>
                    <a:pt x="349" y="338"/>
                  </a:cubicBezTo>
                  <a:cubicBezTo>
                    <a:pt x="350" y="338"/>
                    <a:pt x="351" y="338"/>
                    <a:pt x="351" y="338"/>
                  </a:cubicBezTo>
                  <a:cubicBezTo>
                    <a:pt x="355" y="340"/>
                    <a:pt x="360" y="340"/>
                    <a:pt x="365" y="339"/>
                  </a:cubicBezTo>
                  <a:cubicBezTo>
                    <a:pt x="370" y="339"/>
                    <a:pt x="376" y="338"/>
                    <a:pt x="382" y="337"/>
                  </a:cubicBezTo>
                  <a:cubicBezTo>
                    <a:pt x="392" y="336"/>
                    <a:pt x="402" y="334"/>
                    <a:pt x="413" y="332"/>
                  </a:cubicBezTo>
                  <a:cubicBezTo>
                    <a:pt x="429" y="327"/>
                    <a:pt x="445" y="320"/>
                    <a:pt x="460" y="312"/>
                  </a:cubicBezTo>
                  <a:cubicBezTo>
                    <a:pt x="489" y="294"/>
                    <a:pt x="513" y="269"/>
                    <a:pt x="526" y="238"/>
                  </a:cubicBezTo>
                  <a:cubicBezTo>
                    <a:pt x="526" y="237"/>
                    <a:pt x="527" y="236"/>
                    <a:pt x="527" y="235"/>
                  </a:cubicBezTo>
                  <a:cubicBezTo>
                    <a:pt x="531" y="236"/>
                    <a:pt x="535" y="234"/>
                    <a:pt x="538" y="231"/>
                  </a:cubicBezTo>
                  <a:cubicBezTo>
                    <a:pt x="544" y="236"/>
                    <a:pt x="551" y="240"/>
                    <a:pt x="558" y="243"/>
                  </a:cubicBezTo>
                  <a:cubicBezTo>
                    <a:pt x="567" y="246"/>
                    <a:pt x="576" y="249"/>
                    <a:pt x="586" y="250"/>
                  </a:cubicBezTo>
                  <a:cubicBezTo>
                    <a:pt x="603" y="252"/>
                    <a:pt x="622" y="247"/>
                    <a:pt x="637" y="238"/>
                  </a:cubicBezTo>
                  <a:cubicBezTo>
                    <a:pt x="652" y="229"/>
                    <a:pt x="665" y="214"/>
                    <a:pt x="673" y="198"/>
                  </a:cubicBezTo>
                  <a:cubicBezTo>
                    <a:pt x="675" y="194"/>
                    <a:pt x="677" y="190"/>
                    <a:pt x="678" y="186"/>
                  </a:cubicBezTo>
                  <a:cubicBezTo>
                    <a:pt x="678" y="185"/>
                    <a:pt x="678" y="184"/>
                    <a:pt x="678" y="183"/>
                  </a:cubicBezTo>
                  <a:cubicBezTo>
                    <a:pt x="682" y="183"/>
                    <a:pt x="685" y="182"/>
                    <a:pt x="689" y="181"/>
                  </a:cubicBezTo>
                  <a:cubicBezTo>
                    <a:pt x="706" y="174"/>
                    <a:pt x="716" y="157"/>
                    <a:pt x="718" y="140"/>
                  </a:cubicBezTo>
                  <a:cubicBezTo>
                    <a:pt x="719" y="135"/>
                    <a:pt x="720" y="126"/>
                    <a:pt x="716" y="122"/>
                  </a:cubicBezTo>
                  <a:close/>
                  <a:moveTo>
                    <a:pt x="703" y="127"/>
                  </a:move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3" y="127"/>
                  </a:cubicBezTo>
                  <a:close/>
                  <a:moveTo>
                    <a:pt x="655" y="114"/>
                  </a:moveTo>
                  <a:cubicBezTo>
                    <a:pt x="655" y="114"/>
                    <a:pt x="655" y="114"/>
                    <a:pt x="655" y="114"/>
                  </a:cubicBezTo>
                  <a:cubicBezTo>
                    <a:pt x="655" y="115"/>
                    <a:pt x="655" y="115"/>
                    <a:pt x="655" y="114"/>
                  </a:cubicBezTo>
                  <a:close/>
                  <a:moveTo>
                    <a:pt x="452" y="36"/>
                  </a:moveTo>
                  <a:cubicBezTo>
                    <a:pt x="452" y="36"/>
                    <a:pt x="452" y="36"/>
                    <a:pt x="452" y="36"/>
                  </a:cubicBezTo>
                  <a:cubicBezTo>
                    <a:pt x="455" y="29"/>
                    <a:pt x="460" y="20"/>
                    <a:pt x="467" y="17"/>
                  </a:cubicBezTo>
                  <a:cubicBezTo>
                    <a:pt x="471" y="16"/>
                    <a:pt x="473" y="19"/>
                    <a:pt x="473" y="22"/>
                  </a:cubicBezTo>
                  <a:cubicBezTo>
                    <a:pt x="475" y="27"/>
                    <a:pt x="473" y="32"/>
                    <a:pt x="471" y="37"/>
                  </a:cubicBezTo>
                  <a:cubicBezTo>
                    <a:pt x="468" y="42"/>
                    <a:pt x="465" y="47"/>
                    <a:pt x="462" y="52"/>
                  </a:cubicBezTo>
                  <a:cubicBezTo>
                    <a:pt x="460" y="55"/>
                    <a:pt x="458" y="57"/>
                    <a:pt x="457" y="60"/>
                  </a:cubicBezTo>
                  <a:cubicBezTo>
                    <a:pt x="453" y="58"/>
                    <a:pt x="448" y="55"/>
                    <a:pt x="444" y="53"/>
                  </a:cubicBezTo>
                  <a:cubicBezTo>
                    <a:pt x="447" y="48"/>
                    <a:pt x="450" y="42"/>
                    <a:pt x="452" y="36"/>
                  </a:cubicBezTo>
                  <a:close/>
                  <a:moveTo>
                    <a:pt x="291" y="49"/>
                  </a:moveTo>
                  <a:cubicBezTo>
                    <a:pt x="291" y="49"/>
                    <a:pt x="291" y="49"/>
                    <a:pt x="291" y="49"/>
                  </a:cubicBezTo>
                  <a:cubicBezTo>
                    <a:pt x="290" y="44"/>
                    <a:pt x="288" y="39"/>
                    <a:pt x="286" y="33"/>
                  </a:cubicBezTo>
                  <a:cubicBezTo>
                    <a:pt x="283" y="26"/>
                    <a:pt x="280" y="15"/>
                    <a:pt x="290" y="13"/>
                  </a:cubicBezTo>
                  <a:cubicBezTo>
                    <a:pt x="295" y="12"/>
                    <a:pt x="297" y="25"/>
                    <a:pt x="298" y="29"/>
                  </a:cubicBezTo>
                  <a:cubicBezTo>
                    <a:pt x="299" y="33"/>
                    <a:pt x="300" y="37"/>
                    <a:pt x="302" y="42"/>
                  </a:cubicBezTo>
                  <a:cubicBezTo>
                    <a:pt x="303" y="44"/>
                    <a:pt x="304" y="47"/>
                    <a:pt x="304" y="49"/>
                  </a:cubicBezTo>
                  <a:cubicBezTo>
                    <a:pt x="305" y="50"/>
                    <a:pt x="305" y="51"/>
                    <a:pt x="305" y="52"/>
                  </a:cubicBezTo>
                  <a:cubicBezTo>
                    <a:pt x="301" y="53"/>
                    <a:pt x="298" y="55"/>
                    <a:pt x="294" y="56"/>
                  </a:cubicBezTo>
                  <a:cubicBezTo>
                    <a:pt x="293" y="57"/>
                    <a:pt x="293" y="57"/>
                    <a:pt x="292" y="57"/>
                  </a:cubicBezTo>
                  <a:cubicBezTo>
                    <a:pt x="292" y="55"/>
                    <a:pt x="291" y="52"/>
                    <a:pt x="291" y="49"/>
                  </a:cubicBezTo>
                  <a:close/>
                  <a:moveTo>
                    <a:pt x="208" y="190"/>
                  </a:moveTo>
                  <a:cubicBezTo>
                    <a:pt x="208" y="190"/>
                    <a:pt x="208" y="190"/>
                    <a:pt x="208" y="190"/>
                  </a:cubicBezTo>
                  <a:cubicBezTo>
                    <a:pt x="209" y="187"/>
                    <a:pt x="211" y="185"/>
                    <a:pt x="213" y="183"/>
                  </a:cubicBezTo>
                  <a:cubicBezTo>
                    <a:pt x="213" y="198"/>
                    <a:pt x="214" y="213"/>
                    <a:pt x="218" y="228"/>
                  </a:cubicBezTo>
                  <a:cubicBezTo>
                    <a:pt x="218" y="228"/>
                    <a:pt x="217" y="227"/>
                    <a:pt x="217" y="227"/>
                  </a:cubicBezTo>
                  <a:cubicBezTo>
                    <a:pt x="211" y="222"/>
                    <a:pt x="207" y="217"/>
                    <a:pt x="205" y="210"/>
                  </a:cubicBezTo>
                  <a:cubicBezTo>
                    <a:pt x="203" y="203"/>
                    <a:pt x="204" y="196"/>
                    <a:pt x="208" y="190"/>
                  </a:cubicBezTo>
                  <a:close/>
                  <a:moveTo>
                    <a:pt x="52" y="227"/>
                  </a:moveTo>
                  <a:cubicBezTo>
                    <a:pt x="52" y="227"/>
                    <a:pt x="52" y="227"/>
                    <a:pt x="52" y="227"/>
                  </a:cubicBezTo>
                  <a:cubicBezTo>
                    <a:pt x="46" y="227"/>
                    <a:pt x="39" y="225"/>
                    <a:pt x="33" y="221"/>
                  </a:cubicBezTo>
                  <a:cubicBezTo>
                    <a:pt x="26" y="217"/>
                    <a:pt x="21" y="210"/>
                    <a:pt x="15" y="204"/>
                  </a:cubicBezTo>
                  <a:cubicBezTo>
                    <a:pt x="14" y="204"/>
                    <a:pt x="14" y="203"/>
                    <a:pt x="14" y="203"/>
                  </a:cubicBezTo>
                  <a:cubicBezTo>
                    <a:pt x="14" y="202"/>
                    <a:pt x="13" y="201"/>
                    <a:pt x="13" y="199"/>
                  </a:cubicBezTo>
                  <a:cubicBezTo>
                    <a:pt x="12" y="198"/>
                    <a:pt x="13" y="197"/>
                    <a:pt x="14" y="195"/>
                  </a:cubicBezTo>
                  <a:cubicBezTo>
                    <a:pt x="15" y="194"/>
                    <a:pt x="16" y="192"/>
                    <a:pt x="17" y="191"/>
                  </a:cubicBezTo>
                  <a:cubicBezTo>
                    <a:pt x="20" y="195"/>
                    <a:pt x="24" y="198"/>
                    <a:pt x="27" y="200"/>
                  </a:cubicBezTo>
                  <a:cubicBezTo>
                    <a:pt x="33" y="204"/>
                    <a:pt x="39" y="207"/>
                    <a:pt x="45" y="209"/>
                  </a:cubicBezTo>
                  <a:cubicBezTo>
                    <a:pt x="56" y="212"/>
                    <a:pt x="71" y="208"/>
                    <a:pt x="76" y="198"/>
                  </a:cubicBezTo>
                  <a:cubicBezTo>
                    <a:pt x="82" y="188"/>
                    <a:pt x="76" y="176"/>
                    <a:pt x="69" y="169"/>
                  </a:cubicBezTo>
                  <a:cubicBezTo>
                    <a:pt x="65" y="166"/>
                    <a:pt x="61" y="163"/>
                    <a:pt x="57" y="160"/>
                  </a:cubicBezTo>
                  <a:cubicBezTo>
                    <a:pt x="55" y="159"/>
                    <a:pt x="53" y="158"/>
                    <a:pt x="51" y="156"/>
                  </a:cubicBezTo>
                  <a:cubicBezTo>
                    <a:pt x="52" y="154"/>
                    <a:pt x="52" y="152"/>
                    <a:pt x="53" y="151"/>
                  </a:cubicBezTo>
                  <a:cubicBezTo>
                    <a:pt x="53" y="149"/>
                    <a:pt x="53" y="148"/>
                    <a:pt x="55" y="147"/>
                  </a:cubicBezTo>
                  <a:cubicBezTo>
                    <a:pt x="55" y="146"/>
                    <a:pt x="57" y="146"/>
                    <a:pt x="58" y="146"/>
                  </a:cubicBezTo>
                  <a:cubicBezTo>
                    <a:pt x="63" y="150"/>
                    <a:pt x="68" y="154"/>
                    <a:pt x="73" y="158"/>
                  </a:cubicBezTo>
                  <a:cubicBezTo>
                    <a:pt x="79" y="163"/>
                    <a:pt x="84" y="169"/>
                    <a:pt x="87" y="176"/>
                  </a:cubicBezTo>
                  <a:cubicBezTo>
                    <a:pt x="93" y="188"/>
                    <a:pt x="93" y="204"/>
                    <a:pt x="85" y="214"/>
                  </a:cubicBezTo>
                  <a:cubicBezTo>
                    <a:pt x="77" y="224"/>
                    <a:pt x="65" y="227"/>
                    <a:pt x="52" y="227"/>
                  </a:cubicBezTo>
                  <a:close/>
                  <a:moveTo>
                    <a:pt x="85" y="232"/>
                  </a:moveTo>
                  <a:cubicBezTo>
                    <a:pt x="85" y="232"/>
                    <a:pt x="85" y="232"/>
                    <a:pt x="85" y="232"/>
                  </a:cubicBezTo>
                  <a:cubicBezTo>
                    <a:pt x="92" y="227"/>
                    <a:pt x="97" y="221"/>
                    <a:pt x="101" y="213"/>
                  </a:cubicBezTo>
                  <a:cubicBezTo>
                    <a:pt x="103" y="215"/>
                    <a:pt x="105" y="216"/>
                    <a:pt x="107" y="217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5" y="220"/>
                    <a:pt x="102" y="223"/>
                    <a:pt x="100" y="226"/>
                  </a:cubicBezTo>
                  <a:cubicBezTo>
                    <a:pt x="98" y="228"/>
                    <a:pt x="96" y="231"/>
                    <a:pt x="94" y="234"/>
                  </a:cubicBezTo>
                  <a:cubicBezTo>
                    <a:pt x="93" y="235"/>
                    <a:pt x="93" y="235"/>
                    <a:pt x="92" y="236"/>
                  </a:cubicBezTo>
                  <a:cubicBezTo>
                    <a:pt x="90" y="234"/>
                    <a:pt x="88" y="233"/>
                    <a:pt x="85" y="232"/>
                  </a:cubicBezTo>
                  <a:close/>
                  <a:moveTo>
                    <a:pt x="98" y="241"/>
                  </a:moveTo>
                  <a:cubicBezTo>
                    <a:pt x="98" y="241"/>
                    <a:pt x="98" y="241"/>
                    <a:pt x="98" y="241"/>
                  </a:cubicBezTo>
                  <a:cubicBezTo>
                    <a:pt x="98" y="240"/>
                    <a:pt x="97" y="240"/>
                    <a:pt x="97" y="240"/>
                  </a:cubicBezTo>
                  <a:cubicBezTo>
                    <a:pt x="99" y="236"/>
                    <a:pt x="102" y="233"/>
                    <a:pt x="105" y="230"/>
                  </a:cubicBezTo>
                  <a:cubicBezTo>
                    <a:pt x="107" y="227"/>
                    <a:pt x="109" y="225"/>
                    <a:pt x="111" y="222"/>
                  </a:cubicBezTo>
                  <a:cubicBezTo>
                    <a:pt x="112" y="222"/>
                    <a:pt x="113" y="221"/>
                    <a:pt x="113" y="220"/>
                  </a:cubicBezTo>
                  <a:cubicBezTo>
                    <a:pt x="115" y="221"/>
                    <a:pt x="117" y="221"/>
                    <a:pt x="118" y="222"/>
                  </a:cubicBezTo>
                  <a:cubicBezTo>
                    <a:pt x="120" y="223"/>
                    <a:pt x="123" y="223"/>
                    <a:pt x="125" y="224"/>
                  </a:cubicBezTo>
                  <a:cubicBezTo>
                    <a:pt x="123" y="227"/>
                    <a:pt x="121" y="232"/>
                    <a:pt x="120" y="235"/>
                  </a:cubicBezTo>
                  <a:cubicBezTo>
                    <a:pt x="118" y="240"/>
                    <a:pt x="116" y="246"/>
                    <a:pt x="112" y="250"/>
                  </a:cubicBezTo>
                  <a:cubicBezTo>
                    <a:pt x="107" y="247"/>
                    <a:pt x="103" y="244"/>
                    <a:pt x="98" y="241"/>
                  </a:cubicBezTo>
                  <a:close/>
                  <a:moveTo>
                    <a:pt x="115" y="252"/>
                  </a:moveTo>
                  <a:cubicBezTo>
                    <a:pt x="115" y="252"/>
                    <a:pt x="115" y="252"/>
                    <a:pt x="115" y="252"/>
                  </a:cubicBezTo>
                  <a:cubicBezTo>
                    <a:pt x="119" y="248"/>
                    <a:pt x="121" y="243"/>
                    <a:pt x="123" y="239"/>
                  </a:cubicBezTo>
                  <a:cubicBezTo>
                    <a:pt x="125" y="236"/>
                    <a:pt x="125" y="234"/>
                    <a:pt x="126" y="231"/>
                  </a:cubicBezTo>
                  <a:cubicBezTo>
                    <a:pt x="127" y="229"/>
                    <a:pt x="128" y="227"/>
                    <a:pt x="129" y="225"/>
                  </a:cubicBezTo>
                  <a:cubicBezTo>
                    <a:pt x="133" y="226"/>
                    <a:pt x="137" y="226"/>
                    <a:pt x="142" y="226"/>
                  </a:cubicBezTo>
                  <a:cubicBezTo>
                    <a:pt x="139" y="230"/>
                    <a:pt x="138" y="236"/>
                    <a:pt x="137" y="240"/>
                  </a:cubicBezTo>
                  <a:cubicBezTo>
                    <a:pt x="136" y="246"/>
                    <a:pt x="135" y="252"/>
                    <a:pt x="133" y="257"/>
                  </a:cubicBezTo>
                  <a:cubicBezTo>
                    <a:pt x="127" y="256"/>
                    <a:pt x="121" y="254"/>
                    <a:pt x="115" y="252"/>
                  </a:cubicBezTo>
                  <a:close/>
                  <a:moveTo>
                    <a:pt x="136" y="257"/>
                  </a:moveTo>
                  <a:cubicBezTo>
                    <a:pt x="136" y="257"/>
                    <a:pt x="136" y="257"/>
                    <a:pt x="136" y="257"/>
                  </a:cubicBezTo>
                  <a:cubicBezTo>
                    <a:pt x="139" y="253"/>
                    <a:pt x="140" y="249"/>
                    <a:pt x="142" y="244"/>
                  </a:cubicBezTo>
                  <a:cubicBezTo>
                    <a:pt x="143" y="239"/>
                    <a:pt x="145" y="232"/>
                    <a:pt x="145" y="227"/>
                  </a:cubicBezTo>
                  <a:cubicBezTo>
                    <a:pt x="145" y="227"/>
                    <a:pt x="145" y="227"/>
                    <a:pt x="144" y="226"/>
                  </a:cubicBezTo>
                  <a:cubicBezTo>
                    <a:pt x="146" y="226"/>
                    <a:pt x="148" y="226"/>
                    <a:pt x="150" y="226"/>
                  </a:cubicBezTo>
                  <a:cubicBezTo>
                    <a:pt x="151" y="226"/>
                    <a:pt x="153" y="226"/>
                    <a:pt x="154" y="226"/>
                  </a:cubicBezTo>
                  <a:cubicBezTo>
                    <a:pt x="153" y="230"/>
                    <a:pt x="154" y="234"/>
                    <a:pt x="153" y="238"/>
                  </a:cubicBezTo>
                  <a:cubicBezTo>
                    <a:pt x="153" y="244"/>
                    <a:pt x="153" y="251"/>
                    <a:pt x="154" y="257"/>
                  </a:cubicBezTo>
                  <a:cubicBezTo>
                    <a:pt x="148" y="257"/>
                    <a:pt x="142" y="257"/>
                    <a:pt x="136" y="257"/>
                  </a:cubicBezTo>
                  <a:close/>
                  <a:moveTo>
                    <a:pt x="157" y="257"/>
                  </a:moveTo>
                  <a:cubicBezTo>
                    <a:pt x="157" y="257"/>
                    <a:pt x="157" y="257"/>
                    <a:pt x="157" y="257"/>
                  </a:cubicBezTo>
                  <a:cubicBezTo>
                    <a:pt x="158" y="251"/>
                    <a:pt x="158" y="244"/>
                    <a:pt x="158" y="238"/>
                  </a:cubicBezTo>
                  <a:cubicBezTo>
                    <a:pt x="159" y="234"/>
                    <a:pt x="160" y="229"/>
                    <a:pt x="159" y="225"/>
                  </a:cubicBezTo>
                  <a:cubicBezTo>
                    <a:pt x="163" y="224"/>
                    <a:pt x="166" y="223"/>
                    <a:pt x="170" y="222"/>
                  </a:cubicBezTo>
                  <a:cubicBezTo>
                    <a:pt x="170" y="223"/>
                    <a:pt x="170" y="225"/>
                    <a:pt x="171" y="226"/>
                  </a:cubicBezTo>
                  <a:cubicBezTo>
                    <a:pt x="171" y="229"/>
                    <a:pt x="172" y="232"/>
                    <a:pt x="173" y="236"/>
                  </a:cubicBezTo>
                  <a:cubicBezTo>
                    <a:pt x="174" y="242"/>
                    <a:pt x="174" y="249"/>
                    <a:pt x="176" y="255"/>
                  </a:cubicBezTo>
                  <a:cubicBezTo>
                    <a:pt x="176" y="256"/>
                    <a:pt x="176" y="256"/>
                    <a:pt x="176" y="256"/>
                  </a:cubicBezTo>
                  <a:cubicBezTo>
                    <a:pt x="176" y="256"/>
                    <a:pt x="175" y="256"/>
                    <a:pt x="175" y="256"/>
                  </a:cubicBezTo>
                  <a:cubicBezTo>
                    <a:pt x="169" y="258"/>
                    <a:pt x="163" y="257"/>
                    <a:pt x="157" y="257"/>
                  </a:cubicBezTo>
                  <a:close/>
                  <a:moveTo>
                    <a:pt x="190" y="249"/>
                  </a:moveTo>
                  <a:cubicBezTo>
                    <a:pt x="190" y="249"/>
                    <a:pt x="190" y="249"/>
                    <a:pt x="190" y="249"/>
                  </a:cubicBezTo>
                  <a:cubicBezTo>
                    <a:pt x="187" y="252"/>
                    <a:pt x="183" y="254"/>
                    <a:pt x="179" y="255"/>
                  </a:cubicBezTo>
                  <a:cubicBezTo>
                    <a:pt x="180" y="249"/>
                    <a:pt x="180" y="242"/>
                    <a:pt x="179" y="236"/>
                  </a:cubicBezTo>
                  <a:cubicBezTo>
                    <a:pt x="178" y="232"/>
                    <a:pt x="178" y="229"/>
                    <a:pt x="177" y="226"/>
                  </a:cubicBezTo>
                  <a:cubicBezTo>
                    <a:pt x="176" y="224"/>
                    <a:pt x="176" y="222"/>
                    <a:pt x="175" y="220"/>
                  </a:cubicBezTo>
                  <a:cubicBezTo>
                    <a:pt x="177" y="219"/>
                    <a:pt x="178" y="218"/>
                    <a:pt x="180" y="217"/>
                  </a:cubicBezTo>
                  <a:cubicBezTo>
                    <a:pt x="180" y="217"/>
                    <a:pt x="181" y="217"/>
                    <a:pt x="181" y="217"/>
                  </a:cubicBezTo>
                  <a:cubicBezTo>
                    <a:pt x="182" y="220"/>
                    <a:pt x="183" y="223"/>
                    <a:pt x="185" y="226"/>
                  </a:cubicBezTo>
                  <a:cubicBezTo>
                    <a:pt x="187" y="233"/>
                    <a:pt x="189" y="240"/>
                    <a:pt x="194" y="245"/>
                  </a:cubicBezTo>
                  <a:cubicBezTo>
                    <a:pt x="194" y="246"/>
                    <a:pt x="195" y="246"/>
                    <a:pt x="195" y="246"/>
                  </a:cubicBezTo>
                  <a:cubicBezTo>
                    <a:pt x="194" y="247"/>
                    <a:pt x="192" y="248"/>
                    <a:pt x="190" y="249"/>
                  </a:cubicBezTo>
                  <a:close/>
                  <a:moveTo>
                    <a:pt x="204" y="239"/>
                  </a:moveTo>
                  <a:cubicBezTo>
                    <a:pt x="204" y="239"/>
                    <a:pt x="204" y="239"/>
                    <a:pt x="204" y="239"/>
                  </a:cubicBezTo>
                  <a:cubicBezTo>
                    <a:pt x="202" y="241"/>
                    <a:pt x="199" y="243"/>
                    <a:pt x="197" y="245"/>
                  </a:cubicBezTo>
                  <a:cubicBezTo>
                    <a:pt x="197" y="245"/>
                    <a:pt x="197" y="244"/>
                    <a:pt x="197" y="244"/>
                  </a:cubicBezTo>
                  <a:cubicBezTo>
                    <a:pt x="195" y="237"/>
                    <a:pt x="192" y="230"/>
                    <a:pt x="189" y="223"/>
                  </a:cubicBezTo>
                  <a:cubicBezTo>
                    <a:pt x="188" y="220"/>
                    <a:pt x="187" y="217"/>
                    <a:pt x="186" y="214"/>
                  </a:cubicBezTo>
                  <a:cubicBezTo>
                    <a:pt x="188" y="212"/>
                    <a:pt x="190" y="211"/>
                    <a:pt x="192" y="209"/>
                  </a:cubicBezTo>
                  <a:cubicBezTo>
                    <a:pt x="192" y="209"/>
                    <a:pt x="192" y="208"/>
                    <a:pt x="193" y="208"/>
                  </a:cubicBezTo>
                  <a:cubicBezTo>
                    <a:pt x="193" y="209"/>
                    <a:pt x="193" y="210"/>
                    <a:pt x="193" y="212"/>
                  </a:cubicBezTo>
                  <a:cubicBezTo>
                    <a:pt x="195" y="220"/>
                    <a:pt x="200" y="228"/>
                    <a:pt x="207" y="234"/>
                  </a:cubicBezTo>
                  <a:cubicBezTo>
                    <a:pt x="208" y="235"/>
                    <a:pt x="208" y="235"/>
                    <a:pt x="209" y="236"/>
                  </a:cubicBezTo>
                  <a:cubicBezTo>
                    <a:pt x="208" y="237"/>
                    <a:pt x="206" y="238"/>
                    <a:pt x="204" y="239"/>
                  </a:cubicBezTo>
                  <a:close/>
                  <a:moveTo>
                    <a:pt x="447" y="303"/>
                  </a:moveTo>
                  <a:cubicBezTo>
                    <a:pt x="447" y="303"/>
                    <a:pt x="447" y="303"/>
                    <a:pt x="447" y="303"/>
                  </a:cubicBezTo>
                  <a:cubicBezTo>
                    <a:pt x="447" y="302"/>
                    <a:pt x="446" y="301"/>
                    <a:pt x="446" y="301"/>
                  </a:cubicBezTo>
                  <a:cubicBezTo>
                    <a:pt x="445" y="300"/>
                    <a:pt x="444" y="299"/>
                    <a:pt x="443" y="299"/>
                  </a:cubicBezTo>
                  <a:cubicBezTo>
                    <a:pt x="443" y="299"/>
                    <a:pt x="442" y="299"/>
                    <a:pt x="442" y="299"/>
                  </a:cubicBezTo>
                  <a:cubicBezTo>
                    <a:pt x="441" y="299"/>
                    <a:pt x="441" y="299"/>
                    <a:pt x="440" y="299"/>
                  </a:cubicBezTo>
                  <a:cubicBezTo>
                    <a:pt x="439" y="299"/>
                    <a:pt x="437" y="299"/>
                    <a:pt x="437" y="300"/>
                  </a:cubicBezTo>
                  <a:cubicBezTo>
                    <a:pt x="436" y="301"/>
                    <a:pt x="435" y="302"/>
                    <a:pt x="435" y="304"/>
                  </a:cubicBezTo>
                  <a:cubicBezTo>
                    <a:pt x="435" y="305"/>
                    <a:pt x="436" y="306"/>
                    <a:pt x="437" y="307"/>
                  </a:cubicBezTo>
                  <a:cubicBezTo>
                    <a:pt x="437" y="308"/>
                    <a:pt x="437" y="308"/>
                    <a:pt x="438" y="308"/>
                  </a:cubicBezTo>
                  <a:cubicBezTo>
                    <a:pt x="432" y="311"/>
                    <a:pt x="427" y="313"/>
                    <a:pt x="421" y="315"/>
                  </a:cubicBezTo>
                  <a:cubicBezTo>
                    <a:pt x="410" y="319"/>
                    <a:pt x="398" y="321"/>
                    <a:pt x="387" y="323"/>
                  </a:cubicBezTo>
                  <a:cubicBezTo>
                    <a:pt x="381" y="324"/>
                    <a:pt x="375" y="325"/>
                    <a:pt x="369" y="325"/>
                  </a:cubicBezTo>
                  <a:cubicBezTo>
                    <a:pt x="367" y="326"/>
                    <a:pt x="366" y="326"/>
                    <a:pt x="364" y="326"/>
                  </a:cubicBezTo>
                  <a:cubicBezTo>
                    <a:pt x="359" y="325"/>
                    <a:pt x="354" y="325"/>
                    <a:pt x="349" y="324"/>
                  </a:cubicBezTo>
                  <a:cubicBezTo>
                    <a:pt x="340" y="323"/>
                    <a:pt x="331" y="322"/>
                    <a:pt x="322" y="320"/>
                  </a:cubicBezTo>
                  <a:cubicBezTo>
                    <a:pt x="309" y="316"/>
                    <a:pt x="298" y="312"/>
                    <a:pt x="287" y="305"/>
                  </a:cubicBezTo>
                  <a:cubicBezTo>
                    <a:pt x="287" y="305"/>
                    <a:pt x="287" y="305"/>
                    <a:pt x="287" y="305"/>
                  </a:cubicBezTo>
                  <a:cubicBezTo>
                    <a:pt x="293" y="305"/>
                    <a:pt x="293" y="296"/>
                    <a:pt x="287" y="296"/>
                  </a:cubicBezTo>
                  <a:cubicBezTo>
                    <a:pt x="283" y="296"/>
                    <a:pt x="282" y="300"/>
                    <a:pt x="283" y="302"/>
                  </a:cubicBezTo>
                  <a:cubicBezTo>
                    <a:pt x="280" y="300"/>
                    <a:pt x="277" y="298"/>
                    <a:pt x="274" y="295"/>
                  </a:cubicBezTo>
                  <a:cubicBezTo>
                    <a:pt x="273" y="295"/>
                    <a:pt x="272" y="294"/>
                    <a:pt x="271" y="293"/>
                  </a:cubicBezTo>
                  <a:cubicBezTo>
                    <a:pt x="284" y="294"/>
                    <a:pt x="297" y="294"/>
                    <a:pt x="310" y="295"/>
                  </a:cubicBezTo>
                  <a:cubicBezTo>
                    <a:pt x="329" y="297"/>
                    <a:pt x="348" y="298"/>
                    <a:pt x="367" y="299"/>
                  </a:cubicBezTo>
                  <a:cubicBezTo>
                    <a:pt x="376" y="300"/>
                    <a:pt x="386" y="300"/>
                    <a:pt x="395" y="301"/>
                  </a:cubicBezTo>
                  <a:cubicBezTo>
                    <a:pt x="405" y="301"/>
                    <a:pt x="414" y="300"/>
                    <a:pt x="424" y="299"/>
                  </a:cubicBezTo>
                  <a:cubicBezTo>
                    <a:pt x="433" y="298"/>
                    <a:pt x="443" y="297"/>
                    <a:pt x="452" y="296"/>
                  </a:cubicBezTo>
                  <a:cubicBezTo>
                    <a:pt x="455" y="296"/>
                    <a:pt x="458" y="295"/>
                    <a:pt x="461" y="295"/>
                  </a:cubicBezTo>
                  <a:cubicBezTo>
                    <a:pt x="456" y="298"/>
                    <a:pt x="452" y="301"/>
                    <a:pt x="447" y="303"/>
                  </a:cubicBezTo>
                  <a:close/>
                  <a:moveTo>
                    <a:pt x="499" y="259"/>
                  </a:moveTo>
                  <a:cubicBezTo>
                    <a:pt x="499" y="259"/>
                    <a:pt x="499" y="259"/>
                    <a:pt x="499" y="259"/>
                  </a:cubicBezTo>
                  <a:cubicBezTo>
                    <a:pt x="491" y="270"/>
                    <a:pt x="481" y="279"/>
                    <a:pt x="471" y="288"/>
                  </a:cubicBezTo>
                  <a:cubicBezTo>
                    <a:pt x="470" y="288"/>
                    <a:pt x="469" y="288"/>
                    <a:pt x="468" y="288"/>
                  </a:cubicBezTo>
                  <a:cubicBezTo>
                    <a:pt x="463" y="288"/>
                    <a:pt x="458" y="289"/>
                    <a:pt x="453" y="290"/>
                  </a:cubicBezTo>
                  <a:cubicBezTo>
                    <a:pt x="444" y="290"/>
                    <a:pt x="435" y="291"/>
                    <a:pt x="425" y="292"/>
                  </a:cubicBezTo>
                  <a:cubicBezTo>
                    <a:pt x="416" y="293"/>
                    <a:pt x="407" y="294"/>
                    <a:pt x="398" y="294"/>
                  </a:cubicBezTo>
                  <a:cubicBezTo>
                    <a:pt x="388" y="294"/>
                    <a:pt x="378" y="293"/>
                    <a:pt x="369" y="292"/>
                  </a:cubicBezTo>
                  <a:cubicBezTo>
                    <a:pt x="350" y="292"/>
                    <a:pt x="331" y="291"/>
                    <a:pt x="312" y="290"/>
                  </a:cubicBezTo>
                  <a:cubicBezTo>
                    <a:pt x="297" y="288"/>
                    <a:pt x="281" y="288"/>
                    <a:pt x="266" y="288"/>
                  </a:cubicBezTo>
                  <a:cubicBezTo>
                    <a:pt x="253" y="276"/>
                    <a:pt x="243" y="260"/>
                    <a:pt x="236" y="243"/>
                  </a:cubicBezTo>
                  <a:cubicBezTo>
                    <a:pt x="237" y="242"/>
                    <a:pt x="237" y="240"/>
                    <a:pt x="235" y="238"/>
                  </a:cubicBezTo>
                  <a:cubicBezTo>
                    <a:pt x="235" y="238"/>
                    <a:pt x="234" y="238"/>
                    <a:pt x="234" y="238"/>
                  </a:cubicBezTo>
                  <a:cubicBezTo>
                    <a:pt x="231" y="229"/>
                    <a:pt x="228" y="220"/>
                    <a:pt x="227" y="210"/>
                  </a:cubicBezTo>
                  <a:cubicBezTo>
                    <a:pt x="222" y="181"/>
                    <a:pt x="227" y="151"/>
                    <a:pt x="240" y="125"/>
                  </a:cubicBezTo>
                  <a:cubicBezTo>
                    <a:pt x="246" y="111"/>
                    <a:pt x="255" y="98"/>
                    <a:pt x="267" y="88"/>
                  </a:cubicBezTo>
                  <a:cubicBezTo>
                    <a:pt x="277" y="79"/>
                    <a:pt x="288" y="72"/>
                    <a:pt x="300" y="65"/>
                  </a:cubicBezTo>
                  <a:cubicBezTo>
                    <a:pt x="305" y="63"/>
                    <a:pt x="311" y="62"/>
                    <a:pt x="316" y="60"/>
                  </a:cubicBezTo>
                  <a:cubicBezTo>
                    <a:pt x="333" y="55"/>
                    <a:pt x="352" y="52"/>
                    <a:pt x="370" y="51"/>
                  </a:cubicBezTo>
                  <a:cubicBezTo>
                    <a:pt x="407" y="49"/>
                    <a:pt x="442" y="63"/>
                    <a:pt x="471" y="85"/>
                  </a:cubicBezTo>
                  <a:cubicBezTo>
                    <a:pt x="489" y="98"/>
                    <a:pt x="504" y="114"/>
                    <a:pt x="513" y="134"/>
                  </a:cubicBezTo>
                  <a:cubicBezTo>
                    <a:pt x="518" y="144"/>
                    <a:pt x="521" y="154"/>
                    <a:pt x="524" y="165"/>
                  </a:cubicBezTo>
                  <a:cubicBezTo>
                    <a:pt x="524" y="166"/>
                    <a:pt x="524" y="166"/>
                    <a:pt x="524" y="168"/>
                  </a:cubicBezTo>
                  <a:cubicBezTo>
                    <a:pt x="525" y="172"/>
                    <a:pt x="525" y="176"/>
                    <a:pt x="525" y="181"/>
                  </a:cubicBezTo>
                  <a:cubicBezTo>
                    <a:pt x="524" y="191"/>
                    <a:pt x="524" y="200"/>
                    <a:pt x="521" y="210"/>
                  </a:cubicBezTo>
                  <a:cubicBezTo>
                    <a:pt x="517" y="228"/>
                    <a:pt x="509" y="244"/>
                    <a:pt x="499" y="259"/>
                  </a:cubicBezTo>
                  <a:close/>
                  <a:moveTo>
                    <a:pt x="537" y="199"/>
                  </a:moveTo>
                  <a:cubicBezTo>
                    <a:pt x="537" y="199"/>
                    <a:pt x="537" y="199"/>
                    <a:pt x="537" y="199"/>
                  </a:cubicBezTo>
                  <a:cubicBezTo>
                    <a:pt x="538" y="199"/>
                    <a:pt x="539" y="198"/>
                    <a:pt x="539" y="197"/>
                  </a:cubicBezTo>
                  <a:cubicBezTo>
                    <a:pt x="541" y="190"/>
                    <a:pt x="540" y="183"/>
                    <a:pt x="539" y="175"/>
                  </a:cubicBezTo>
                  <a:cubicBezTo>
                    <a:pt x="540" y="176"/>
                    <a:pt x="541" y="177"/>
                    <a:pt x="541" y="178"/>
                  </a:cubicBezTo>
                  <a:cubicBezTo>
                    <a:pt x="545" y="184"/>
                    <a:pt x="546" y="191"/>
                    <a:pt x="545" y="197"/>
                  </a:cubicBezTo>
                  <a:cubicBezTo>
                    <a:pt x="545" y="204"/>
                    <a:pt x="540" y="209"/>
                    <a:pt x="537" y="214"/>
                  </a:cubicBezTo>
                  <a:cubicBezTo>
                    <a:pt x="536" y="215"/>
                    <a:pt x="534" y="217"/>
                    <a:pt x="533" y="218"/>
                  </a:cubicBezTo>
                  <a:cubicBezTo>
                    <a:pt x="535" y="212"/>
                    <a:pt x="536" y="206"/>
                    <a:pt x="537" y="199"/>
                  </a:cubicBezTo>
                  <a:close/>
                  <a:moveTo>
                    <a:pt x="544" y="225"/>
                  </a:moveTo>
                  <a:cubicBezTo>
                    <a:pt x="544" y="225"/>
                    <a:pt x="544" y="225"/>
                    <a:pt x="544" y="225"/>
                  </a:cubicBezTo>
                  <a:cubicBezTo>
                    <a:pt x="545" y="224"/>
                    <a:pt x="545" y="224"/>
                    <a:pt x="545" y="224"/>
                  </a:cubicBezTo>
                  <a:cubicBezTo>
                    <a:pt x="551" y="216"/>
                    <a:pt x="556" y="209"/>
                    <a:pt x="557" y="199"/>
                  </a:cubicBezTo>
                  <a:cubicBezTo>
                    <a:pt x="557" y="199"/>
                    <a:pt x="557" y="199"/>
                    <a:pt x="557" y="199"/>
                  </a:cubicBezTo>
                  <a:cubicBezTo>
                    <a:pt x="560" y="200"/>
                    <a:pt x="562" y="201"/>
                    <a:pt x="564" y="202"/>
                  </a:cubicBezTo>
                  <a:cubicBezTo>
                    <a:pt x="567" y="204"/>
                    <a:pt x="571" y="205"/>
                    <a:pt x="574" y="205"/>
                  </a:cubicBezTo>
                  <a:cubicBezTo>
                    <a:pt x="573" y="209"/>
                    <a:pt x="572" y="213"/>
                    <a:pt x="570" y="216"/>
                  </a:cubicBezTo>
                  <a:cubicBezTo>
                    <a:pt x="569" y="220"/>
                    <a:pt x="567" y="224"/>
                    <a:pt x="565" y="228"/>
                  </a:cubicBezTo>
                  <a:cubicBezTo>
                    <a:pt x="564" y="229"/>
                    <a:pt x="564" y="231"/>
                    <a:pt x="563" y="232"/>
                  </a:cubicBezTo>
                  <a:cubicBezTo>
                    <a:pt x="556" y="230"/>
                    <a:pt x="550" y="227"/>
                    <a:pt x="544" y="225"/>
                  </a:cubicBezTo>
                  <a:close/>
                  <a:moveTo>
                    <a:pt x="572" y="235"/>
                  </a:moveTo>
                  <a:cubicBezTo>
                    <a:pt x="572" y="235"/>
                    <a:pt x="572" y="235"/>
                    <a:pt x="572" y="235"/>
                  </a:cubicBezTo>
                  <a:cubicBezTo>
                    <a:pt x="571" y="234"/>
                    <a:pt x="570" y="234"/>
                    <a:pt x="570" y="234"/>
                  </a:cubicBezTo>
                  <a:cubicBezTo>
                    <a:pt x="570" y="234"/>
                    <a:pt x="570" y="233"/>
                    <a:pt x="570" y="232"/>
                  </a:cubicBezTo>
                  <a:cubicBezTo>
                    <a:pt x="572" y="229"/>
                    <a:pt x="574" y="225"/>
                    <a:pt x="575" y="221"/>
                  </a:cubicBezTo>
                  <a:cubicBezTo>
                    <a:pt x="577" y="217"/>
                    <a:pt x="578" y="211"/>
                    <a:pt x="579" y="206"/>
                  </a:cubicBezTo>
                  <a:cubicBezTo>
                    <a:pt x="583" y="207"/>
                    <a:pt x="587" y="208"/>
                    <a:pt x="591" y="208"/>
                  </a:cubicBezTo>
                  <a:cubicBezTo>
                    <a:pt x="592" y="208"/>
                    <a:pt x="594" y="208"/>
                    <a:pt x="595" y="207"/>
                  </a:cubicBezTo>
                  <a:cubicBezTo>
                    <a:pt x="594" y="212"/>
                    <a:pt x="594" y="217"/>
                    <a:pt x="594" y="222"/>
                  </a:cubicBezTo>
                  <a:cubicBezTo>
                    <a:pt x="593" y="226"/>
                    <a:pt x="593" y="229"/>
                    <a:pt x="593" y="233"/>
                  </a:cubicBezTo>
                  <a:cubicBezTo>
                    <a:pt x="592" y="234"/>
                    <a:pt x="592" y="236"/>
                    <a:pt x="593" y="237"/>
                  </a:cubicBezTo>
                  <a:cubicBezTo>
                    <a:pt x="586" y="237"/>
                    <a:pt x="579" y="236"/>
                    <a:pt x="572" y="235"/>
                  </a:cubicBezTo>
                  <a:close/>
                  <a:moveTo>
                    <a:pt x="599" y="237"/>
                  </a:moveTo>
                  <a:cubicBezTo>
                    <a:pt x="599" y="237"/>
                    <a:pt x="599" y="237"/>
                    <a:pt x="599" y="237"/>
                  </a:cubicBezTo>
                  <a:cubicBezTo>
                    <a:pt x="599" y="236"/>
                    <a:pt x="599" y="235"/>
                    <a:pt x="599" y="234"/>
                  </a:cubicBezTo>
                  <a:cubicBezTo>
                    <a:pt x="599" y="230"/>
                    <a:pt x="600" y="227"/>
                    <a:pt x="600" y="224"/>
                  </a:cubicBezTo>
                  <a:cubicBezTo>
                    <a:pt x="600" y="218"/>
                    <a:pt x="600" y="212"/>
                    <a:pt x="600" y="207"/>
                  </a:cubicBezTo>
                  <a:cubicBezTo>
                    <a:pt x="603" y="206"/>
                    <a:pt x="605" y="206"/>
                    <a:pt x="608" y="205"/>
                  </a:cubicBezTo>
                  <a:cubicBezTo>
                    <a:pt x="608" y="209"/>
                    <a:pt x="610" y="213"/>
                    <a:pt x="611" y="218"/>
                  </a:cubicBezTo>
                  <a:cubicBezTo>
                    <a:pt x="612" y="223"/>
                    <a:pt x="612" y="229"/>
                    <a:pt x="614" y="234"/>
                  </a:cubicBezTo>
                  <a:cubicBezTo>
                    <a:pt x="611" y="234"/>
                    <a:pt x="609" y="235"/>
                    <a:pt x="606" y="236"/>
                  </a:cubicBezTo>
                  <a:cubicBezTo>
                    <a:pt x="604" y="236"/>
                    <a:pt x="601" y="237"/>
                    <a:pt x="599" y="237"/>
                  </a:cubicBezTo>
                  <a:close/>
                  <a:moveTo>
                    <a:pt x="619" y="232"/>
                  </a:moveTo>
                  <a:cubicBezTo>
                    <a:pt x="619" y="232"/>
                    <a:pt x="619" y="232"/>
                    <a:pt x="619" y="232"/>
                  </a:cubicBezTo>
                  <a:cubicBezTo>
                    <a:pt x="619" y="227"/>
                    <a:pt x="618" y="223"/>
                    <a:pt x="617" y="219"/>
                  </a:cubicBezTo>
                  <a:cubicBezTo>
                    <a:pt x="616" y="216"/>
                    <a:pt x="616" y="213"/>
                    <a:pt x="615" y="210"/>
                  </a:cubicBezTo>
                  <a:cubicBezTo>
                    <a:pt x="614" y="208"/>
                    <a:pt x="613" y="206"/>
                    <a:pt x="612" y="203"/>
                  </a:cubicBezTo>
                  <a:cubicBezTo>
                    <a:pt x="617" y="202"/>
                    <a:pt x="621" y="199"/>
                    <a:pt x="625" y="196"/>
                  </a:cubicBezTo>
                  <a:cubicBezTo>
                    <a:pt x="625" y="196"/>
                    <a:pt x="626" y="195"/>
                    <a:pt x="626" y="195"/>
                  </a:cubicBezTo>
                  <a:cubicBezTo>
                    <a:pt x="629" y="200"/>
                    <a:pt x="634" y="204"/>
                    <a:pt x="637" y="208"/>
                  </a:cubicBezTo>
                  <a:cubicBezTo>
                    <a:pt x="639" y="211"/>
                    <a:pt x="641" y="214"/>
                    <a:pt x="642" y="217"/>
                  </a:cubicBezTo>
                  <a:cubicBezTo>
                    <a:pt x="635" y="223"/>
                    <a:pt x="627" y="228"/>
                    <a:pt x="619" y="232"/>
                  </a:cubicBezTo>
                  <a:close/>
                  <a:moveTo>
                    <a:pt x="658" y="197"/>
                  </a:moveTo>
                  <a:cubicBezTo>
                    <a:pt x="658" y="197"/>
                    <a:pt x="658" y="197"/>
                    <a:pt x="658" y="197"/>
                  </a:cubicBezTo>
                  <a:cubicBezTo>
                    <a:pt x="655" y="202"/>
                    <a:pt x="652" y="207"/>
                    <a:pt x="648" y="211"/>
                  </a:cubicBezTo>
                  <a:cubicBezTo>
                    <a:pt x="647" y="209"/>
                    <a:pt x="646" y="208"/>
                    <a:pt x="644" y="206"/>
                  </a:cubicBezTo>
                  <a:cubicBezTo>
                    <a:pt x="642" y="203"/>
                    <a:pt x="640" y="200"/>
                    <a:pt x="637" y="198"/>
                  </a:cubicBezTo>
                  <a:cubicBezTo>
                    <a:pt x="635" y="196"/>
                    <a:pt x="632" y="194"/>
                    <a:pt x="630" y="191"/>
                  </a:cubicBezTo>
                  <a:cubicBezTo>
                    <a:pt x="632" y="189"/>
                    <a:pt x="635" y="186"/>
                    <a:pt x="637" y="183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5"/>
                    <a:pt x="640" y="187"/>
                    <a:pt x="642" y="189"/>
                  </a:cubicBezTo>
                  <a:cubicBezTo>
                    <a:pt x="644" y="191"/>
                    <a:pt x="646" y="192"/>
                    <a:pt x="648" y="194"/>
                  </a:cubicBezTo>
                  <a:cubicBezTo>
                    <a:pt x="651" y="195"/>
                    <a:pt x="653" y="198"/>
                    <a:pt x="656" y="197"/>
                  </a:cubicBezTo>
                  <a:cubicBezTo>
                    <a:pt x="658" y="196"/>
                    <a:pt x="658" y="193"/>
                    <a:pt x="657" y="191"/>
                  </a:cubicBezTo>
                  <a:cubicBezTo>
                    <a:pt x="656" y="189"/>
                    <a:pt x="653" y="187"/>
                    <a:pt x="651" y="186"/>
                  </a:cubicBezTo>
                  <a:cubicBezTo>
                    <a:pt x="647" y="183"/>
                    <a:pt x="643" y="181"/>
                    <a:pt x="640" y="177"/>
                  </a:cubicBezTo>
                  <a:cubicBezTo>
                    <a:pt x="641" y="176"/>
                    <a:pt x="641" y="175"/>
                    <a:pt x="642" y="173"/>
                  </a:cubicBezTo>
                  <a:cubicBezTo>
                    <a:pt x="643" y="174"/>
                    <a:pt x="644" y="175"/>
                    <a:pt x="645" y="176"/>
                  </a:cubicBezTo>
                  <a:cubicBezTo>
                    <a:pt x="651" y="179"/>
                    <a:pt x="658" y="182"/>
                    <a:pt x="664" y="183"/>
                  </a:cubicBezTo>
                  <a:cubicBezTo>
                    <a:pt x="664" y="184"/>
                    <a:pt x="664" y="184"/>
                    <a:pt x="664" y="185"/>
                  </a:cubicBezTo>
                  <a:cubicBezTo>
                    <a:pt x="662" y="189"/>
                    <a:pt x="660" y="193"/>
                    <a:pt x="658" y="197"/>
                  </a:cubicBezTo>
                  <a:close/>
                  <a:moveTo>
                    <a:pt x="704" y="144"/>
                  </a:moveTo>
                  <a:cubicBezTo>
                    <a:pt x="704" y="144"/>
                    <a:pt x="704" y="144"/>
                    <a:pt x="704" y="144"/>
                  </a:cubicBezTo>
                  <a:cubicBezTo>
                    <a:pt x="701" y="152"/>
                    <a:pt x="697" y="159"/>
                    <a:pt x="691" y="164"/>
                  </a:cubicBezTo>
                  <a:cubicBezTo>
                    <a:pt x="681" y="172"/>
                    <a:pt x="667" y="171"/>
                    <a:pt x="656" y="166"/>
                  </a:cubicBezTo>
                  <a:cubicBezTo>
                    <a:pt x="645" y="161"/>
                    <a:pt x="633" y="150"/>
                    <a:pt x="635" y="137"/>
                  </a:cubicBezTo>
                  <a:cubicBezTo>
                    <a:pt x="636" y="130"/>
                    <a:pt x="640" y="124"/>
                    <a:pt x="643" y="118"/>
                  </a:cubicBezTo>
                  <a:cubicBezTo>
                    <a:pt x="644" y="116"/>
                    <a:pt x="646" y="114"/>
                    <a:pt x="647" y="112"/>
                  </a:cubicBezTo>
                  <a:cubicBezTo>
                    <a:pt x="647" y="112"/>
                    <a:pt x="648" y="112"/>
                    <a:pt x="649" y="113"/>
                  </a:cubicBezTo>
                  <a:cubicBezTo>
                    <a:pt x="649" y="113"/>
                    <a:pt x="651" y="113"/>
                    <a:pt x="651" y="113"/>
                  </a:cubicBezTo>
                  <a:cubicBezTo>
                    <a:pt x="651" y="113"/>
                    <a:pt x="652" y="113"/>
                    <a:pt x="653" y="113"/>
                  </a:cubicBezTo>
                  <a:cubicBezTo>
                    <a:pt x="653" y="113"/>
                    <a:pt x="655" y="114"/>
                    <a:pt x="654" y="114"/>
                  </a:cubicBezTo>
                  <a:cubicBezTo>
                    <a:pt x="654" y="114"/>
                    <a:pt x="654" y="114"/>
                    <a:pt x="654" y="114"/>
                  </a:cubicBezTo>
                  <a:cubicBezTo>
                    <a:pt x="654" y="114"/>
                    <a:pt x="654" y="115"/>
                    <a:pt x="654" y="115"/>
                  </a:cubicBezTo>
                  <a:cubicBezTo>
                    <a:pt x="653" y="117"/>
                    <a:pt x="652" y="119"/>
                    <a:pt x="651" y="121"/>
                  </a:cubicBezTo>
                  <a:cubicBezTo>
                    <a:pt x="647" y="126"/>
                    <a:pt x="646" y="132"/>
                    <a:pt x="648" y="138"/>
                  </a:cubicBezTo>
                  <a:cubicBezTo>
                    <a:pt x="650" y="144"/>
                    <a:pt x="655" y="149"/>
                    <a:pt x="662" y="151"/>
                  </a:cubicBezTo>
                  <a:cubicBezTo>
                    <a:pt x="673" y="155"/>
                    <a:pt x="686" y="150"/>
                    <a:pt x="693" y="142"/>
                  </a:cubicBezTo>
                  <a:cubicBezTo>
                    <a:pt x="697" y="137"/>
                    <a:pt x="700" y="132"/>
                    <a:pt x="703" y="128"/>
                  </a:cubicBezTo>
                  <a:cubicBezTo>
                    <a:pt x="703" y="127"/>
                    <a:pt x="703" y="127"/>
                    <a:pt x="703" y="127"/>
                  </a:cubicBezTo>
                  <a:cubicBezTo>
                    <a:pt x="703" y="127"/>
                    <a:pt x="703" y="127"/>
                    <a:pt x="704" y="127"/>
                  </a:cubicBezTo>
                  <a:cubicBezTo>
                    <a:pt x="705" y="128"/>
                    <a:pt x="706" y="128"/>
                    <a:pt x="707" y="128"/>
                  </a:cubicBezTo>
                  <a:cubicBezTo>
                    <a:pt x="707" y="128"/>
                    <a:pt x="707" y="128"/>
                    <a:pt x="708" y="129"/>
                  </a:cubicBezTo>
                  <a:cubicBezTo>
                    <a:pt x="707" y="130"/>
                    <a:pt x="707" y="131"/>
                    <a:pt x="707" y="132"/>
                  </a:cubicBezTo>
                  <a:cubicBezTo>
                    <a:pt x="705" y="136"/>
                    <a:pt x="705" y="140"/>
                    <a:pt x="704" y="144"/>
                  </a:cubicBezTo>
                  <a:close/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pic>
        <p:nvPicPr>
          <p:cNvPr id="35" name="图片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27" y="276994"/>
            <a:ext cx="730160" cy="730160"/>
          </a:xfrm>
          <a:prstGeom prst="rect">
            <a:avLst/>
          </a:prstGeom>
        </p:spPr>
      </p:pic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9264014" y="665130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8</a:t>
            </a:fld>
            <a:endParaRPr lang="zh-CN" altLang="en-US"/>
          </a:p>
        </p:txBody>
      </p:sp>
      <p:grpSp>
        <p:nvGrpSpPr>
          <p:cNvPr id="14" name="组合 13"/>
          <p:cNvGrpSpPr/>
          <p:nvPr/>
        </p:nvGrpSpPr>
        <p:grpSpPr>
          <a:xfrm>
            <a:off x="3107690" y="1718945"/>
            <a:ext cx="2590165" cy="1768475"/>
            <a:chOff x="2614" y="3870"/>
            <a:chExt cx="4079" cy="2785"/>
          </a:xfrm>
        </p:grpSpPr>
        <p:grpSp>
          <p:nvGrpSpPr>
            <p:cNvPr id="3" name="组合 2"/>
            <p:cNvGrpSpPr/>
            <p:nvPr/>
          </p:nvGrpSpPr>
          <p:grpSpPr>
            <a:xfrm>
              <a:off x="2614" y="3870"/>
              <a:ext cx="4079" cy="2785"/>
              <a:chOff x="1479" y="3765"/>
              <a:chExt cx="4079" cy="2785"/>
            </a:xfrm>
          </p:grpSpPr>
          <p:sp>
            <p:nvSpPr>
              <p:cNvPr id="17" name="文本框 16"/>
              <p:cNvSpPr txBox="1"/>
              <p:nvPr/>
            </p:nvSpPr>
            <p:spPr>
              <a:xfrm>
                <a:off x="2124" y="3765"/>
                <a:ext cx="2788" cy="1816"/>
              </a:xfrm>
              <a:prstGeom prst="rect">
                <a:avLst/>
              </a:prstGeom>
              <a:noFill/>
              <a:ln w="25400">
                <a:solidFill>
                  <a:srgbClr val="F4A229"/>
                </a:solidFill>
              </a:ln>
            </p:spPr>
            <p:txBody>
              <a:bodyPr wrap="none" rtlCol="0">
                <a:spAutoFit/>
              </a:bodyPr>
              <a:lstStyle/>
              <a:p>
                <a:pPr fontAlgn="auto">
                  <a:lnSpc>
                    <a:spcPct val="150000"/>
                  </a:lnSpc>
                </a:pPr>
                <a:r>
                  <a:rPr lang="en-US" altLang="zh-CN" sz="2800">
                    <a:solidFill>
                      <a:srgbClr val="FF0000"/>
                    </a:solidFill>
                  </a:rPr>
                  <a:t>if</a:t>
                </a:r>
                <a:r>
                  <a:rPr lang="en-US" altLang="zh-CN"/>
                  <a:t> &lt;</a:t>
                </a:r>
                <a:r>
                  <a:rPr lang="zh-CN" altLang="en-US"/>
                  <a:t>条件</a:t>
                </a:r>
                <a:r>
                  <a:rPr lang="en-US" altLang="zh-CN"/>
                  <a:t>&gt;</a:t>
                </a:r>
                <a:r>
                  <a:rPr lang="en-US" altLang="zh-CN" sz="2800">
                    <a:solidFill>
                      <a:srgbClr val="FF0000"/>
                    </a:solidFill>
                  </a:rPr>
                  <a:t>:</a:t>
                </a:r>
                <a:endParaRPr lang="en-US" altLang="zh-CN" sz="2800"/>
              </a:p>
              <a:p>
                <a:pPr fontAlgn="auto">
                  <a:lnSpc>
                    <a:spcPct val="150000"/>
                  </a:lnSpc>
                </a:pPr>
                <a:r>
                  <a:rPr lang="en-US" altLang="zh-CN"/>
                  <a:t>        &lt;</a:t>
                </a:r>
                <a:r>
                  <a:rPr lang="zh-CN" altLang="en-US"/>
                  <a:t>语句块</a:t>
                </a:r>
                <a:r>
                  <a:rPr lang="en-US" altLang="zh-CN"/>
                  <a:t>1&gt;</a:t>
                </a:r>
              </a:p>
            </p:txBody>
          </p:sp>
          <p:sp>
            <p:nvSpPr>
              <p:cNvPr id="18" name="圆角矩形 17"/>
              <p:cNvSpPr/>
              <p:nvPr/>
            </p:nvSpPr>
            <p:spPr>
              <a:xfrm>
                <a:off x="1479" y="5927"/>
                <a:ext cx="4079" cy="623"/>
              </a:xfrm>
              <a:prstGeom prst="roundRect">
                <a:avLst/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/>
                  <a:t>无</a:t>
                </a:r>
                <a:r>
                  <a:rPr lang="en-US" altLang="zh-CN"/>
                  <a:t>else</a:t>
                </a:r>
                <a:r>
                  <a:rPr lang="zh-CN" altLang="en-US"/>
                  <a:t>的</a:t>
                </a:r>
                <a:r>
                  <a:rPr lang="en-US" altLang="zh-CN"/>
                  <a:t>if</a:t>
                </a:r>
                <a:r>
                  <a:rPr lang="zh-CN" altLang="en-US"/>
                  <a:t>条件语句格式</a:t>
                </a: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3370" y="5205"/>
              <a:ext cx="762" cy="254"/>
              <a:chOff x="2590" y="6346"/>
              <a:chExt cx="762" cy="254"/>
            </a:xfrm>
          </p:grpSpPr>
          <p:sp>
            <p:nvSpPr>
              <p:cNvPr id="4" name="矩形 3"/>
              <p:cNvSpPr/>
              <p:nvPr/>
            </p:nvSpPr>
            <p:spPr>
              <a:xfrm>
                <a:off x="2590" y="6346"/>
                <a:ext cx="762" cy="255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2971" y="6346"/>
                <a:ext cx="0" cy="255"/>
              </a:xfrm>
              <a:prstGeom prst="line">
                <a:avLst/>
              </a:prstGeom>
              <a:ln w="158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直接连接符 8"/>
              <p:cNvCxnSpPr/>
              <p:nvPr/>
            </p:nvCxnSpPr>
            <p:spPr>
              <a:xfrm>
                <a:off x="2779" y="6346"/>
                <a:ext cx="0" cy="255"/>
              </a:xfrm>
              <a:prstGeom prst="line">
                <a:avLst/>
              </a:prstGeom>
              <a:ln w="158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直接连接符 9"/>
              <p:cNvCxnSpPr/>
              <p:nvPr/>
            </p:nvCxnSpPr>
            <p:spPr>
              <a:xfrm>
                <a:off x="3171" y="6346"/>
                <a:ext cx="0" cy="255"/>
              </a:xfrm>
              <a:prstGeom prst="line">
                <a:avLst/>
              </a:prstGeom>
              <a:ln w="158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19070" y="5186045"/>
            <a:ext cx="6544945" cy="120459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52" name="组合 51"/>
          <p:cNvGrpSpPr/>
          <p:nvPr/>
        </p:nvGrpSpPr>
        <p:grpSpPr>
          <a:xfrm>
            <a:off x="6316980" y="1131570"/>
            <a:ext cx="3434715" cy="3898265"/>
            <a:chOff x="6213" y="2642"/>
            <a:chExt cx="5409" cy="6139"/>
          </a:xfrm>
        </p:grpSpPr>
        <p:grpSp>
          <p:nvGrpSpPr>
            <p:cNvPr id="6" name="组合 5"/>
            <p:cNvGrpSpPr/>
            <p:nvPr/>
          </p:nvGrpSpPr>
          <p:grpSpPr>
            <a:xfrm>
              <a:off x="6213" y="2642"/>
              <a:ext cx="5409" cy="6139"/>
              <a:chOff x="6213" y="2664"/>
              <a:chExt cx="5409" cy="6139"/>
            </a:xfrm>
          </p:grpSpPr>
          <p:sp>
            <p:nvSpPr>
              <p:cNvPr id="19" name="圆角矩形 18"/>
              <p:cNvSpPr/>
              <p:nvPr/>
            </p:nvSpPr>
            <p:spPr>
              <a:xfrm>
                <a:off x="6213" y="8180"/>
                <a:ext cx="5409" cy="623"/>
              </a:xfrm>
              <a:prstGeom prst="roundRect">
                <a:avLst/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>
                    <a:sym typeface="+mn-ea"/>
                  </a:rPr>
                  <a:t>无</a:t>
                </a:r>
                <a:r>
                  <a:rPr lang="en-US" altLang="zh-CN">
                    <a:sym typeface="+mn-ea"/>
                  </a:rPr>
                  <a:t>else</a:t>
                </a:r>
                <a:r>
                  <a:rPr lang="zh-CN" altLang="en-US">
                    <a:sym typeface="+mn-ea"/>
                  </a:rPr>
                  <a:t>的</a:t>
                </a:r>
                <a:r>
                  <a:rPr lang="en-US" altLang="zh-CN"/>
                  <a:t>if</a:t>
                </a:r>
                <a:r>
                  <a:rPr lang="zh-CN" altLang="en-US"/>
                  <a:t>条件语句执行流程图</a:t>
                </a:r>
              </a:p>
            </p:txBody>
          </p:sp>
          <p:grpSp>
            <p:nvGrpSpPr>
              <p:cNvPr id="21" name="组合 20"/>
              <p:cNvGrpSpPr/>
              <p:nvPr/>
            </p:nvGrpSpPr>
            <p:grpSpPr>
              <a:xfrm>
                <a:off x="6496" y="2664"/>
                <a:ext cx="4614" cy="5170"/>
                <a:chOff x="7043" y="3181"/>
                <a:chExt cx="4614" cy="5170"/>
              </a:xfrm>
            </p:grpSpPr>
            <p:grpSp>
              <p:nvGrpSpPr>
                <p:cNvPr id="15" name="组合 14"/>
                <p:cNvGrpSpPr/>
                <p:nvPr/>
              </p:nvGrpSpPr>
              <p:grpSpPr>
                <a:xfrm>
                  <a:off x="7905" y="3930"/>
                  <a:ext cx="3379" cy="580"/>
                  <a:chOff x="2331" y="4642"/>
                  <a:chExt cx="3379" cy="580"/>
                </a:xfrm>
              </p:grpSpPr>
              <p:sp>
                <p:nvSpPr>
                  <p:cNvPr id="12" name="文本框 11"/>
                  <p:cNvSpPr txBox="1"/>
                  <p:nvPr/>
                </p:nvSpPr>
                <p:spPr>
                  <a:xfrm>
                    <a:off x="2331" y="4642"/>
                    <a:ext cx="802" cy="58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altLang="zh-CN" b="1">
                        <a:solidFill>
                          <a:srgbClr val="FF0000"/>
                        </a:solidFill>
                      </a:rPr>
                      <a:t>[</a:t>
                    </a:r>
                    <a:r>
                      <a:rPr lang="zh-CN" altLang="en-US" b="1">
                        <a:solidFill>
                          <a:srgbClr val="FF0000"/>
                        </a:solidFill>
                      </a:rPr>
                      <a:t>真</a:t>
                    </a:r>
                    <a:r>
                      <a:rPr lang="en-US" altLang="zh-CN" b="1">
                        <a:solidFill>
                          <a:srgbClr val="FF0000"/>
                        </a:solidFill>
                      </a:rPr>
                      <a:t>]</a:t>
                    </a:r>
                  </a:p>
                </p:txBody>
              </p:sp>
              <p:sp>
                <p:nvSpPr>
                  <p:cNvPr id="13" name="文本框 12"/>
                  <p:cNvSpPr txBox="1"/>
                  <p:nvPr/>
                </p:nvSpPr>
                <p:spPr>
                  <a:xfrm>
                    <a:off x="4908" y="4642"/>
                    <a:ext cx="802" cy="58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altLang="zh-CN" b="1">
                        <a:solidFill>
                          <a:srgbClr val="FF0000"/>
                        </a:solidFill>
                      </a:rPr>
                      <a:t>[</a:t>
                    </a:r>
                    <a:r>
                      <a:rPr lang="zh-CN" altLang="en-US" b="1">
                        <a:solidFill>
                          <a:srgbClr val="FF0000"/>
                        </a:solidFill>
                      </a:rPr>
                      <a:t>假</a:t>
                    </a:r>
                    <a:r>
                      <a:rPr lang="en-US" altLang="zh-CN" b="1">
                        <a:solidFill>
                          <a:srgbClr val="FF0000"/>
                        </a:solidFill>
                      </a:rPr>
                      <a:t>]</a:t>
                    </a:r>
                  </a:p>
                </p:txBody>
              </p:sp>
            </p:grpSp>
            <p:sp>
              <p:nvSpPr>
                <p:cNvPr id="20" name="矩形 19"/>
                <p:cNvSpPr/>
                <p:nvPr/>
              </p:nvSpPr>
              <p:spPr>
                <a:xfrm>
                  <a:off x="7043" y="3181"/>
                  <a:ext cx="4614" cy="5170"/>
                </a:xfrm>
                <a:prstGeom prst="rect">
                  <a:avLst/>
                </a:prstGeom>
                <a:noFill/>
                <a:ln w="25400" cmpd="sng">
                  <a:solidFill>
                    <a:srgbClr val="F4A229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grpSp>
          <p:nvGrpSpPr>
            <p:cNvPr id="38" name="组合 37"/>
            <p:cNvGrpSpPr/>
            <p:nvPr/>
          </p:nvGrpSpPr>
          <p:grpSpPr>
            <a:xfrm>
              <a:off x="6873" y="2968"/>
              <a:ext cx="3698" cy="4395"/>
              <a:chOff x="1750" y="3187"/>
              <a:chExt cx="3698" cy="4395"/>
            </a:xfrm>
          </p:grpSpPr>
          <p:cxnSp>
            <p:nvCxnSpPr>
              <p:cNvPr id="39" name="直接箭头连接符 38"/>
              <p:cNvCxnSpPr/>
              <p:nvPr/>
            </p:nvCxnSpPr>
            <p:spPr>
              <a:xfrm>
                <a:off x="3969" y="3187"/>
                <a:ext cx="0" cy="464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流程图: 决策 39"/>
              <p:cNvSpPr/>
              <p:nvPr/>
            </p:nvSpPr>
            <p:spPr>
              <a:xfrm>
                <a:off x="2961" y="3669"/>
                <a:ext cx="2016" cy="1063"/>
              </a:xfrm>
              <a:prstGeom prst="flowChartDecision">
                <a:avLst/>
              </a:prstGeom>
              <a:ln w="1905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>
                  <a:buClrTx/>
                  <a:buSzTx/>
                  <a:buFontTx/>
                </a:pPr>
                <a:r>
                  <a:rPr lang="zh-CN" altLang="en-US" sz="1600">
                    <a:sym typeface="+mn-ea"/>
                  </a:rPr>
                  <a:t>条件</a:t>
                </a:r>
              </a:p>
            </p:txBody>
          </p:sp>
          <p:grpSp>
            <p:nvGrpSpPr>
              <p:cNvPr id="41" name="组合 40"/>
              <p:cNvGrpSpPr/>
              <p:nvPr/>
            </p:nvGrpSpPr>
            <p:grpSpPr>
              <a:xfrm>
                <a:off x="2491" y="4200"/>
                <a:ext cx="470" cy="985"/>
                <a:chOff x="2491" y="4200"/>
                <a:chExt cx="470" cy="985"/>
              </a:xfrm>
            </p:grpSpPr>
            <p:cxnSp>
              <p:nvCxnSpPr>
                <p:cNvPr id="42" name="直接连接符 41"/>
                <p:cNvCxnSpPr>
                  <a:endCxn id="40" idx="1"/>
                </p:cNvCxnSpPr>
                <p:nvPr/>
              </p:nvCxnSpPr>
              <p:spPr>
                <a:xfrm>
                  <a:off x="2491" y="4200"/>
                  <a:ext cx="470" cy="1"/>
                </a:xfrm>
                <a:prstGeom prst="line">
                  <a:avLst/>
                </a:prstGeom>
                <a:ln w="19050" cmpd="sng">
                  <a:solidFill>
                    <a:schemeClr val="tx1"/>
                  </a:solidFill>
                  <a:prstDash val="solid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箭头连接符 42"/>
                <p:cNvCxnSpPr/>
                <p:nvPr/>
              </p:nvCxnSpPr>
              <p:spPr>
                <a:xfrm>
                  <a:off x="2504" y="4203"/>
                  <a:ext cx="0" cy="982"/>
                </a:xfrm>
                <a:prstGeom prst="straightConnector1">
                  <a:avLst/>
                </a:prstGeom>
                <a:ln w="19050"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44" name="直接连接符 43"/>
              <p:cNvCxnSpPr/>
              <p:nvPr/>
            </p:nvCxnSpPr>
            <p:spPr>
              <a:xfrm flipH="1">
                <a:off x="4978" y="4200"/>
                <a:ext cx="470" cy="1"/>
              </a:xfrm>
              <a:prstGeom prst="line">
                <a:avLst/>
              </a:prstGeom>
              <a:ln w="190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流程图: 过程 44"/>
              <p:cNvSpPr/>
              <p:nvPr/>
            </p:nvSpPr>
            <p:spPr>
              <a:xfrm>
                <a:off x="1750" y="5196"/>
                <a:ext cx="1514" cy="695"/>
              </a:xfrm>
              <a:prstGeom prst="flowChartProcess">
                <a:avLst/>
              </a:prstGeom>
              <a:ln w="1905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>
                  <a:buClrTx/>
                  <a:buSzTx/>
                  <a:buFontTx/>
                </a:pPr>
                <a:r>
                  <a:rPr lang="zh-CN" altLang="en-US" sz="1600">
                    <a:sym typeface="+mn-ea"/>
                  </a:rPr>
                  <a:t>语句块1</a:t>
                </a:r>
              </a:p>
            </p:txBody>
          </p:sp>
          <p:cxnSp>
            <p:nvCxnSpPr>
              <p:cNvPr id="46" name="直接连接符 45"/>
              <p:cNvCxnSpPr/>
              <p:nvPr/>
            </p:nvCxnSpPr>
            <p:spPr>
              <a:xfrm>
                <a:off x="2505" y="5891"/>
                <a:ext cx="0" cy="409"/>
              </a:xfrm>
              <a:prstGeom prst="line">
                <a:avLst/>
              </a:prstGeom>
              <a:ln w="190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/>
              <p:cNvCxnSpPr/>
              <p:nvPr/>
            </p:nvCxnSpPr>
            <p:spPr>
              <a:xfrm>
                <a:off x="5448" y="4175"/>
                <a:ext cx="0" cy="2098"/>
              </a:xfrm>
              <a:prstGeom prst="line">
                <a:avLst/>
              </a:prstGeom>
              <a:ln w="190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接连接符 47"/>
              <p:cNvCxnSpPr/>
              <p:nvPr/>
            </p:nvCxnSpPr>
            <p:spPr>
              <a:xfrm>
                <a:off x="2491" y="6273"/>
                <a:ext cx="2946" cy="0"/>
              </a:xfrm>
              <a:prstGeom prst="line">
                <a:avLst/>
              </a:prstGeom>
              <a:ln w="190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直接箭头连接符 48"/>
              <p:cNvCxnSpPr/>
              <p:nvPr/>
            </p:nvCxnSpPr>
            <p:spPr>
              <a:xfrm>
                <a:off x="3969" y="6273"/>
                <a:ext cx="0" cy="614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流程图: 过程 50"/>
              <p:cNvSpPr/>
              <p:nvPr/>
            </p:nvSpPr>
            <p:spPr>
              <a:xfrm>
                <a:off x="3164" y="6887"/>
                <a:ext cx="1813" cy="695"/>
              </a:xfrm>
              <a:prstGeom prst="flowChartProcess">
                <a:avLst/>
              </a:prstGeom>
              <a:ln w="1905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600">
                    <a:solidFill>
                      <a:schemeClr val="tx1"/>
                    </a:solidFill>
                  </a:rPr>
                  <a:t>下一语句</a:t>
                </a: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800" dirty="0"/>
              <a:t>python</a:t>
            </a:r>
            <a:r>
              <a:rPr lang="zh-CN" altLang="en-US" sz="2800" dirty="0"/>
              <a:t>的关系表达式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595432" y="206647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78622c3f-6737-464f-9965-1647c62d920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c990632e-2d6a-4b5f-9142-74cb35a7d46c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c47b233-5d22-45c3-93b3-14c33b99385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c990632e-2d6a-4b5f-9142-74cb35a7d46c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693,&quot;width&quot;:728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693,&quot;width&quot;:728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693,&quot;width&quot;:728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83ae7dc-b5ab-4ff3-a861-ec68902b1d7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bca53829-35c6-4459-b981-6f35f8ea863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8c1d644-dd23-40cc-af81-3e65592df81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83ae7dc-b5ab-4ff3-a861-ec68902b1d7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c47b233-5d22-45c3-93b3-14c33b993852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603812"/>
      </a:accent1>
      <a:accent2>
        <a:srgbClr val="F7B220"/>
      </a:accent2>
      <a:accent3>
        <a:srgbClr val="878787"/>
      </a:accent3>
      <a:accent4>
        <a:srgbClr val="9D5C33"/>
      </a:accent4>
      <a:accent5>
        <a:srgbClr val="EB792C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03812"/>
    </a:accent1>
    <a:accent2>
      <a:srgbClr val="F7B220"/>
    </a:accent2>
    <a:accent3>
      <a:srgbClr val="878787"/>
    </a:accent3>
    <a:accent4>
      <a:srgbClr val="9D5C33"/>
    </a:accent4>
    <a:accent5>
      <a:srgbClr val="EB792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03812"/>
    </a:accent1>
    <a:accent2>
      <a:srgbClr val="F7B220"/>
    </a:accent2>
    <a:accent3>
      <a:srgbClr val="878787"/>
    </a:accent3>
    <a:accent4>
      <a:srgbClr val="9D5C33"/>
    </a:accent4>
    <a:accent5>
      <a:srgbClr val="EB792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03812"/>
    </a:accent1>
    <a:accent2>
      <a:srgbClr val="F7B220"/>
    </a:accent2>
    <a:accent3>
      <a:srgbClr val="878787"/>
    </a:accent3>
    <a:accent4>
      <a:srgbClr val="9D5C33"/>
    </a:accent4>
    <a:accent5>
      <a:srgbClr val="EB792C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53</TotalTime>
  <Words>1307</Words>
  <Application>Microsoft Macintosh PowerPoint</Application>
  <PresentationFormat>宽屏</PresentationFormat>
  <Paragraphs>268</Paragraphs>
  <Slides>27</Slides>
  <Notes>1</Notes>
  <HiddenSlides>0</HiddenSlides>
  <MMClips>2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34" baseType="lpstr">
      <vt:lpstr>Calibri</vt:lpstr>
      <vt:lpstr>等线</vt:lpstr>
      <vt:lpstr>Arial</vt:lpstr>
      <vt:lpstr>微软雅黑</vt:lpstr>
      <vt:lpstr>Impact</vt:lpstr>
      <vt:lpstr>主题5</vt:lpstr>
      <vt:lpstr>think-cell Slide</vt:lpstr>
      <vt:lpstr>PowerPoint 演示文稿</vt:lpstr>
      <vt:lpstr>目  录</vt:lpstr>
      <vt:lpstr>认识分支结构</vt:lpstr>
      <vt:lpstr>认识分支结构</vt:lpstr>
      <vt:lpstr>if条件语句</vt:lpstr>
      <vt:lpstr>if 条件语句</vt:lpstr>
      <vt:lpstr>if条件语句</vt:lpstr>
      <vt:lpstr>if条件语句</vt:lpstr>
      <vt:lpstr>python的关系表达式</vt:lpstr>
      <vt:lpstr>python的关系表达式</vt:lpstr>
      <vt:lpstr>python的关系表达式</vt:lpstr>
      <vt:lpstr>python逻辑表达式</vt:lpstr>
      <vt:lpstr>python的逻辑表达式</vt:lpstr>
      <vt:lpstr>python的逻辑表达式</vt:lpstr>
      <vt:lpstr>python的逻辑表达式</vt:lpstr>
      <vt:lpstr>python的逻辑表达式</vt:lpstr>
      <vt:lpstr>简单分支结构程序设计</vt:lpstr>
      <vt:lpstr>简单分支结构程序设计</vt:lpstr>
      <vt:lpstr>简单分支结构程序设计</vt:lpstr>
      <vt:lpstr>简单分支结构程序设计——问题分析</vt:lpstr>
      <vt:lpstr>简单分支结构程序设计——算法设计</vt:lpstr>
      <vt:lpstr>简单分支结构程序设计——算法设计</vt:lpstr>
      <vt:lpstr>简单分支结构程序设计——算法设计</vt:lpstr>
      <vt:lpstr>随堂练习</vt:lpstr>
      <vt:lpstr>随堂练习</vt:lpstr>
      <vt:lpstr>随堂练习</vt:lpstr>
      <vt:lpstr>Thanks 51maker团队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况君</dc:creator>
  <cp:lastModifiedBy>吴 铭英</cp:lastModifiedBy>
  <cp:revision>338</cp:revision>
  <cp:lastPrinted>2019-11-27T16:00:00Z</cp:lastPrinted>
  <dcterms:created xsi:type="dcterms:W3CDTF">2019-11-27T16:00:00Z</dcterms:created>
  <dcterms:modified xsi:type="dcterms:W3CDTF">2021-11-09T02:0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912</vt:lpwstr>
  </property>
</Properties>
</file>